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19" r:id="rId1"/>
    <p:sldMasterId id="2147483733" r:id="rId2"/>
  </p:sldMasterIdLst>
  <p:notesMasterIdLst>
    <p:notesMasterId r:id="rId91"/>
  </p:notesMasterIdLst>
  <p:sldIdLst>
    <p:sldId id="256" r:id="rId3"/>
    <p:sldId id="258" r:id="rId4"/>
    <p:sldId id="345" r:id="rId5"/>
    <p:sldId id="346" r:id="rId6"/>
    <p:sldId id="347" r:id="rId7"/>
    <p:sldId id="259" r:id="rId8"/>
    <p:sldId id="260" r:id="rId9"/>
    <p:sldId id="261" r:id="rId10"/>
    <p:sldId id="263" r:id="rId11"/>
    <p:sldId id="268" r:id="rId12"/>
    <p:sldId id="269" r:id="rId13"/>
    <p:sldId id="270" r:id="rId14"/>
    <p:sldId id="271" r:id="rId15"/>
    <p:sldId id="272" r:id="rId16"/>
    <p:sldId id="273" r:id="rId17"/>
    <p:sldId id="274" r:id="rId18"/>
    <p:sldId id="275" r:id="rId19"/>
    <p:sldId id="276" r:id="rId20"/>
    <p:sldId id="277" r:id="rId21"/>
    <p:sldId id="278" r:id="rId22"/>
    <p:sldId id="280" r:id="rId23"/>
    <p:sldId id="281" r:id="rId24"/>
    <p:sldId id="282" r:id="rId25"/>
    <p:sldId id="283" r:id="rId26"/>
    <p:sldId id="284" r:id="rId27"/>
    <p:sldId id="285" r:id="rId28"/>
    <p:sldId id="286" r:id="rId29"/>
    <p:sldId id="287" r:id="rId30"/>
    <p:sldId id="288" r:id="rId31"/>
    <p:sldId id="289" r:id="rId32"/>
    <p:sldId id="290" r:id="rId33"/>
    <p:sldId id="291" r:id="rId34"/>
    <p:sldId id="292" r:id="rId35"/>
    <p:sldId id="293" r:id="rId36"/>
    <p:sldId id="294" r:id="rId37"/>
    <p:sldId id="295" r:id="rId38"/>
    <p:sldId id="296" r:id="rId39"/>
    <p:sldId id="297" r:id="rId40"/>
    <p:sldId id="298" r:id="rId41"/>
    <p:sldId id="299" r:id="rId42"/>
    <p:sldId id="300" r:id="rId43"/>
    <p:sldId id="302" r:id="rId44"/>
    <p:sldId id="303" r:id="rId45"/>
    <p:sldId id="304" r:id="rId46"/>
    <p:sldId id="305" r:id="rId47"/>
    <p:sldId id="306" r:id="rId48"/>
    <p:sldId id="307" r:id="rId49"/>
    <p:sldId id="308" r:id="rId50"/>
    <p:sldId id="309" r:id="rId51"/>
    <p:sldId id="310" r:id="rId52"/>
    <p:sldId id="311" r:id="rId53"/>
    <p:sldId id="312" r:id="rId54"/>
    <p:sldId id="313" r:id="rId55"/>
    <p:sldId id="314" r:id="rId56"/>
    <p:sldId id="315" r:id="rId57"/>
    <p:sldId id="352" r:id="rId58"/>
    <p:sldId id="353" r:id="rId59"/>
    <p:sldId id="317" r:id="rId60"/>
    <p:sldId id="318" r:id="rId61"/>
    <p:sldId id="319" r:id="rId62"/>
    <p:sldId id="320" r:id="rId63"/>
    <p:sldId id="321" r:id="rId64"/>
    <p:sldId id="322" r:id="rId65"/>
    <p:sldId id="323" r:id="rId66"/>
    <p:sldId id="351" r:id="rId67"/>
    <p:sldId id="354" r:id="rId68"/>
    <p:sldId id="355" r:id="rId69"/>
    <p:sldId id="324" r:id="rId70"/>
    <p:sldId id="325" r:id="rId71"/>
    <p:sldId id="326" r:id="rId72"/>
    <p:sldId id="327" r:id="rId73"/>
    <p:sldId id="328" r:id="rId74"/>
    <p:sldId id="329" r:id="rId75"/>
    <p:sldId id="330" r:id="rId76"/>
    <p:sldId id="331" r:id="rId77"/>
    <p:sldId id="332" r:id="rId78"/>
    <p:sldId id="333" r:id="rId79"/>
    <p:sldId id="334" r:id="rId80"/>
    <p:sldId id="335" r:id="rId81"/>
    <p:sldId id="336" r:id="rId82"/>
    <p:sldId id="337" r:id="rId83"/>
    <p:sldId id="338" r:id="rId84"/>
    <p:sldId id="339" r:id="rId85"/>
    <p:sldId id="340" r:id="rId86"/>
    <p:sldId id="341" r:id="rId87"/>
    <p:sldId id="342" r:id="rId88"/>
    <p:sldId id="343" r:id="rId89"/>
    <p:sldId id="344" r:id="rId90"/>
  </p:sldIdLst>
  <p:sldSz cx="9144000" cy="6858000" type="screen4x3"/>
  <p:notesSz cx="6858000" cy="9144000"/>
  <p:defaultTextStyle>
    <a:defPPr>
      <a:defRPr lang="sv-SE"/>
    </a:defPPr>
    <a:lvl1pPr marL="0" algn="l" defTabSz="912931" rtl="0" eaLnBrk="1" latinLnBrk="0" hangingPunct="1">
      <a:defRPr sz="1800" kern="1200">
        <a:solidFill>
          <a:schemeClr val="tx1"/>
        </a:solidFill>
        <a:latin typeface="+mn-lt"/>
        <a:ea typeface="+mn-ea"/>
        <a:cs typeface="+mn-cs"/>
      </a:defRPr>
    </a:lvl1pPr>
    <a:lvl2pPr marL="456463" algn="l" defTabSz="912931" rtl="0" eaLnBrk="1" latinLnBrk="0" hangingPunct="1">
      <a:defRPr sz="1800" kern="1200">
        <a:solidFill>
          <a:schemeClr val="tx1"/>
        </a:solidFill>
        <a:latin typeface="+mn-lt"/>
        <a:ea typeface="+mn-ea"/>
        <a:cs typeface="+mn-cs"/>
      </a:defRPr>
    </a:lvl2pPr>
    <a:lvl3pPr marL="912931" algn="l" defTabSz="912931" rtl="0" eaLnBrk="1" latinLnBrk="0" hangingPunct="1">
      <a:defRPr sz="1800" kern="1200">
        <a:solidFill>
          <a:schemeClr val="tx1"/>
        </a:solidFill>
        <a:latin typeface="+mn-lt"/>
        <a:ea typeface="+mn-ea"/>
        <a:cs typeface="+mn-cs"/>
      </a:defRPr>
    </a:lvl3pPr>
    <a:lvl4pPr marL="1369397" algn="l" defTabSz="912931" rtl="0" eaLnBrk="1" latinLnBrk="0" hangingPunct="1">
      <a:defRPr sz="1800" kern="1200">
        <a:solidFill>
          <a:schemeClr val="tx1"/>
        </a:solidFill>
        <a:latin typeface="+mn-lt"/>
        <a:ea typeface="+mn-ea"/>
        <a:cs typeface="+mn-cs"/>
      </a:defRPr>
    </a:lvl4pPr>
    <a:lvl5pPr marL="1825862" algn="l" defTabSz="912931" rtl="0" eaLnBrk="1" latinLnBrk="0" hangingPunct="1">
      <a:defRPr sz="1800" kern="1200">
        <a:solidFill>
          <a:schemeClr val="tx1"/>
        </a:solidFill>
        <a:latin typeface="+mn-lt"/>
        <a:ea typeface="+mn-ea"/>
        <a:cs typeface="+mn-cs"/>
      </a:defRPr>
    </a:lvl5pPr>
    <a:lvl6pPr marL="2282327" algn="l" defTabSz="912931" rtl="0" eaLnBrk="1" latinLnBrk="0" hangingPunct="1">
      <a:defRPr sz="1800" kern="1200">
        <a:solidFill>
          <a:schemeClr val="tx1"/>
        </a:solidFill>
        <a:latin typeface="+mn-lt"/>
        <a:ea typeface="+mn-ea"/>
        <a:cs typeface="+mn-cs"/>
      </a:defRPr>
    </a:lvl6pPr>
    <a:lvl7pPr marL="2738794" algn="l" defTabSz="912931" rtl="0" eaLnBrk="1" latinLnBrk="0" hangingPunct="1">
      <a:defRPr sz="1800" kern="1200">
        <a:solidFill>
          <a:schemeClr val="tx1"/>
        </a:solidFill>
        <a:latin typeface="+mn-lt"/>
        <a:ea typeface="+mn-ea"/>
        <a:cs typeface="+mn-cs"/>
      </a:defRPr>
    </a:lvl7pPr>
    <a:lvl8pPr marL="3195260" algn="l" defTabSz="912931" rtl="0" eaLnBrk="1" latinLnBrk="0" hangingPunct="1">
      <a:defRPr sz="1800" kern="1200">
        <a:solidFill>
          <a:schemeClr val="tx1"/>
        </a:solidFill>
        <a:latin typeface="+mn-lt"/>
        <a:ea typeface="+mn-ea"/>
        <a:cs typeface="+mn-cs"/>
      </a:defRPr>
    </a:lvl8pPr>
    <a:lvl9pPr marL="3651726" algn="l" defTabSz="912931"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31DAAE7C-88CC-4D14-BD66-B2415EEB2943}">
          <p14:sldIdLst>
            <p14:sldId id="256"/>
            <p14:sldId id="258"/>
          </p14:sldIdLst>
        </p14:section>
        <p14:section name="Loading the Library" id="{3773F307-288B-4D06-8A6D-0734032F104E}">
          <p14:sldIdLst>
            <p14:sldId id="345"/>
            <p14:sldId id="346"/>
            <p14:sldId id="347"/>
          </p14:sldIdLst>
        </p14:section>
        <p14:section name="Library Introduction" id="{AE526487-3033-4E63-BCC9-1FCE69A5C2AE}">
          <p14:sldIdLst>
            <p14:sldId id="259"/>
            <p14:sldId id="260"/>
            <p14:sldId id="261"/>
            <p14:sldId id="263"/>
          </p14:sldIdLst>
        </p14:section>
        <p14:section name="Example 1" id="{700AEBA2-7108-4172-928A-DB13E5DCCAC2}">
          <p14:sldIdLst>
            <p14:sldId id="268"/>
            <p14:sldId id="269"/>
            <p14:sldId id="270"/>
            <p14:sldId id="271"/>
            <p14:sldId id="272"/>
            <p14:sldId id="273"/>
            <p14:sldId id="274"/>
            <p14:sldId id="275"/>
            <p14:sldId id="276"/>
            <p14:sldId id="277"/>
            <p14:sldId id="278"/>
            <p14:sldId id="280"/>
            <p14:sldId id="281"/>
            <p14:sldId id="282"/>
            <p14:sldId id="283"/>
            <p14:sldId id="284"/>
            <p14:sldId id="285"/>
            <p14:sldId id="286"/>
            <p14:sldId id="287"/>
            <p14:sldId id="288"/>
            <p14:sldId id="289"/>
            <p14:sldId id="290"/>
            <p14:sldId id="291"/>
            <p14:sldId id="292"/>
            <p14:sldId id="293"/>
            <p14:sldId id="294"/>
            <p14:sldId id="295"/>
            <p14:sldId id="296"/>
            <p14:sldId id="297"/>
            <p14:sldId id="298"/>
            <p14:sldId id="299"/>
            <p14:sldId id="300"/>
            <p14:sldId id="302"/>
            <p14:sldId id="303"/>
            <p14:sldId id="304"/>
            <p14:sldId id="305"/>
            <p14:sldId id="306"/>
            <p14:sldId id="307"/>
          </p14:sldIdLst>
        </p14:section>
        <p14:section name="Example 2" id="{3CE5AE44-140C-4852-99DE-8C95076CDF87}">
          <p14:sldIdLst>
            <p14:sldId id="308"/>
            <p14:sldId id="309"/>
            <p14:sldId id="310"/>
            <p14:sldId id="311"/>
            <p14:sldId id="312"/>
            <p14:sldId id="313"/>
            <p14:sldId id="314"/>
            <p14:sldId id="315"/>
            <p14:sldId id="352"/>
            <p14:sldId id="353"/>
            <p14:sldId id="317"/>
            <p14:sldId id="318"/>
          </p14:sldIdLst>
        </p14:section>
        <p14:section name="Example 3" id="{BF7E5048-7DFC-457C-8C78-E8E686D393C4}">
          <p14:sldIdLst>
            <p14:sldId id="319"/>
            <p14:sldId id="320"/>
            <p14:sldId id="321"/>
            <p14:sldId id="322"/>
            <p14:sldId id="323"/>
          </p14:sldIdLst>
        </p14:section>
        <p14:section name="Bonus Demo" id="{2ABDA68F-4BF5-4482-A90F-1C000B8B3884}">
          <p14:sldIdLst>
            <p14:sldId id="351"/>
            <p14:sldId id="354"/>
            <p14:sldId id="355"/>
          </p14:sldIdLst>
        </p14:section>
        <p14:section name="END" id="{27151EFA-AC92-41F5-B2D2-74C7ED9BEBA6}">
          <p14:sldIdLst>
            <p14:sldId id="324"/>
          </p14:sldIdLst>
        </p14:section>
        <p14:section name="Preparatory Homework" id="{DD980DB5-DFA7-4B15-BB13-2CEDE21DD5D6}">
          <p14:sldIdLst>
            <p14:sldId id="325"/>
            <p14:sldId id="326"/>
            <p14:sldId id="327"/>
            <p14:sldId id="328"/>
            <p14:sldId id="329"/>
            <p14:sldId id="330"/>
            <p14:sldId id="331"/>
            <p14:sldId id="332"/>
            <p14:sldId id="333"/>
            <p14:sldId id="334"/>
            <p14:sldId id="335"/>
            <p14:sldId id="336"/>
            <p14:sldId id="337"/>
            <p14:sldId id="338"/>
            <p14:sldId id="339"/>
            <p14:sldId id="340"/>
            <p14:sldId id="341"/>
            <p14:sldId id="342"/>
            <p14:sldId id="343"/>
            <p14:sldId id="344"/>
          </p14:sldIdLst>
        </p14:section>
      </p14:sectionLst>
    </p:ex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00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9666" autoAdjust="0"/>
    <p:restoredTop sz="93233" autoAdjust="0"/>
  </p:normalViewPr>
  <p:slideViewPr>
    <p:cSldViewPr>
      <p:cViewPr varScale="1">
        <p:scale>
          <a:sx n="108" d="100"/>
          <a:sy n="108" d="100"/>
        </p:scale>
        <p:origin x="1800" y="102"/>
      </p:cViewPr>
      <p:guideLst>
        <p:guide orient="horz" pos="2160"/>
        <p:guide pos="2880"/>
      </p:guideLst>
    </p:cSldViewPr>
  </p:slideViewPr>
  <p:notesTextViewPr>
    <p:cViewPr>
      <p:scale>
        <a:sx n="20" d="100"/>
        <a:sy n="20" d="100"/>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slide" Target="slides/slide53.xml"/><Relationship Id="rId63" Type="http://schemas.openxmlformats.org/officeDocument/2006/relationships/slide" Target="slides/slide61.xml"/><Relationship Id="rId68" Type="http://schemas.openxmlformats.org/officeDocument/2006/relationships/slide" Target="slides/slide66.xml"/><Relationship Id="rId76" Type="http://schemas.openxmlformats.org/officeDocument/2006/relationships/slide" Target="slides/slide74.xml"/><Relationship Id="rId84" Type="http://schemas.openxmlformats.org/officeDocument/2006/relationships/slide" Target="slides/slide82.xml"/><Relationship Id="rId89" Type="http://schemas.openxmlformats.org/officeDocument/2006/relationships/slide" Target="slides/slide87.xml"/><Relationship Id="rId7" Type="http://schemas.openxmlformats.org/officeDocument/2006/relationships/slide" Target="slides/slide5.xml"/><Relationship Id="rId71" Type="http://schemas.openxmlformats.org/officeDocument/2006/relationships/slide" Target="slides/slide69.xml"/><Relationship Id="rId92"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slide" Target="slides/slide56.xml"/><Relationship Id="rId66" Type="http://schemas.openxmlformats.org/officeDocument/2006/relationships/slide" Target="slides/slide64.xml"/><Relationship Id="rId74" Type="http://schemas.openxmlformats.org/officeDocument/2006/relationships/slide" Target="slides/slide72.xml"/><Relationship Id="rId79" Type="http://schemas.openxmlformats.org/officeDocument/2006/relationships/slide" Target="slides/slide77.xml"/><Relationship Id="rId87" Type="http://schemas.openxmlformats.org/officeDocument/2006/relationships/slide" Target="slides/slide85.xml"/><Relationship Id="rId5" Type="http://schemas.openxmlformats.org/officeDocument/2006/relationships/slide" Target="slides/slide3.xml"/><Relationship Id="rId61" Type="http://schemas.openxmlformats.org/officeDocument/2006/relationships/slide" Target="slides/slide59.xml"/><Relationship Id="rId82" Type="http://schemas.openxmlformats.org/officeDocument/2006/relationships/slide" Target="slides/slide80.xml"/><Relationship Id="rId90" Type="http://schemas.openxmlformats.org/officeDocument/2006/relationships/slide" Target="slides/slide88.xml"/><Relationship Id="rId95" Type="http://schemas.openxmlformats.org/officeDocument/2006/relationships/tableStyles" Target="tableStyles.xml"/><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slide" Target="slides/slide62.xml"/><Relationship Id="rId69" Type="http://schemas.openxmlformats.org/officeDocument/2006/relationships/slide" Target="slides/slide67.xml"/><Relationship Id="rId77" Type="http://schemas.openxmlformats.org/officeDocument/2006/relationships/slide" Target="slides/slide75.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80" Type="http://schemas.openxmlformats.org/officeDocument/2006/relationships/slide" Target="slides/slide78.xml"/><Relationship Id="rId85" Type="http://schemas.openxmlformats.org/officeDocument/2006/relationships/slide" Target="slides/slide83.xml"/><Relationship Id="rId93" Type="http://schemas.openxmlformats.org/officeDocument/2006/relationships/viewProps" Target="viewProps.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slide" Target="slides/slide65.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slide" Target="slides/slide68.xml"/><Relationship Id="rId75" Type="http://schemas.openxmlformats.org/officeDocument/2006/relationships/slide" Target="slides/slide73.xml"/><Relationship Id="rId83" Type="http://schemas.openxmlformats.org/officeDocument/2006/relationships/slide" Target="slides/slide81.xml"/><Relationship Id="rId88" Type="http://schemas.openxmlformats.org/officeDocument/2006/relationships/slide" Target="slides/slide86.xml"/><Relationship Id="rId91"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slide" Target="slides/slide71.xml"/><Relationship Id="rId78" Type="http://schemas.openxmlformats.org/officeDocument/2006/relationships/slide" Target="slides/slide76.xml"/><Relationship Id="rId81" Type="http://schemas.openxmlformats.org/officeDocument/2006/relationships/slide" Target="slides/slide79.xml"/><Relationship Id="rId86" Type="http://schemas.openxmlformats.org/officeDocument/2006/relationships/slide" Target="slides/slide84.xml"/><Relationship Id="rId94"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B0FD2BD5-921C-439E-8DFF-A4F61DE909D5}" type="datetimeFigureOut">
              <a:rPr lang="en-US" smtClean="0"/>
              <a:t>11/15/2016</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0DFD65BD-889F-459F-9228-0DCC861F694A}" type="slidenum">
              <a:rPr lang="en-US" smtClean="0"/>
              <a:t>‹#›</a:t>
            </a:fld>
            <a:endParaRPr lang="en-US"/>
          </a:p>
        </p:txBody>
      </p:sp>
    </p:spTree>
    <p:extLst>
      <p:ext uri="{BB962C8B-B14F-4D97-AF65-F5344CB8AC3E}">
        <p14:creationId xmlns:p14="http://schemas.microsoft.com/office/powerpoint/2010/main" val="95724166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irport to</a:t>
            </a:r>
            <a:r>
              <a:rPr lang="en-US" baseline="0" dirty="0"/>
              <a:t> central station</a:t>
            </a:r>
          </a:p>
          <a:p>
            <a:r>
              <a:rPr lang="en-US" baseline="0" dirty="0"/>
              <a:t>Take line 3 or line 4 to </a:t>
            </a:r>
            <a:r>
              <a:rPr lang="en-US" baseline="0" dirty="0" err="1"/>
              <a:t>Nyl</a:t>
            </a:r>
            <a:r>
              <a:rPr lang="en-US" baseline="0" dirty="0"/>
              <a:t>… (</a:t>
            </a:r>
            <a:r>
              <a:rPr lang="en-US" baseline="0" dirty="0" err="1"/>
              <a:t>Stattnet</a:t>
            </a:r>
            <a:r>
              <a:rPr lang="en-US" baseline="0" dirty="0"/>
              <a:t>)</a:t>
            </a:r>
          </a:p>
          <a:p>
            <a:endParaRPr lang="en-US" dirty="0"/>
          </a:p>
        </p:txBody>
      </p:sp>
      <p:sp>
        <p:nvSpPr>
          <p:cNvPr id="4" name="Slide Number Placeholder 3"/>
          <p:cNvSpPr>
            <a:spLocks noGrp="1"/>
          </p:cNvSpPr>
          <p:nvPr>
            <p:ph type="sldNum" sz="quarter" idx="10"/>
          </p:nvPr>
        </p:nvSpPr>
        <p:spPr/>
        <p:txBody>
          <a:bodyPr/>
          <a:lstStyle/>
          <a:p>
            <a:pPr>
              <a:defRPr/>
            </a:pPr>
            <a:fld id="{2E16607F-F682-4ACC-9B48-EA7CEBC48E5D}" type="slidenum">
              <a:rPr lang="en-US" smtClean="0"/>
              <a:pPr>
                <a:defRPr/>
              </a:pPr>
              <a:t>1</a:t>
            </a:fld>
            <a:endParaRPr lang="en-US" dirty="0"/>
          </a:p>
        </p:txBody>
      </p:sp>
    </p:spTree>
    <p:extLst>
      <p:ext uri="{BB962C8B-B14F-4D97-AF65-F5344CB8AC3E}">
        <p14:creationId xmlns:p14="http://schemas.microsoft.com/office/powerpoint/2010/main" val="38914987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59BD6FCF-7F10-475F-B449-6E8153922B75}" type="slidenum">
              <a:rPr lang="en-US" smtClean="0"/>
              <a:pPr>
                <a:defRPr/>
              </a:pPr>
              <a:t>13</a:t>
            </a:fld>
            <a:endParaRPr lang="en-US" dirty="0"/>
          </a:p>
        </p:txBody>
      </p:sp>
    </p:spTree>
    <p:extLst>
      <p:ext uri="{BB962C8B-B14F-4D97-AF65-F5344CB8AC3E}">
        <p14:creationId xmlns:p14="http://schemas.microsoft.com/office/powerpoint/2010/main" val="121184865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59BD6FCF-7F10-475F-B449-6E8153922B75}" type="slidenum">
              <a:rPr lang="en-US" smtClean="0"/>
              <a:pPr>
                <a:defRPr/>
              </a:pPr>
              <a:t>14</a:t>
            </a:fld>
            <a:endParaRPr lang="en-US" dirty="0"/>
          </a:p>
        </p:txBody>
      </p:sp>
    </p:spTree>
    <p:extLst>
      <p:ext uri="{BB962C8B-B14F-4D97-AF65-F5344CB8AC3E}">
        <p14:creationId xmlns:p14="http://schemas.microsoft.com/office/powerpoint/2010/main" val="166324486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15</a:t>
            </a:fld>
            <a:endParaRPr lang="en-US" dirty="0"/>
          </a:p>
        </p:txBody>
      </p:sp>
    </p:spTree>
    <p:extLst>
      <p:ext uri="{BB962C8B-B14F-4D97-AF65-F5344CB8AC3E}">
        <p14:creationId xmlns:p14="http://schemas.microsoft.com/office/powerpoint/2010/main" val="122732849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16</a:t>
            </a:fld>
            <a:endParaRPr lang="en-US" dirty="0"/>
          </a:p>
        </p:txBody>
      </p:sp>
    </p:spTree>
    <p:extLst>
      <p:ext uri="{BB962C8B-B14F-4D97-AF65-F5344CB8AC3E}">
        <p14:creationId xmlns:p14="http://schemas.microsoft.com/office/powerpoint/2010/main" val="29762642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17</a:t>
            </a:fld>
            <a:endParaRPr lang="en-US" dirty="0"/>
          </a:p>
        </p:txBody>
      </p:sp>
    </p:spTree>
    <p:extLst>
      <p:ext uri="{BB962C8B-B14F-4D97-AF65-F5344CB8AC3E}">
        <p14:creationId xmlns:p14="http://schemas.microsoft.com/office/powerpoint/2010/main" val="163238882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18</a:t>
            </a:fld>
            <a:endParaRPr lang="en-US" dirty="0"/>
          </a:p>
        </p:txBody>
      </p:sp>
    </p:spTree>
    <p:extLst>
      <p:ext uri="{BB962C8B-B14F-4D97-AF65-F5344CB8AC3E}">
        <p14:creationId xmlns:p14="http://schemas.microsoft.com/office/powerpoint/2010/main" val="307046083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19</a:t>
            </a:fld>
            <a:endParaRPr lang="en-US" dirty="0"/>
          </a:p>
        </p:txBody>
      </p:sp>
    </p:spTree>
    <p:extLst>
      <p:ext uri="{BB962C8B-B14F-4D97-AF65-F5344CB8AC3E}">
        <p14:creationId xmlns:p14="http://schemas.microsoft.com/office/powerpoint/2010/main" val="18683250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20</a:t>
            </a:fld>
            <a:endParaRPr lang="en-US" dirty="0"/>
          </a:p>
        </p:txBody>
      </p:sp>
    </p:spTree>
    <p:extLst>
      <p:ext uri="{BB962C8B-B14F-4D97-AF65-F5344CB8AC3E}">
        <p14:creationId xmlns:p14="http://schemas.microsoft.com/office/powerpoint/2010/main" val="99138462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21</a:t>
            </a:fld>
            <a:endParaRPr lang="en-US" dirty="0"/>
          </a:p>
        </p:txBody>
      </p:sp>
    </p:spTree>
    <p:extLst>
      <p:ext uri="{BB962C8B-B14F-4D97-AF65-F5344CB8AC3E}">
        <p14:creationId xmlns:p14="http://schemas.microsoft.com/office/powerpoint/2010/main" val="157207615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22</a:t>
            </a:fld>
            <a:endParaRPr lang="en-US" dirty="0"/>
          </a:p>
        </p:txBody>
      </p:sp>
    </p:spTree>
    <p:extLst>
      <p:ext uri="{BB962C8B-B14F-4D97-AF65-F5344CB8AC3E}">
        <p14:creationId xmlns:p14="http://schemas.microsoft.com/office/powerpoint/2010/main" val="267856754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2</a:t>
            </a:fld>
            <a:endParaRPr lang="en-US" dirty="0"/>
          </a:p>
        </p:txBody>
      </p:sp>
    </p:spTree>
    <p:extLst>
      <p:ext uri="{BB962C8B-B14F-4D97-AF65-F5344CB8AC3E}">
        <p14:creationId xmlns:p14="http://schemas.microsoft.com/office/powerpoint/2010/main" val="45780431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23</a:t>
            </a:fld>
            <a:endParaRPr lang="en-US" dirty="0"/>
          </a:p>
        </p:txBody>
      </p:sp>
    </p:spTree>
    <p:extLst>
      <p:ext uri="{BB962C8B-B14F-4D97-AF65-F5344CB8AC3E}">
        <p14:creationId xmlns:p14="http://schemas.microsoft.com/office/powerpoint/2010/main" val="40069352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24</a:t>
            </a:fld>
            <a:endParaRPr lang="en-US" dirty="0"/>
          </a:p>
        </p:txBody>
      </p:sp>
    </p:spTree>
    <p:extLst>
      <p:ext uri="{BB962C8B-B14F-4D97-AF65-F5344CB8AC3E}">
        <p14:creationId xmlns:p14="http://schemas.microsoft.com/office/powerpoint/2010/main" val="76748381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25</a:t>
            </a:fld>
            <a:endParaRPr lang="en-US" dirty="0"/>
          </a:p>
        </p:txBody>
      </p:sp>
    </p:spTree>
    <p:extLst>
      <p:ext uri="{BB962C8B-B14F-4D97-AF65-F5344CB8AC3E}">
        <p14:creationId xmlns:p14="http://schemas.microsoft.com/office/powerpoint/2010/main" val="142767215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26</a:t>
            </a:fld>
            <a:endParaRPr lang="en-US" dirty="0"/>
          </a:p>
        </p:txBody>
      </p:sp>
    </p:spTree>
    <p:extLst>
      <p:ext uri="{BB962C8B-B14F-4D97-AF65-F5344CB8AC3E}">
        <p14:creationId xmlns:p14="http://schemas.microsoft.com/office/powerpoint/2010/main" val="58150070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27</a:t>
            </a:fld>
            <a:endParaRPr lang="en-US" dirty="0"/>
          </a:p>
        </p:txBody>
      </p:sp>
    </p:spTree>
    <p:extLst>
      <p:ext uri="{BB962C8B-B14F-4D97-AF65-F5344CB8AC3E}">
        <p14:creationId xmlns:p14="http://schemas.microsoft.com/office/powerpoint/2010/main" val="127999044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28</a:t>
            </a:fld>
            <a:endParaRPr lang="en-US" dirty="0"/>
          </a:p>
        </p:txBody>
      </p:sp>
    </p:spTree>
    <p:extLst>
      <p:ext uri="{BB962C8B-B14F-4D97-AF65-F5344CB8AC3E}">
        <p14:creationId xmlns:p14="http://schemas.microsoft.com/office/powerpoint/2010/main" val="245379369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29</a:t>
            </a:fld>
            <a:endParaRPr lang="en-US" dirty="0"/>
          </a:p>
        </p:txBody>
      </p:sp>
    </p:spTree>
    <p:extLst>
      <p:ext uri="{BB962C8B-B14F-4D97-AF65-F5344CB8AC3E}">
        <p14:creationId xmlns:p14="http://schemas.microsoft.com/office/powerpoint/2010/main" val="426321251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30</a:t>
            </a:fld>
            <a:endParaRPr lang="en-US" dirty="0"/>
          </a:p>
        </p:txBody>
      </p:sp>
    </p:spTree>
    <p:extLst>
      <p:ext uri="{BB962C8B-B14F-4D97-AF65-F5344CB8AC3E}">
        <p14:creationId xmlns:p14="http://schemas.microsoft.com/office/powerpoint/2010/main" val="328101709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31</a:t>
            </a:fld>
            <a:endParaRPr lang="en-US" dirty="0"/>
          </a:p>
        </p:txBody>
      </p:sp>
    </p:spTree>
    <p:extLst>
      <p:ext uri="{BB962C8B-B14F-4D97-AF65-F5344CB8AC3E}">
        <p14:creationId xmlns:p14="http://schemas.microsoft.com/office/powerpoint/2010/main" val="370779200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32</a:t>
            </a:fld>
            <a:endParaRPr lang="en-US" dirty="0"/>
          </a:p>
        </p:txBody>
      </p:sp>
    </p:spTree>
    <p:extLst>
      <p:ext uri="{BB962C8B-B14F-4D97-AF65-F5344CB8AC3E}">
        <p14:creationId xmlns:p14="http://schemas.microsoft.com/office/powerpoint/2010/main" val="36154719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6</a:t>
            </a:fld>
            <a:endParaRPr lang="en-US" dirty="0"/>
          </a:p>
        </p:txBody>
      </p:sp>
    </p:spTree>
    <p:extLst>
      <p:ext uri="{BB962C8B-B14F-4D97-AF65-F5344CB8AC3E}">
        <p14:creationId xmlns:p14="http://schemas.microsoft.com/office/powerpoint/2010/main" val="254994781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33</a:t>
            </a:fld>
            <a:endParaRPr lang="en-US" dirty="0"/>
          </a:p>
        </p:txBody>
      </p:sp>
    </p:spTree>
    <p:extLst>
      <p:ext uri="{BB962C8B-B14F-4D97-AF65-F5344CB8AC3E}">
        <p14:creationId xmlns:p14="http://schemas.microsoft.com/office/powerpoint/2010/main" val="99095918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34</a:t>
            </a:fld>
            <a:endParaRPr lang="en-US" dirty="0"/>
          </a:p>
        </p:txBody>
      </p:sp>
    </p:spTree>
    <p:extLst>
      <p:ext uri="{BB962C8B-B14F-4D97-AF65-F5344CB8AC3E}">
        <p14:creationId xmlns:p14="http://schemas.microsoft.com/office/powerpoint/2010/main" val="204372520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35</a:t>
            </a:fld>
            <a:endParaRPr lang="en-US" dirty="0"/>
          </a:p>
        </p:txBody>
      </p:sp>
    </p:spTree>
    <p:extLst>
      <p:ext uri="{BB962C8B-B14F-4D97-AF65-F5344CB8AC3E}">
        <p14:creationId xmlns:p14="http://schemas.microsoft.com/office/powerpoint/2010/main" val="383201269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36</a:t>
            </a:fld>
            <a:endParaRPr lang="en-US" dirty="0"/>
          </a:p>
        </p:txBody>
      </p:sp>
    </p:spTree>
    <p:extLst>
      <p:ext uri="{BB962C8B-B14F-4D97-AF65-F5344CB8AC3E}">
        <p14:creationId xmlns:p14="http://schemas.microsoft.com/office/powerpoint/2010/main" val="224412507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37</a:t>
            </a:fld>
            <a:endParaRPr lang="en-US" dirty="0"/>
          </a:p>
        </p:txBody>
      </p:sp>
    </p:spTree>
    <p:extLst>
      <p:ext uri="{BB962C8B-B14F-4D97-AF65-F5344CB8AC3E}">
        <p14:creationId xmlns:p14="http://schemas.microsoft.com/office/powerpoint/2010/main" val="23323860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38</a:t>
            </a:fld>
            <a:endParaRPr lang="en-US" dirty="0"/>
          </a:p>
        </p:txBody>
      </p:sp>
    </p:spTree>
    <p:extLst>
      <p:ext uri="{BB962C8B-B14F-4D97-AF65-F5344CB8AC3E}">
        <p14:creationId xmlns:p14="http://schemas.microsoft.com/office/powerpoint/2010/main" val="212451310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39</a:t>
            </a:fld>
            <a:endParaRPr lang="en-US" dirty="0"/>
          </a:p>
        </p:txBody>
      </p:sp>
    </p:spTree>
    <p:extLst>
      <p:ext uri="{BB962C8B-B14F-4D97-AF65-F5344CB8AC3E}">
        <p14:creationId xmlns:p14="http://schemas.microsoft.com/office/powerpoint/2010/main" val="32808238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40</a:t>
            </a:fld>
            <a:endParaRPr lang="en-US" dirty="0"/>
          </a:p>
        </p:txBody>
      </p:sp>
    </p:spTree>
    <p:extLst>
      <p:ext uri="{BB962C8B-B14F-4D97-AF65-F5344CB8AC3E}">
        <p14:creationId xmlns:p14="http://schemas.microsoft.com/office/powerpoint/2010/main" val="183675364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41</a:t>
            </a:fld>
            <a:endParaRPr lang="en-US" dirty="0"/>
          </a:p>
        </p:txBody>
      </p:sp>
    </p:spTree>
    <p:extLst>
      <p:ext uri="{BB962C8B-B14F-4D97-AF65-F5344CB8AC3E}">
        <p14:creationId xmlns:p14="http://schemas.microsoft.com/office/powerpoint/2010/main" val="117720432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42</a:t>
            </a:fld>
            <a:endParaRPr lang="en-US" dirty="0"/>
          </a:p>
        </p:txBody>
      </p:sp>
    </p:spTree>
    <p:extLst>
      <p:ext uri="{BB962C8B-B14F-4D97-AF65-F5344CB8AC3E}">
        <p14:creationId xmlns:p14="http://schemas.microsoft.com/office/powerpoint/2010/main" val="40605064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7</a:t>
            </a:fld>
            <a:endParaRPr lang="en-US" dirty="0"/>
          </a:p>
        </p:txBody>
      </p:sp>
    </p:spTree>
    <p:extLst>
      <p:ext uri="{BB962C8B-B14F-4D97-AF65-F5344CB8AC3E}">
        <p14:creationId xmlns:p14="http://schemas.microsoft.com/office/powerpoint/2010/main" val="271393369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43</a:t>
            </a:fld>
            <a:endParaRPr lang="en-US" dirty="0"/>
          </a:p>
        </p:txBody>
      </p:sp>
    </p:spTree>
    <p:extLst>
      <p:ext uri="{BB962C8B-B14F-4D97-AF65-F5344CB8AC3E}">
        <p14:creationId xmlns:p14="http://schemas.microsoft.com/office/powerpoint/2010/main" val="177226912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44</a:t>
            </a:fld>
            <a:endParaRPr lang="en-US" dirty="0"/>
          </a:p>
        </p:txBody>
      </p:sp>
    </p:spTree>
    <p:extLst>
      <p:ext uri="{BB962C8B-B14F-4D97-AF65-F5344CB8AC3E}">
        <p14:creationId xmlns:p14="http://schemas.microsoft.com/office/powerpoint/2010/main" val="70602007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45</a:t>
            </a:fld>
            <a:endParaRPr lang="en-US" dirty="0"/>
          </a:p>
        </p:txBody>
      </p:sp>
    </p:spTree>
    <p:extLst>
      <p:ext uri="{BB962C8B-B14F-4D97-AF65-F5344CB8AC3E}">
        <p14:creationId xmlns:p14="http://schemas.microsoft.com/office/powerpoint/2010/main" val="157375196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46</a:t>
            </a:fld>
            <a:endParaRPr lang="en-US" dirty="0"/>
          </a:p>
        </p:txBody>
      </p:sp>
    </p:spTree>
    <p:extLst>
      <p:ext uri="{BB962C8B-B14F-4D97-AF65-F5344CB8AC3E}">
        <p14:creationId xmlns:p14="http://schemas.microsoft.com/office/powerpoint/2010/main" val="191706343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47</a:t>
            </a:fld>
            <a:endParaRPr lang="en-US" dirty="0"/>
          </a:p>
        </p:txBody>
      </p:sp>
    </p:spTree>
    <p:extLst>
      <p:ext uri="{BB962C8B-B14F-4D97-AF65-F5344CB8AC3E}">
        <p14:creationId xmlns:p14="http://schemas.microsoft.com/office/powerpoint/2010/main" val="17105183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48</a:t>
            </a:fld>
            <a:endParaRPr lang="en-US" dirty="0"/>
          </a:p>
        </p:txBody>
      </p:sp>
    </p:spTree>
    <p:extLst>
      <p:ext uri="{BB962C8B-B14F-4D97-AF65-F5344CB8AC3E}">
        <p14:creationId xmlns:p14="http://schemas.microsoft.com/office/powerpoint/2010/main" val="100203830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49</a:t>
            </a:fld>
            <a:endParaRPr lang="en-US" dirty="0"/>
          </a:p>
        </p:txBody>
      </p:sp>
    </p:spTree>
    <p:extLst>
      <p:ext uri="{BB962C8B-B14F-4D97-AF65-F5344CB8AC3E}">
        <p14:creationId xmlns:p14="http://schemas.microsoft.com/office/powerpoint/2010/main" val="246631568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50</a:t>
            </a:fld>
            <a:endParaRPr lang="en-US" dirty="0"/>
          </a:p>
        </p:txBody>
      </p:sp>
    </p:spTree>
    <p:extLst>
      <p:ext uri="{BB962C8B-B14F-4D97-AF65-F5344CB8AC3E}">
        <p14:creationId xmlns:p14="http://schemas.microsoft.com/office/powerpoint/2010/main" val="22416792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51</a:t>
            </a:fld>
            <a:endParaRPr lang="en-US" dirty="0"/>
          </a:p>
        </p:txBody>
      </p:sp>
    </p:spTree>
    <p:extLst>
      <p:ext uri="{BB962C8B-B14F-4D97-AF65-F5344CB8AC3E}">
        <p14:creationId xmlns:p14="http://schemas.microsoft.com/office/powerpoint/2010/main" val="289037502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52</a:t>
            </a:fld>
            <a:endParaRPr lang="en-US" dirty="0"/>
          </a:p>
        </p:txBody>
      </p:sp>
    </p:spTree>
    <p:extLst>
      <p:ext uri="{BB962C8B-B14F-4D97-AF65-F5344CB8AC3E}">
        <p14:creationId xmlns:p14="http://schemas.microsoft.com/office/powerpoint/2010/main" val="41801384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8</a:t>
            </a:fld>
            <a:endParaRPr lang="en-US" dirty="0"/>
          </a:p>
        </p:txBody>
      </p:sp>
    </p:spTree>
    <p:extLst>
      <p:ext uri="{BB962C8B-B14F-4D97-AF65-F5344CB8AC3E}">
        <p14:creationId xmlns:p14="http://schemas.microsoft.com/office/powerpoint/2010/main" val="333271656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53</a:t>
            </a:fld>
            <a:endParaRPr lang="en-US" dirty="0"/>
          </a:p>
        </p:txBody>
      </p:sp>
    </p:spTree>
    <p:extLst>
      <p:ext uri="{BB962C8B-B14F-4D97-AF65-F5344CB8AC3E}">
        <p14:creationId xmlns:p14="http://schemas.microsoft.com/office/powerpoint/2010/main" val="121394049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54</a:t>
            </a:fld>
            <a:endParaRPr lang="en-US" dirty="0"/>
          </a:p>
        </p:txBody>
      </p:sp>
    </p:spTree>
    <p:extLst>
      <p:ext uri="{BB962C8B-B14F-4D97-AF65-F5344CB8AC3E}">
        <p14:creationId xmlns:p14="http://schemas.microsoft.com/office/powerpoint/2010/main" val="219624131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55</a:t>
            </a:fld>
            <a:endParaRPr lang="en-US" dirty="0"/>
          </a:p>
        </p:txBody>
      </p:sp>
    </p:spTree>
    <p:extLst>
      <p:ext uri="{BB962C8B-B14F-4D97-AF65-F5344CB8AC3E}">
        <p14:creationId xmlns:p14="http://schemas.microsoft.com/office/powerpoint/2010/main" val="3922506236"/>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56</a:t>
            </a:fld>
            <a:endParaRPr lang="en-US" dirty="0"/>
          </a:p>
        </p:txBody>
      </p:sp>
    </p:spTree>
    <p:extLst>
      <p:ext uri="{BB962C8B-B14F-4D97-AF65-F5344CB8AC3E}">
        <p14:creationId xmlns:p14="http://schemas.microsoft.com/office/powerpoint/2010/main" val="367124764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57</a:t>
            </a:fld>
            <a:endParaRPr lang="en-US" dirty="0"/>
          </a:p>
        </p:txBody>
      </p:sp>
    </p:spTree>
    <p:extLst>
      <p:ext uri="{BB962C8B-B14F-4D97-AF65-F5344CB8AC3E}">
        <p14:creationId xmlns:p14="http://schemas.microsoft.com/office/powerpoint/2010/main" val="2420983818"/>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58</a:t>
            </a:fld>
            <a:endParaRPr lang="en-US" dirty="0"/>
          </a:p>
        </p:txBody>
      </p:sp>
    </p:spTree>
    <p:extLst>
      <p:ext uri="{BB962C8B-B14F-4D97-AF65-F5344CB8AC3E}">
        <p14:creationId xmlns:p14="http://schemas.microsoft.com/office/powerpoint/2010/main" val="35553978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59</a:t>
            </a:fld>
            <a:endParaRPr lang="en-US" dirty="0"/>
          </a:p>
        </p:txBody>
      </p:sp>
    </p:spTree>
    <p:extLst>
      <p:ext uri="{BB962C8B-B14F-4D97-AF65-F5344CB8AC3E}">
        <p14:creationId xmlns:p14="http://schemas.microsoft.com/office/powerpoint/2010/main" val="2979700656"/>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60</a:t>
            </a:fld>
            <a:endParaRPr lang="en-US" dirty="0"/>
          </a:p>
        </p:txBody>
      </p:sp>
    </p:spTree>
    <p:extLst>
      <p:ext uri="{BB962C8B-B14F-4D97-AF65-F5344CB8AC3E}">
        <p14:creationId xmlns:p14="http://schemas.microsoft.com/office/powerpoint/2010/main" val="1606109554"/>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61</a:t>
            </a:fld>
            <a:endParaRPr lang="en-US" dirty="0"/>
          </a:p>
        </p:txBody>
      </p:sp>
    </p:spTree>
    <p:extLst>
      <p:ext uri="{BB962C8B-B14F-4D97-AF65-F5344CB8AC3E}">
        <p14:creationId xmlns:p14="http://schemas.microsoft.com/office/powerpoint/2010/main" val="233264124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62</a:t>
            </a:fld>
            <a:endParaRPr lang="en-US" dirty="0"/>
          </a:p>
        </p:txBody>
      </p:sp>
    </p:spTree>
    <p:extLst>
      <p:ext uri="{BB962C8B-B14F-4D97-AF65-F5344CB8AC3E}">
        <p14:creationId xmlns:p14="http://schemas.microsoft.com/office/powerpoint/2010/main" val="274009268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9</a:t>
            </a:fld>
            <a:endParaRPr lang="en-US" dirty="0"/>
          </a:p>
        </p:txBody>
      </p:sp>
    </p:spTree>
    <p:extLst>
      <p:ext uri="{BB962C8B-B14F-4D97-AF65-F5344CB8AC3E}">
        <p14:creationId xmlns:p14="http://schemas.microsoft.com/office/powerpoint/2010/main" val="224646687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63</a:t>
            </a:fld>
            <a:endParaRPr lang="en-US" dirty="0"/>
          </a:p>
        </p:txBody>
      </p:sp>
    </p:spTree>
    <p:extLst>
      <p:ext uri="{BB962C8B-B14F-4D97-AF65-F5344CB8AC3E}">
        <p14:creationId xmlns:p14="http://schemas.microsoft.com/office/powerpoint/2010/main" val="2303123512"/>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64</a:t>
            </a:fld>
            <a:endParaRPr lang="en-US" dirty="0"/>
          </a:p>
        </p:txBody>
      </p:sp>
    </p:spTree>
    <p:extLst>
      <p:ext uri="{BB962C8B-B14F-4D97-AF65-F5344CB8AC3E}">
        <p14:creationId xmlns:p14="http://schemas.microsoft.com/office/powerpoint/2010/main" val="751412761"/>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68</a:t>
            </a:fld>
            <a:endParaRPr lang="en-US" dirty="0"/>
          </a:p>
        </p:txBody>
      </p:sp>
    </p:spTree>
    <p:extLst>
      <p:ext uri="{BB962C8B-B14F-4D97-AF65-F5344CB8AC3E}">
        <p14:creationId xmlns:p14="http://schemas.microsoft.com/office/powerpoint/2010/main" val="559080751"/>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a:t>Airport to</a:t>
            </a:r>
            <a:r>
              <a:rPr lang="sv-SE" baseline="0" dirty="0"/>
              <a:t> central station</a:t>
            </a:r>
          </a:p>
          <a:p>
            <a:r>
              <a:rPr lang="sv-SE" baseline="0" dirty="0" err="1"/>
              <a:t>Take</a:t>
            </a:r>
            <a:r>
              <a:rPr lang="sv-SE" baseline="0" dirty="0"/>
              <a:t> </a:t>
            </a:r>
            <a:r>
              <a:rPr lang="sv-SE" baseline="0" dirty="0" err="1"/>
              <a:t>line</a:t>
            </a:r>
            <a:r>
              <a:rPr lang="sv-SE" baseline="0" dirty="0"/>
              <a:t> 3 or </a:t>
            </a:r>
            <a:r>
              <a:rPr lang="sv-SE" baseline="0" dirty="0" err="1"/>
              <a:t>line</a:t>
            </a:r>
            <a:r>
              <a:rPr lang="sv-SE" baseline="0" dirty="0"/>
              <a:t> 4 </a:t>
            </a:r>
            <a:r>
              <a:rPr lang="sv-SE" baseline="0" dirty="0" err="1"/>
              <a:t>to</a:t>
            </a:r>
            <a:r>
              <a:rPr lang="sv-SE" baseline="0" dirty="0"/>
              <a:t> </a:t>
            </a:r>
            <a:r>
              <a:rPr lang="sv-SE" baseline="0" dirty="0" err="1"/>
              <a:t>Nyl</a:t>
            </a:r>
            <a:r>
              <a:rPr lang="sv-SE" baseline="0" dirty="0"/>
              <a:t>… (</a:t>
            </a:r>
            <a:r>
              <a:rPr lang="sv-SE" baseline="0" dirty="0" err="1"/>
              <a:t>Stattnet</a:t>
            </a:r>
            <a:r>
              <a:rPr lang="sv-SE" baseline="0" dirty="0"/>
              <a:t>)</a:t>
            </a:r>
          </a:p>
          <a:p>
            <a:endParaRPr lang="sv-SE"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E16607F-F682-4ACC-9B48-EA7CEBC48E5D}"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9</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8660926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10</a:t>
            </a:fld>
            <a:endParaRPr lang="en-US" dirty="0"/>
          </a:p>
        </p:txBody>
      </p:sp>
    </p:spTree>
    <p:extLst>
      <p:ext uri="{BB962C8B-B14F-4D97-AF65-F5344CB8AC3E}">
        <p14:creationId xmlns:p14="http://schemas.microsoft.com/office/powerpoint/2010/main" val="394274518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59BD6FCF-7F10-475F-B449-6E8153922B75}" type="slidenum">
              <a:rPr lang="en-US" smtClean="0"/>
              <a:pPr>
                <a:defRPr/>
              </a:pPr>
              <a:t>11</a:t>
            </a:fld>
            <a:endParaRPr lang="en-US" dirty="0"/>
          </a:p>
        </p:txBody>
      </p:sp>
    </p:spTree>
    <p:extLst>
      <p:ext uri="{BB962C8B-B14F-4D97-AF65-F5344CB8AC3E}">
        <p14:creationId xmlns:p14="http://schemas.microsoft.com/office/powerpoint/2010/main" val="12774791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59BD6FCF-7F10-475F-B449-6E8153922B75}" type="slidenum">
              <a:rPr lang="en-US" smtClean="0"/>
              <a:pPr>
                <a:defRPr/>
              </a:pPr>
              <a:t>12</a:t>
            </a:fld>
            <a:endParaRPr lang="en-US" dirty="0"/>
          </a:p>
        </p:txBody>
      </p:sp>
    </p:spTree>
    <p:extLst>
      <p:ext uri="{BB962C8B-B14F-4D97-AF65-F5344CB8AC3E}">
        <p14:creationId xmlns:p14="http://schemas.microsoft.com/office/powerpoint/2010/main" val="197565451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_en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extLst>
              <p:ext uri="{D42A27DB-BD31-4B8C-83A1-F6EECF244321}">
                <p14:modId xmlns:p14="http://schemas.microsoft.com/office/powerpoint/2010/main" val="18878977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9" name="think-cell Slide" r:id="rId4" imgW="270" imgH="270" progId="TCLayout.ActiveDocument.1">
                  <p:embed/>
                </p:oleObj>
              </mc:Choice>
              <mc:Fallback>
                <p:oleObj name="think-cell Slide" r:id="rId4" imgW="270" imgH="270" progId="TCLayout.ActiveDocument.1">
                  <p:embed/>
                  <p:pic>
                    <p:nvPicPr>
                      <p:cNvPr id="5" name="Objek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4" name="Rektangel 13"/>
          <p:cNvSpPr/>
          <p:nvPr/>
        </p:nvSpPr>
        <p:spPr bwMode="gray">
          <a:xfrm>
            <a:off x="0" y="3613150"/>
            <a:ext cx="9144000" cy="32448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Rubrik 1"/>
          <p:cNvSpPr>
            <a:spLocks noGrp="1"/>
          </p:cNvSpPr>
          <p:nvPr>
            <p:ph type="ctrTitle"/>
          </p:nvPr>
        </p:nvSpPr>
        <p:spPr bwMode="gray">
          <a:xfrm>
            <a:off x="1568185" y="1161181"/>
            <a:ext cx="6984337" cy="1043684"/>
          </a:xfrm>
        </p:spPr>
        <p:txBody>
          <a:bodyPr>
            <a:normAutofit/>
          </a:bodyPr>
          <a:lstStyle>
            <a:lvl1pPr algn="l">
              <a:lnSpc>
                <a:spcPts val="3800"/>
              </a:lnSpc>
              <a:defRPr sz="3600" b="1"/>
            </a:lvl1pPr>
          </a:lstStyle>
          <a:p>
            <a:r>
              <a:rPr lang="en-US"/>
              <a:t>Click to edit Master title style</a:t>
            </a:r>
            <a:endParaRPr lang="en-GB" dirty="0"/>
          </a:p>
        </p:txBody>
      </p:sp>
      <p:sp>
        <p:nvSpPr>
          <p:cNvPr id="3" name="Underrubrik 2"/>
          <p:cNvSpPr>
            <a:spLocks noGrp="1"/>
          </p:cNvSpPr>
          <p:nvPr>
            <p:ph type="subTitle" idx="1"/>
          </p:nvPr>
        </p:nvSpPr>
        <p:spPr bwMode="gray">
          <a:xfrm>
            <a:off x="1568185" y="2636381"/>
            <a:ext cx="6987075" cy="936104"/>
          </a:xfrm>
        </p:spPr>
        <p:txBody>
          <a:bodyPr>
            <a:normAutofit/>
          </a:bodyPr>
          <a:lstStyle>
            <a:lvl1pPr marL="0" indent="0" algn="l">
              <a:lnSpc>
                <a:spcPts val="2800"/>
              </a:lnSpc>
              <a:spcBef>
                <a:spcPts val="0"/>
              </a:spcBef>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dirty="0"/>
          </a:p>
        </p:txBody>
      </p:sp>
      <p:pic>
        <p:nvPicPr>
          <p:cNvPr id="1026" name="Picture 2" descr="http://intra.kth.se/polopoly_fs/1.383275!/image/KTH_pngs.pn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r="36469" b="7207"/>
          <a:stretch/>
        </p:blipFill>
        <p:spPr bwMode="gray">
          <a:xfrm>
            <a:off x="347663" y="344488"/>
            <a:ext cx="803938" cy="803275"/>
          </a:xfrm>
          <a:prstGeom prst="rect">
            <a:avLst/>
          </a:prstGeom>
          <a:noFill/>
          <a:extLst>
            <a:ext uri="{909E8E84-426E-40DD-AFC4-6F175D3DCCD1}">
              <a14:hiddenFill xmlns:a14="http://schemas.microsoft.com/office/drawing/2010/main">
                <a:solidFill>
                  <a:srgbClr val="FFFFFF"/>
                </a:solidFill>
              </a14:hiddenFill>
            </a:ext>
          </a:extLst>
        </p:spPr>
      </p:pic>
      <p:sp>
        <p:nvSpPr>
          <p:cNvPr id="8" name="Line 6"/>
          <p:cNvSpPr>
            <a:spLocks noChangeShapeType="1"/>
          </p:cNvSpPr>
          <p:nvPr/>
        </p:nvSpPr>
        <p:spPr bwMode="gray">
          <a:xfrm>
            <a:off x="-1375645" y="5596697"/>
            <a:ext cx="0" cy="0"/>
          </a:xfrm>
          <a:prstGeom prst="line">
            <a:avLst/>
          </a:prstGeom>
          <a:noFill/>
          <a:ln w="3"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 name="Freeform 7"/>
          <p:cNvSpPr>
            <a:spLocks/>
          </p:cNvSpPr>
          <p:nvPr/>
        </p:nvSpPr>
        <p:spPr bwMode="gray">
          <a:xfrm>
            <a:off x="-3236" y="4049403"/>
            <a:ext cx="9150869" cy="1215998"/>
          </a:xfrm>
          <a:custGeom>
            <a:avLst/>
            <a:gdLst>
              <a:gd name="T0" fmla="*/ 0 w 8479"/>
              <a:gd name="T1" fmla="*/ 356 h 535"/>
              <a:gd name="T2" fmla="*/ 597 w 8479"/>
              <a:gd name="T3" fmla="*/ 356 h 535"/>
              <a:gd name="T4" fmla="*/ 625 w 8479"/>
              <a:gd name="T5" fmla="*/ 328 h 535"/>
              <a:gd name="T6" fmla="*/ 625 w 8479"/>
              <a:gd name="T7" fmla="*/ 28 h 535"/>
              <a:gd name="T8" fmla="*/ 653 w 8479"/>
              <a:gd name="T9" fmla="*/ 0 h 535"/>
              <a:gd name="T10" fmla="*/ 954 w 8479"/>
              <a:gd name="T11" fmla="*/ 0 h 535"/>
              <a:gd name="T12" fmla="*/ 982 w 8479"/>
              <a:gd name="T13" fmla="*/ 28 h 535"/>
              <a:gd name="T14" fmla="*/ 982 w 8479"/>
              <a:gd name="T15" fmla="*/ 507 h 535"/>
              <a:gd name="T16" fmla="*/ 1010 w 8479"/>
              <a:gd name="T17" fmla="*/ 535 h 535"/>
              <a:gd name="T18" fmla="*/ 1545 w 8479"/>
              <a:gd name="T19" fmla="*/ 535 h 535"/>
              <a:gd name="T20" fmla="*/ 1573 w 8479"/>
              <a:gd name="T21" fmla="*/ 507 h 535"/>
              <a:gd name="T22" fmla="*/ 1573 w 8479"/>
              <a:gd name="T23" fmla="*/ 328 h 535"/>
              <a:gd name="T24" fmla="*/ 1601 w 8479"/>
              <a:gd name="T25" fmla="*/ 300 h 535"/>
              <a:gd name="T26" fmla="*/ 2497 w 8479"/>
              <a:gd name="T27" fmla="*/ 300 h 535"/>
              <a:gd name="T28" fmla="*/ 2524 w 8479"/>
              <a:gd name="T29" fmla="*/ 328 h 535"/>
              <a:gd name="T30" fmla="*/ 2524 w 8479"/>
              <a:gd name="T31" fmla="*/ 507 h 535"/>
              <a:gd name="T32" fmla="*/ 2552 w 8479"/>
              <a:gd name="T33" fmla="*/ 535 h 535"/>
              <a:gd name="T34" fmla="*/ 2797 w 8479"/>
              <a:gd name="T35" fmla="*/ 535 h 535"/>
              <a:gd name="T36" fmla="*/ 2825 w 8479"/>
              <a:gd name="T37" fmla="*/ 507 h 535"/>
              <a:gd name="T38" fmla="*/ 2825 w 8479"/>
              <a:gd name="T39" fmla="*/ 384 h 535"/>
              <a:gd name="T40" fmla="*/ 2852 w 8479"/>
              <a:gd name="T41" fmla="*/ 356 h 535"/>
              <a:gd name="T42" fmla="*/ 3153 w 8479"/>
              <a:gd name="T43" fmla="*/ 356 h 535"/>
              <a:gd name="T44" fmla="*/ 3181 w 8479"/>
              <a:gd name="T45" fmla="*/ 384 h 535"/>
              <a:gd name="T46" fmla="*/ 3181 w 8479"/>
              <a:gd name="T47" fmla="*/ 450 h 535"/>
              <a:gd name="T48" fmla="*/ 3209 w 8479"/>
              <a:gd name="T49" fmla="*/ 478 h 535"/>
              <a:gd name="T50" fmla="*/ 5290 w 8479"/>
              <a:gd name="T51" fmla="*/ 478 h 535"/>
              <a:gd name="T52" fmla="*/ 5317 w 8479"/>
              <a:gd name="T53" fmla="*/ 450 h 535"/>
              <a:gd name="T54" fmla="*/ 5317 w 8479"/>
              <a:gd name="T55" fmla="*/ 28 h 535"/>
              <a:gd name="T56" fmla="*/ 5345 w 8479"/>
              <a:gd name="T57" fmla="*/ 0 h 535"/>
              <a:gd name="T58" fmla="*/ 6031 w 8479"/>
              <a:gd name="T59" fmla="*/ 0 h 535"/>
              <a:gd name="T60" fmla="*/ 6059 w 8479"/>
              <a:gd name="T61" fmla="*/ 28 h 535"/>
              <a:gd name="T62" fmla="*/ 6059 w 8479"/>
              <a:gd name="T63" fmla="*/ 383 h 535"/>
              <a:gd name="T64" fmla="*/ 6087 w 8479"/>
              <a:gd name="T65" fmla="*/ 411 h 535"/>
              <a:gd name="T66" fmla="*/ 7130 w 8479"/>
              <a:gd name="T67" fmla="*/ 411 h 535"/>
              <a:gd name="T68" fmla="*/ 7158 w 8479"/>
              <a:gd name="T69" fmla="*/ 383 h 535"/>
              <a:gd name="T70" fmla="*/ 7158 w 8479"/>
              <a:gd name="T71" fmla="*/ 111 h 535"/>
              <a:gd name="T72" fmla="*/ 7186 w 8479"/>
              <a:gd name="T73" fmla="*/ 83 h 535"/>
              <a:gd name="T74" fmla="*/ 8479 w 8479"/>
              <a:gd name="T75" fmla="*/ 83 h 535"/>
              <a:gd name="connsiteX0" fmla="*/ 0 w 9296"/>
              <a:gd name="connsiteY0" fmla="*/ 6654 h 10000"/>
              <a:gd name="connsiteX1" fmla="*/ 33 w 9296"/>
              <a:gd name="connsiteY1" fmla="*/ 6131 h 10000"/>
              <a:gd name="connsiteX2" fmla="*/ 33 w 9296"/>
              <a:gd name="connsiteY2" fmla="*/ 523 h 10000"/>
              <a:gd name="connsiteX3" fmla="*/ 66 w 9296"/>
              <a:gd name="connsiteY3" fmla="*/ 0 h 10000"/>
              <a:gd name="connsiteX4" fmla="*/ 421 w 9296"/>
              <a:gd name="connsiteY4" fmla="*/ 0 h 10000"/>
              <a:gd name="connsiteX5" fmla="*/ 454 w 9296"/>
              <a:gd name="connsiteY5" fmla="*/ 523 h 10000"/>
              <a:gd name="connsiteX6" fmla="*/ 454 w 9296"/>
              <a:gd name="connsiteY6" fmla="*/ 9477 h 10000"/>
              <a:gd name="connsiteX7" fmla="*/ 487 w 9296"/>
              <a:gd name="connsiteY7" fmla="*/ 10000 h 10000"/>
              <a:gd name="connsiteX8" fmla="*/ 1118 w 9296"/>
              <a:gd name="connsiteY8" fmla="*/ 10000 h 10000"/>
              <a:gd name="connsiteX9" fmla="*/ 1151 w 9296"/>
              <a:gd name="connsiteY9" fmla="*/ 9477 h 10000"/>
              <a:gd name="connsiteX10" fmla="*/ 1151 w 9296"/>
              <a:gd name="connsiteY10" fmla="*/ 6131 h 10000"/>
              <a:gd name="connsiteX11" fmla="*/ 1184 w 9296"/>
              <a:gd name="connsiteY11" fmla="*/ 5607 h 10000"/>
              <a:gd name="connsiteX12" fmla="*/ 2241 w 9296"/>
              <a:gd name="connsiteY12" fmla="*/ 5607 h 10000"/>
              <a:gd name="connsiteX13" fmla="*/ 2273 w 9296"/>
              <a:gd name="connsiteY13" fmla="*/ 6131 h 10000"/>
              <a:gd name="connsiteX14" fmla="*/ 2273 w 9296"/>
              <a:gd name="connsiteY14" fmla="*/ 9477 h 10000"/>
              <a:gd name="connsiteX15" fmla="*/ 2306 w 9296"/>
              <a:gd name="connsiteY15" fmla="*/ 10000 h 10000"/>
              <a:gd name="connsiteX16" fmla="*/ 2595 w 9296"/>
              <a:gd name="connsiteY16" fmla="*/ 10000 h 10000"/>
              <a:gd name="connsiteX17" fmla="*/ 2628 w 9296"/>
              <a:gd name="connsiteY17" fmla="*/ 9477 h 10000"/>
              <a:gd name="connsiteX18" fmla="*/ 2628 w 9296"/>
              <a:gd name="connsiteY18" fmla="*/ 7178 h 10000"/>
              <a:gd name="connsiteX19" fmla="*/ 2660 w 9296"/>
              <a:gd name="connsiteY19" fmla="*/ 6654 h 10000"/>
              <a:gd name="connsiteX20" fmla="*/ 3015 w 9296"/>
              <a:gd name="connsiteY20" fmla="*/ 6654 h 10000"/>
              <a:gd name="connsiteX21" fmla="*/ 3048 w 9296"/>
              <a:gd name="connsiteY21" fmla="*/ 7178 h 10000"/>
              <a:gd name="connsiteX22" fmla="*/ 3048 w 9296"/>
              <a:gd name="connsiteY22" fmla="*/ 8411 h 10000"/>
              <a:gd name="connsiteX23" fmla="*/ 3081 w 9296"/>
              <a:gd name="connsiteY23" fmla="*/ 8935 h 10000"/>
              <a:gd name="connsiteX24" fmla="*/ 5535 w 9296"/>
              <a:gd name="connsiteY24" fmla="*/ 8935 h 10000"/>
              <a:gd name="connsiteX25" fmla="*/ 5567 w 9296"/>
              <a:gd name="connsiteY25" fmla="*/ 8411 h 10000"/>
              <a:gd name="connsiteX26" fmla="*/ 5567 w 9296"/>
              <a:gd name="connsiteY26" fmla="*/ 523 h 10000"/>
              <a:gd name="connsiteX27" fmla="*/ 5600 w 9296"/>
              <a:gd name="connsiteY27" fmla="*/ 0 h 10000"/>
              <a:gd name="connsiteX28" fmla="*/ 6409 w 9296"/>
              <a:gd name="connsiteY28" fmla="*/ 0 h 10000"/>
              <a:gd name="connsiteX29" fmla="*/ 6442 w 9296"/>
              <a:gd name="connsiteY29" fmla="*/ 523 h 10000"/>
              <a:gd name="connsiteX30" fmla="*/ 6442 w 9296"/>
              <a:gd name="connsiteY30" fmla="*/ 7159 h 10000"/>
              <a:gd name="connsiteX31" fmla="*/ 6475 w 9296"/>
              <a:gd name="connsiteY31" fmla="*/ 7682 h 10000"/>
              <a:gd name="connsiteX32" fmla="*/ 7705 w 9296"/>
              <a:gd name="connsiteY32" fmla="*/ 7682 h 10000"/>
              <a:gd name="connsiteX33" fmla="*/ 7738 w 9296"/>
              <a:gd name="connsiteY33" fmla="*/ 7159 h 10000"/>
              <a:gd name="connsiteX34" fmla="*/ 7738 w 9296"/>
              <a:gd name="connsiteY34" fmla="*/ 2075 h 10000"/>
              <a:gd name="connsiteX35" fmla="*/ 7771 w 9296"/>
              <a:gd name="connsiteY35" fmla="*/ 1551 h 10000"/>
              <a:gd name="connsiteX36" fmla="*/ 9296 w 9296"/>
              <a:gd name="connsiteY36" fmla="*/ 1551 h 10000"/>
              <a:gd name="connsiteX0" fmla="*/ 0 w 9965"/>
              <a:gd name="connsiteY0" fmla="*/ 6131 h 10000"/>
              <a:gd name="connsiteX1" fmla="*/ 0 w 9965"/>
              <a:gd name="connsiteY1" fmla="*/ 523 h 10000"/>
              <a:gd name="connsiteX2" fmla="*/ 36 w 9965"/>
              <a:gd name="connsiteY2" fmla="*/ 0 h 10000"/>
              <a:gd name="connsiteX3" fmla="*/ 418 w 9965"/>
              <a:gd name="connsiteY3" fmla="*/ 0 h 10000"/>
              <a:gd name="connsiteX4" fmla="*/ 453 w 9965"/>
              <a:gd name="connsiteY4" fmla="*/ 523 h 10000"/>
              <a:gd name="connsiteX5" fmla="*/ 453 w 9965"/>
              <a:gd name="connsiteY5" fmla="*/ 9477 h 10000"/>
              <a:gd name="connsiteX6" fmla="*/ 489 w 9965"/>
              <a:gd name="connsiteY6" fmla="*/ 10000 h 10000"/>
              <a:gd name="connsiteX7" fmla="*/ 1168 w 9965"/>
              <a:gd name="connsiteY7" fmla="*/ 10000 h 10000"/>
              <a:gd name="connsiteX8" fmla="*/ 1203 w 9965"/>
              <a:gd name="connsiteY8" fmla="*/ 9477 h 10000"/>
              <a:gd name="connsiteX9" fmla="*/ 1203 w 9965"/>
              <a:gd name="connsiteY9" fmla="*/ 6131 h 10000"/>
              <a:gd name="connsiteX10" fmla="*/ 1239 w 9965"/>
              <a:gd name="connsiteY10" fmla="*/ 5607 h 10000"/>
              <a:gd name="connsiteX11" fmla="*/ 2376 w 9965"/>
              <a:gd name="connsiteY11" fmla="*/ 5607 h 10000"/>
              <a:gd name="connsiteX12" fmla="*/ 2410 w 9965"/>
              <a:gd name="connsiteY12" fmla="*/ 6131 h 10000"/>
              <a:gd name="connsiteX13" fmla="*/ 2410 w 9965"/>
              <a:gd name="connsiteY13" fmla="*/ 9477 h 10000"/>
              <a:gd name="connsiteX14" fmla="*/ 2446 w 9965"/>
              <a:gd name="connsiteY14" fmla="*/ 10000 h 10000"/>
              <a:gd name="connsiteX15" fmla="*/ 2757 w 9965"/>
              <a:gd name="connsiteY15" fmla="*/ 10000 h 10000"/>
              <a:gd name="connsiteX16" fmla="*/ 2792 w 9965"/>
              <a:gd name="connsiteY16" fmla="*/ 9477 h 10000"/>
              <a:gd name="connsiteX17" fmla="*/ 2792 w 9965"/>
              <a:gd name="connsiteY17" fmla="*/ 7178 h 10000"/>
              <a:gd name="connsiteX18" fmla="*/ 2826 w 9965"/>
              <a:gd name="connsiteY18" fmla="*/ 6654 h 10000"/>
              <a:gd name="connsiteX19" fmla="*/ 3208 w 9965"/>
              <a:gd name="connsiteY19" fmla="*/ 6654 h 10000"/>
              <a:gd name="connsiteX20" fmla="*/ 3244 w 9965"/>
              <a:gd name="connsiteY20" fmla="*/ 7178 h 10000"/>
              <a:gd name="connsiteX21" fmla="*/ 3244 w 9965"/>
              <a:gd name="connsiteY21" fmla="*/ 8411 h 10000"/>
              <a:gd name="connsiteX22" fmla="*/ 3279 w 9965"/>
              <a:gd name="connsiteY22" fmla="*/ 8935 h 10000"/>
              <a:gd name="connsiteX23" fmla="*/ 5919 w 9965"/>
              <a:gd name="connsiteY23" fmla="*/ 8935 h 10000"/>
              <a:gd name="connsiteX24" fmla="*/ 5954 w 9965"/>
              <a:gd name="connsiteY24" fmla="*/ 8411 h 10000"/>
              <a:gd name="connsiteX25" fmla="*/ 5954 w 9965"/>
              <a:gd name="connsiteY25" fmla="*/ 523 h 10000"/>
              <a:gd name="connsiteX26" fmla="*/ 5989 w 9965"/>
              <a:gd name="connsiteY26" fmla="*/ 0 h 10000"/>
              <a:gd name="connsiteX27" fmla="*/ 6859 w 9965"/>
              <a:gd name="connsiteY27" fmla="*/ 0 h 10000"/>
              <a:gd name="connsiteX28" fmla="*/ 6895 w 9965"/>
              <a:gd name="connsiteY28" fmla="*/ 523 h 10000"/>
              <a:gd name="connsiteX29" fmla="*/ 6895 w 9965"/>
              <a:gd name="connsiteY29" fmla="*/ 7159 h 10000"/>
              <a:gd name="connsiteX30" fmla="*/ 6930 w 9965"/>
              <a:gd name="connsiteY30" fmla="*/ 7682 h 10000"/>
              <a:gd name="connsiteX31" fmla="*/ 8254 w 9965"/>
              <a:gd name="connsiteY31" fmla="*/ 7682 h 10000"/>
              <a:gd name="connsiteX32" fmla="*/ 8289 w 9965"/>
              <a:gd name="connsiteY32" fmla="*/ 7159 h 10000"/>
              <a:gd name="connsiteX33" fmla="*/ 8289 w 9965"/>
              <a:gd name="connsiteY33" fmla="*/ 2075 h 10000"/>
              <a:gd name="connsiteX34" fmla="*/ 8325 w 9965"/>
              <a:gd name="connsiteY34" fmla="*/ 1551 h 10000"/>
              <a:gd name="connsiteX35" fmla="*/ 9965 w 9965"/>
              <a:gd name="connsiteY35" fmla="*/ 1551 h 10000"/>
              <a:gd name="connsiteX0" fmla="*/ 0 w 10000"/>
              <a:gd name="connsiteY0" fmla="*/ 523 h 10000"/>
              <a:gd name="connsiteX1" fmla="*/ 36 w 10000"/>
              <a:gd name="connsiteY1" fmla="*/ 0 h 10000"/>
              <a:gd name="connsiteX2" fmla="*/ 419 w 10000"/>
              <a:gd name="connsiteY2" fmla="*/ 0 h 10000"/>
              <a:gd name="connsiteX3" fmla="*/ 455 w 10000"/>
              <a:gd name="connsiteY3" fmla="*/ 523 h 10000"/>
              <a:gd name="connsiteX4" fmla="*/ 455 w 10000"/>
              <a:gd name="connsiteY4" fmla="*/ 9477 h 10000"/>
              <a:gd name="connsiteX5" fmla="*/ 491 w 10000"/>
              <a:gd name="connsiteY5" fmla="*/ 10000 h 10000"/>
              <a:gd name="connsiteX6" fmla="*/ 1172 w 10000"/>
              <a:gd name="connsiteY6" fmla="*/ 10000 h 10000"/>
              <a:gd name="connsiteX7" fmla="*/ 1207 w 10000"/>
              <a:gd name="connsiteY7" fmla="*/ 9477 h 10000"/>
              <a:gd name="connsiteX8" fmla="*/ 1207 w 10000"/>
              <a:gd name="connsiteY8" fmla="*/ 6131 h 10000"/>
              <a:gd name="connsiteX9" fmla="*/ 1243 w 10000"/>
              <a:gd name="connsiteY9" fmla="*/ 5607 h 10000"/>
              <a:gd name="connsiteX10" fmla="*/ 2384 w 10000"/>
              <a:gd name="connsiteY10" fmla="*/ 5607 h 10000"/>
              <a:gd name="connsiteX11" fmla="*/ 2418 w 10000"/>
              <a:gd name="connsiteY11" fmla="*/ 6131 h 10000"/>
              <a:gd name="connsiteX12" fmla="*/ 2418 w 10000"/>
              <a:gd name="connsiteY12" fmla="*/ 9477 h 10000"/>
              <a:gd name="connsiteX13" fmla="*/ 2455 w 10000"/>
              <a:gd name="connsiteY13" fmla="*/ 10000 h 10000"/>
              <a:gd name="connsiteX14" fmla="*/ 2767 w 10000"/>
              <a:gd name="connsiteY14" fmla="*/ 10000 h 10000"/>
              <a:gd name="connsiteX15" fmla="*/ 2802 w 10000"/>
              <a:gd name="connsiteY15" fmla="*/ 9477 h 10000"/>
              <a:gd name="connsiteX16" fmla="*/ 2802 w 10000"/>
              <a:gd name="connsiteY16" fmla="*/ 7178 h 10000"/>
              <a:gd name="connsiteX17" fmla="*/ 2836 w 10000"/>
              <a:gd name="connsiteY17" fmla="*/ 6654 h 10000"/>
              <a:gd name="connsiteX18" fmla="*/ 3219 w 10000"/>
              <a:gd name="connsiteY18" fmla="*/ 6654 h 10000"/>
              <a:gd name="connsiteX19" fmla="*/ 3255 w 10000"/>
              <a:gd name="connsiteY19" fmla="*/ 7178 h 10000"/>
              <a:gd name="connsiteX20" fmla="*/ 3255 w 10000"/>
              <a:gd name="connsiteY20" fmla="*/ 8411 h 10000"/>
              <a:gd name="connsiteX21" fmla="*/ 3291 w 10000"/>
              <a:gd name="connsiteY21" fmla="*/ 8935 h 10000"/>
              <a:gd name="connsiteX22" fmla="*/ 5940 w 10000"/>
              <a:gd name="connsiteY22" fmla="*/ 8935 h 10000"/>
              <a:gd name="connsiteX23" fmla="*/ 5975 w 10000"/>
              <a:gd name="connsiteY23" fmla="*/ 8411 h 10000"/>
              <a:gd name="connsiteX24" fmla="*/ 5975 w 10000"/>
              <a:gd name="connsiteY24" fmla="*/ 523 h 10000"/>
              <a:gd name="connsiteX25" fmla="*/ 6010 w 10000"/>
              <a:gd name="connsiteY25" fmla="*/ 0 h 10000"/>
              <a:gd name="connsiteX26" fmla="*/ 6883 w 10000"/>
              <a:gd name="connsiteY26" fmla="*/ 0 h 10000"/>
              <a:gd name="connsiteX27" fmla="*/ 6919 w 10000"/>
              <a:gd name="connsiteY27" fmla="*/ 523 h 10000"/>
              <a:gd name="connsiteX28" fmla="*/ 6919 w 10000"/>
              <a:gd name="connsiteY28" fmla="*/ 7159 h 10000"/>
              <a:gd name="connsiteX29" fmla="*/ 6954 w 10000"/>
              <a:gd name="connsiteY29" fmla="*/ 7682 h 10000"/>
              <a:gd name="connsiteX30" fmla="*/ 8283 w 10000"/>
              <a:gd name="connsiteY30" fmla="*/ 7682 h 10000"/>
              <a:gd name="connsiteX31" fmla="*/ 8318 w 10000"/>
              <a:gd name="connsiteY31" fmla="*/ 7159 h 10000"/>
              <a:gd name="connsiteX32" fmla="*/ 8318 w 10000"/>
              <a:gd name="connsiteY32" fmla="*/ 2075 h 10000"/>
              <a:gd name="connsiteX33" fmla="*/ 8354 w 10000"/>
              <a:gd name="connsiteY33" fmla="*/ 1551 h 10000"/>
              <a:gd name="connsiteX34" fmla="*/ 10000 w 10000"/>
              <a:gd name="connsiteY34" fmla="*/ 1551 h 10000"/>
              <a:gd name="connsiteX0" fmla="*/ 0 w 9964"/>
              <a:gd name="connsiteY0" fmla="*/ 0 h 10000"/>
              <a:gd name="connsiteX1" fmla="*/ 383 w 9964"/>
              <a:gd name="connsiteY1" fmla="*/ 0 h 10000"/>
              <a:gd name="connsiteX2" fmla="*/ 419 w 9964"/>
              <a:gd name="connsiteY2" fmla="*/ 523 h 10000"/>
              <a:gd name="connsiteX3" fmla="*/ 419 w 9964"/>
              <a:gd name="connsiteY3" fmla="*/ 9477 h 10000"/>
              <a:gd name="connsiteX4" fmla="*/ 455 w 9964"/>
              <a:gd name="connsiteY4" fmla="*/ 10000 h 10000"/>
              <a:gd name="connsiteX5" fmla="*/ 1136 w 9964"/>
              <a:gd name="connsiteY5" fmla="*/ 10000 h 10000"/>
              <a:gd name="connsiteX6" fmla="*/ 1171 w 9964"/>
              <a:gd name="connsiteY6" fmla="*/ 9477 h 10000"/>
              <a:gd name="connsiteX7" fmla="*/ 1171 w 9964"/>
              <a:gd name="connsiteY7" fmla="*/ 6131 h 10000"/>
              <a:gd name="connsiteX8" fmla="*/ 1207 w 9964"/>
              <a:gd name="connsiteY8" fmla="*/ 5607 h 10000"/>
              <a:gd name="connsiteX9" fmla="*/ 2348 w 9964"/>
              <a:gd name="connsiteY9" fmla="*/ 5607 h 10000"/>
              <a:gd name="connsiteX10" fmla="*/ 2382 w 9964"/>
              <a:gd name="connsiteY10" fmla="*/ 6131 h 10000"/>
              <a:gd name="connsiteX11" fmla="*/ 2382 w 9964"/>
              <a:gd name="connsiteY11" fmla="*/ 9477 h 10000"/>
              <a:gd name="connsiteX12" fmla="*/ 2419 w 9964"/>
              <a:gd name="connsiteY12" fmla="*/ 10000 h 10000"/>
              <a:gd name="connsiteX13" fmla="*/ 2731 w 9964"/>
              <a:gd name="connsiteY13" fmla="*/ 10000 h 10000"/>
              <a:gd name="connsiteX14" fmla="*/ 2766 w 9964"/>
              <a:gd name="connsiteY14" fmla="*/ 9477 h 10000"/>
              <a:gd name="connsiteX15" fmla="*/ 2766 w 9964"/>
              <a:gd name="connsiteY15" fmla="*/ 7178 h 10000"/>
              <a:gd name="connsiteX16" fmla="*/ 2800 w 9964"/>
              <a:gd name="connsiteY16" fmla="*/ 6654 h 10000"/>
              <a:gd name="connsiteX17" fmla="*/ 3183 w 9964"/>
              <a:gd name="connsiteY17" fmla="*/ 6654 h 10000"/>
              <a:gd name="connsiteX18" fmla="*/ 3219 w 9964"/>
              <a:gd name="connsiteY18" fmla="*/ 7178 h 10000"/>
              <a:gd name="connsiteX19" fmla="*/ 3219 w 9964"/>
              <a:gd name="connsiteY19" fmla="*/ 8411 h 10000"/>
              <a:gd name="connsiteX20" fmla="*/ 3255 w 9964"/>
              <a:gd name="connsiteY20" fmla="*/ 8935 h 10000"/>
              <a:gd name="connsiteX21" fmla="*/ 5904 w 9964"/>
              <a:gd name="connsiteY21" fmla="*/ 8935 h 10000"/>
              <a:gd name="connsiteX22" fmla="*/ 5939 w 9964"/>
              <a:gd name="connsiteY22" fmla="*/ 8411 h 10000"/>
              <a:gd name="connsiteX23" fmla="*/ 5939 w 9964"/>
              <a:gd name="connsiteY23" fmla="*/ 523 h 10000"/>
              <a:gd name="connsiteX24" fmla="*/ 5974 w 9964"/>
              <a:gd name="connsiteY24" fmla="*/ 0 h 10000"/>
              <a:gd name="connsiteX25" fmla="*/ 6847 w 9964"/>
              <a:gd name="connsiteY25" fmla="*/ 0 h 10000"/>
              <a:gd name="connsiteX26" fmla="*/ 6883 w 9964"/>
              <a:gd name="connsiteY26" fmla="*/ 523 h 10000"/>
              <a:gd name="connsiteX27" fmla="*/ 6883 w 9964"/>
              <a:gd name="connsiteY27" fmla="*/ 7159 h 10000"/>
              <a:gd name="connsiteX28" fmla="*/ 6918 w 9964"/>
              <a:gd name="connsiteY28" fmla="*/ 7682 h 10000"/>
              <a:gd name="connsiteX29" fmla="*/ 8247 w 9964"/>
              <a:gd name="connsiteY29" fmla="*/ 7682 h 10000"/>
              <a:gd name="connsiteX30" fmla="*/ 8282 w 9964"/>
              <a:gd name="connsiteY30" fmla="*/ 7159 h 10000"/>
              <a:gd name="connsiteX31" fmla="*/ 8282 w 9964"/>
              <a:gd name="connsiteY31" fmla="*/ 2075 h 10000"/>
              <a:gd name="connsiteX32" fmla="*/ 8318 w 9964"/>
              <a:gd name="connsiteY32" fmla="*/ 1551 h 10000"/>
              <a:gd name="connsiteX33" fmla="*/ 9964 w 9964"/>
              <a:gd name="connsiteY33" fmla="*/ 1551 h 10000"/>
              <a:gd name="connsiteX0" fmla="*/ 0 w 9616"/>
              <a:gd name="connsiteY0" fmla="*/ 0 h 10000"/>
              <a:gd name="connsiteX1" fmla="*/ 37 w 9616"/>
              <a:gd name="connsiteY1" fmla="*/ 523 h 10000"/>
              <a:gd name="connsiteX2" fmla="*/ 37 w 9616"/>
              <a:gd name="connsiteY2" fmla="*/ 9477 h 10000"/>
              <a:gd name="connsiteX3" fmla="*/ 73 w 9616"/>
              <a:gd name="connsiteY3" fmla="*/ 10000 h 10000"/>
              <a:gd name="connsiteX4" fmla="*/ 756 w 9616"/>
              <a:gd name="connsiteY4" fmla="*/ 10000 h 10000"/>
              <a:gd name="connsiteX5" fmla="*/ 791 w 9616"/>
              <a:gd name="connsiteY5" fmla="*/ 9477 h 10000"/>
              <a:gd name="connsiteX6" fmla="*/ 791 w 9616"/>
              <a:gd name="connsiteY6" fmla="*/ 6131 h 10000"/>
              <a:gd name="connsiteX7" fmla="*/ 827 w 9616"/>
              <a:gd name="connsiteY7" fmla="*/ 5607 h 10000"/>
              <a:gd name="connsiteX8" fmla="*/ 1972 w 9616"/>
              <a:gd name="connsiteY8" fmla="*/ 5607 h 10000"/>
              <a:gd name="connsiteX9" fmla="*/ 2007 w 9616"/>
              <a:gd name="connsiteY9" fmla="*/ 6131 h 10000"/>
              <a:gd name="connsiteX10" fmla="*/ 2007 w 9616"/>
              <a:gd name="connsiteY10" fmla="*/ 9477 h 10000"/>
              <a:gd name="connsiteX11" fmla="*/ 2044 w 9616"/>
              <a:gd name="connsiteY11" fmla="*/ 10000 h 10000"/>
              <a:gd name="connsiteX12" fmla="*/ 2357 w 9616"/>
              <a:gd name="connsiteY12" fmla="*/ 10000 h 10000"/>
              <a:gd name="connsiteX13" fmla="*/ 2392 w 9616"/>
              <a:gd name="connsiteY13" fmla="*/ 9477 h 10000"/>
              <a:gd name="connsiteX14" fmla="*/ 2392 w 9616"/>
              <a:gd name="connsiteY14" fmla="*/ 7178 h 10000"/>
              <a:gd name="connsiteX15" fmla="*/ 2426 w 9616"/>
              <a:gd name="connsiteY15" fmla="*/ 6654 h 10000"/>
              <a:gd name="connsiteX16" fmla="*/ 2811 w 9616"/>
              <a:gd name="connsiteY16" fmla="*/ 6654 h 10000"/>
              <a:gd name="connsiteX17" fmla="*/ 2847 w 9616"/>
              <a:gd name="connsiteY17" fmla="*/ 7178 h 10000"/>
              <a:gd name="connsiteX18" fmla="*/ 2847 w 9616"/>
              <a:gd name="connsiteY18" fmla="*/ 8411 h 10000"/>
              <a:gd name="connsiteX19" fmla="*/ 2883 w 9616"/>
              <a:gd name="connsiteY19" fmla="*/ 8935 h 10000"/>
              <a:gd name="connsiteX20" fmla="*/ 5541 w 9616"/>
              <a:gd name="connsiteY20" fmla="*/ 8935 h 10000"/>
              <a:gd name="connsiteX21" fmla="*/ 5576 w 9616"/>
              <a:gd name="connsiteY21" fmla="*/ 8411 h 10000"/>
              <a:gd name="connsiteX22" fmla="*/ 5576 w 9616"/>
              <a:gd name="connsiteY22" fmla="*/ 523 h 10000"/>
              <a:gd name="connsiteX23" fmla="*/ 5612 w 9616"/>
              <a:gd name="connsiteY23" fmla="*/ 0 h 10000"/>
              <a:gd name="connsiteX24" fmla="*/ 6488 w 9616"/>
              <a:gd name="connsiteY24" fmla="*/ 0 h 10000"/>
              <a:gd name="connsiteX25" fmla="*/ 6524 w 9616"/>
              <a:gd name="connsiteY25" fmla="*/ 523 h 10000"/>
              <a:gd name="connsiteX26" fmla="*/ 6524 w 9616"/>
              <a:gd name="connsiteY26" fmla="*/ 7159 h 10000"/>
              <a:gd name="connsiteX27" fmla="*/ 6559 w 9616"/>
              <a:gd name="connsiteY27" fmla="*/ 7682 h 10000"/>
              <a:gd name="connsiteX28" fmla="*/ 7893 w 9616"/>
              <a:gd name="connsiteY28" fmla="*/ 7682 h 10000"/>
              <a:gd name="connsiteX29" fmla="*/ 7928 w 9616"/>
              <a:gd name="connsiteY29" fmla="*/ 7159 h 10000"/>
              <a:gd name="connsiteX30" fmla="*/ 7928 w 9616"/>
              <a:gd name="connsiteY30" fmla="*/ 2075 h 10000"/>
              <a:gd name="connsiteX31" fmla="*/ 7964 w 9616"/>
              <a:gd name="connsiteY31" fmla="*/ 1551 h 10000"/>
              <a:gd name="connsiteX32" fmla="*/ 9616 w 9616"/>
              <a:gd name="connsiteY32" fmla="*/ 1551 h 10000"/>
              <a:gd name="connsiteX0" fmla="*/ 0 w 9962"/>
              <a:gd name="connsiteY0" fmla="*/ 523 h 10000"/>
              <a:gd name="connsiteX1" fmla="*/ 0 w 9962"/>
              <a:gd name="connsiteY1" fmla="*/ 9477 h 10000"/>
              <a:gd name="connsiteX2" fmla="*/ 38 w 9962"/>
              <a:gd name="connsiteY2" fmla="*/ 10000 h 10000"/>
              <a:gd name="connsiteX3" fmla="*/ 748 w 9962"/>
              <a:gd name="connsiteY3" fmla="*/ 10000 h 10000"/>
              <a:gd name="connsiteX4" fmla="*/ 785 w 9962"/>
              <a:gd name="connsiteY4" fmla="*/ 9477 h 10000"/>
              <a:gd name="connsiteX5" fmla="*/ 785 w 9962"/>
              <a:gd name="connsiteY5" fmla="*/ 6131 h 10000"/>
              <a:gd name="connsiteX6" fmla="*/ 822 w 9962"/>
              <a:gd name="connsiteY6" fmla="*/ 5607 h 10000"/>
              <a:gd name="connsiteX7" fmla="*/ 2013 w 9962"/>
              <a:gd name="connsiteY7" fmla="*/ 5607 h 10000"/>
              <a:gd name="connsiteX8" fmla="*/ 2049 w 9962"/>
              <a:gd name="connsiteY8" fmla="*/ 6131 h 10000"/>
              <a:gd name="connsiteX9" fmla="*/ 2049 w 9962"/>
              <a:gd name="connsiteY9" fmla="*/ 9477 h 10000"/>
              <a:gd name="connsiteX10" fmla="*/ 2088 w 9962"/>
              <a:gd name="connsiteY10" fmla="*/ 10000 h 10000"/>
              <a:gd name="connsiteX11" fmla="*/ 2413 w 9962"/>
              <a:gd name="connsiteY11" fmla="*/ 10000 h 10000"/>
              <a:gd name="connsiteX12" fmla="*/ 2450 w 9962"/>
              <a:gd name="connsiteY12" fmla="*/ 9477 h 10000"/>
              <a:gd name="connsiteX13" fmla="*/ 2450 w 9962"/>
              <a:gd name="connsiteY13" fmla="*/ 7178 h 10000"/>
              <a:gd name="connsiteX14" fmla="*/ 2485 w 9962"/>
              <a:gd name="connsiteY14" fmla="*/ 6654 h 10000"/>
              <a:gd name="connsiteX15" fmla="*/ 2885 w 9962"/>
              <a:gd name="connsiteY15" fmla="*/ 6654 h 10000"/>
              <a:gd name="connsiteX16" fmla="*/ 2923 w 9962"/>
              <a:gd name="connsiteY16" fmla="*/ 7178 h 10000"/>
              <a:gd name="connsiteX17" fmla="*/ 2923 w 9962"/>
              <a:gd name="connsiteY17" fmla="*/ 8411 h 10000"/>
              <a:gd name="connsiteX18" fmla="*/ 2960 w 9962"/>
              <a:gd name="connsiteY18" fmla="*/ 8935 h 10000"/>
              <a:gd name="connsiteX19" fmla="*/ 5724 w 9962"/>
              <a:gd name="connsiteY19" fmla="*/ 8935 h 10000"/>
              <a:gd name="connsiteX20" fmla="*/ 5761 w 9962"/>
              <a:gd name="connsiteY20" fmla="*/ 8411 h 10000"/>
              <a:gd name="connsiteX21" fmla="*/ 5761 w 9962"/>
              <a:gd name="connsiteY21" fmla="*/ 523 h 10000"/>
              <a:gd name="connsiteX22" fmla="*/ 5798 w 9962"/>
              <a:gd name="connsiteY22" fmla="*/ 0 h 10000"/>
              <a:gd name="connsiteX23" fmla="*/ 6709 w 9962"/>
              <a:gd name="connsiteY23" fmla="*/ 0 h 10000"/>
              <a:gd name="connsiteX24" fmla="*/ 6747 w 9962"/>
              <a:gd name="connsiteY24" fmla="*/ 523 h 10000"/>
              <a:gd name="connsiteX25" fmla="*/ 6747 w 9962"/>
              <a:gd name="connsiteY25" fmla="*/ 7159 h 10000"/>
              <a:gd name="connsiteX26" fmla="*/ 6783 w 9962"/>
              <a:gd name="connsiteY26" fmla="*/ 7682 h 10000"/>
              <a:gd name="connsiteX27" fmla="*/ 8170 w 9962"/>
              <a:gd name="connsiteY27" fmla="*/ 7682 h 10000"/>
              <a:gd name="connsiteX28" fmla="*/ 8207 w 9962"/>
              <a:gd name="connsiteY28" fmla="*/ 7159 h 10000"/>
              <a:gd name="connsiteX29" fmla="*/ 8207 w 9962"/>
              <a:gd name="connsiteY29" fmla="*/ 2075 h 10000"/>
              <a:gd name="connsiteX30" fmla="*/ 8244 w 9962"/>
              <a:gd name="connsiteY30" fmla="*/ 1551 h 10000"/>
              <a:gd name="connsiteX31" fmla="*/ 9962 w 9962"/>
              <a:gd name="connsiteY31" fmla="*/ 1551 h 10000"/>
              <a:gd name="connsiteX0" fmla="*/ 0 w 10000"/>
              <a:gd name="connsiteY0" fmla="*/ 9477 h 10000"/>
              <a:gd name="connsiteX1" fmla="*/ 38 w 10000"/>
              <a:gd name="connsiteY1" fmla="*/ 10000 h 10000"/>
              <a:gd name="connsiteX2" fmla="*/ 751 w 10000"/>
              <a:gd name="connsiteY2" fmla="*/ 10000 h 10000"/>
              <a:gd name="connsiteX3" fmla="*/ 788 w 10000"/>
              <a:gd name="connsiteY3" fmla="*/ 9477 h 10000"/>
              <a:gd name="connsiteX4" fmla="*/ 788 w 10000"/>
              <a:gd name="connsiteY4" fmla="*/ 6131 h 10000"/>
              <a:gd name="connsiteX5" fmla="*/ 825 w 10000"/>
              <a:gd name="connsiteY5" fmla="*/ 5607 h 10000"/>
              <a:gd name="connsiteX6" fmla="*/ 2021 w 10000"/>
              <a:gd name="connsiteY6" fmla="*/ 5607 h 10000"/>
              <a:gd name="connsiteX7" fmla="*/ 2057 w 10000"/>
              <a:gd name="connsiteY7" fmla="*/ 6131 h 10000"/>
              <a:gd name="connsiteX8" fmla="*/ 2057 w 10000"/>
              <a:gd name="connsiteY8" fmla="*/ 9477 h 10000"/>
              <a:gd name="connsiteX9" fmla="*/ 2096 w 10000"/>
              <a:gd name="connsiteY9" fmla="*/ 10000 h 10000"/>
              <a:gd name="connsiteX10" fmla="*/ 2422 w 10000"/>
              <a:gd name="connsiteY10" fmla="*/ 10000 h 10000"/>
              <a:gd name="connsiteX11" fmla="*/ 2459 w 10000"/>
              <a:gd name="connsiteY11" fmla="*/ 9477 h 10000"/>
              <a:gd name="connsiteX12" fmla="*/ 2459 w 10000"/>
              <a:gd name="connsiteY12" fmla="*/ 7178 h 10000"/>
              <a:gd name="connsiteX13" fmla="*/ 2494 w 10000"/>
              <a:gd name="connsiteY13" fmla="*/ 6654 h 10000"/>
              <a:gd name="connsiteX14" fmla="*/ 2896 w 10000"/>
              <a:gd name="connsiteY14" fmla="*/ 6654 h 10000"/>
              <a:gd name="connsiteX15" fmla="*/ 2934 w 10000"/>
              <a:gd name="connsiteY15" fmla="*/ 7178 h 10000"/>
              <a:gd name="connsiteX16" fmla="*/ 2934 w 10000"/>
              <a:gd name="connsiteY16" fmla="*/ 8411 h 10000"/>
              <a:gd name="connsiteX17" fmla="*/ 2971 w 10000"/>
              <a:gd name="connsiteY17" fmla="*/ 8935 h 10000"/>
              <a:gd name="connsiteX18" fmla="*/ 5746 w 10000"/>
              <a:gd name="connsiteY18" fmla="*/ 8935 h 10000"/>
              <a:gd name="connsiteX19" fmla="*/ 5783 w 10000"/>
              <a:gd name="connsiteY19" fmla="*/ 8411 h 10000"/>
              <a:gd name="connsiteX20" fmla="*/ 5783 w 10000"/>
              <a:gd name="connsiteY20" fmla="*/ 523 h 10000"/>
              <a:gd name="connsiteX21" fmla="*/ 5820 w 10000"/>
              <a:gd name="connsiteY21" fmla="*/ 0 h 10000"/>
              <a:gd name="connsiteX22" fmla="*/ 6735 w 10000"/>
              <a:gd name="connsiteY22" fmla="*/ 0 h 10000"/>
              <a:gd name="connsiteX23" fmla="*/ 6773 w 10000"/>
              <a:gd name="connsiteY23" fmla="*/ 523 h 10000"/>
              <a:gd name="connsiteX24" fmla="*/ 6773 w 10000"/>
              <a:gd name="connsiteY24" fmla="*/ 7159 h 10000"/>
              <a:gd name="connsiteX25" fmla="*/ 6809 w 10000"/>
              <a:gd name="connsiteY25" fmla="*/ 7682 h 10000"/>
              <a:gd name="connsiteX26" fmla="*/ 8201 w 10000"/>
              <a:gd name="connsiteY26" fmla="*/ 7682 h 10000"/>
              <a:gd name="connsiteX27" fmla="*/ 8238 w 10000"/>
              <a:gd name="connsiteY27" fmla="*/ 7159 h 10000"/>
              <a:gd name="connsiteX28" fmla="*/ 8238 w 10000"/>
              <a:gd name="connsiteY28" fmla="*/ 2075 h 10000"/>
              <a:gd name="connsiteX29" fmla="*/ 8275 w 10000"/>
              <a:gd name="connsiteY29" fmla="*/ 1551 h 10000"/>
              <a:gd name="connsiteX30" fmla="*/ 10000 w 10000"/>
              <a:gd name="connsiteY30" fmla="*/ 1551 h 10000"/>
              <a:gd name="connsiteX0" fmla="*/ 0 w 9962"/>
              <a:gd name="connsiteY0" fmla="*/ 10000 h 10000"/>
              <a:gd name="connsiteX1" fmla="*/ 713 w 9962"/>
              <a:gd name="connsiteY1" fmla="*/ 10000 h 10000"/>
              <a:gd name="connsiteX2" fmla="*/ 750 w 9962"/>
              <a:gd name="connsiteY2" fmla="*/ 9477 h 10000"/>
              <a:gd name="connsiteX3" fmla="*/ 750 w 9962"/>
              <a:gd name="connsiteY3" fmla="*/ 6131 h 10000"/>
              <a:gd name="connsiteX4" fmla="*/ 787 w 9962"/>
              <a:gd name="connsiteY4" fmla="*/ 5607 h 10000"/>
              <a:gd name="connsiteX5" fmla="*/ 1983 w 9962"/>
              <a:gd name="connsiteY5" fmla="*/ 5607 h 10000"/>
              <a:gd name="connsiteX6" fmla="*/ 2019 w 9962"/>
              <a:gd name="connsiteY6" fmla="*/ 6131 h 10000"/>
              <a:gd name="connsiteX7" fmla="*/ 2019 w 9962"/>
              <a:gd name="connsiteY7" fmla="*/ 9477 h 10000"/>
              <a:gd name="connsiteX8" fmla="*/ 2058 w 9962"/>
              <a:gd name="connsiteY8" fmla="*/ 10000 h 10000"/>
              <a:gd name="connsiteX9" fmla="*/ 2384 w 9962"/>
              <a:gd name="connsiteY9" fmla="*/ 10000 h 10000"/>
              <a:gd name="connsiteX10" fmla="*/ 2421 w 9962"/>
              <a:gd name="connsiteY10" fmla="*/ 9477 h 10000"/>
              <a:gd name="connsiteX11" fmla="*/ 2421 w 9962"/>
              <a:gd name="connsiteY11" fmla="*/ 7178 h 10000"/>
              <a:gd name="connsiteX12" fmla="*/ 2456 w 9962"/>
              <a:gd name="connsiteY12" fmla="*/ 6654 h 10000"/>
              <a:gd name="connsiteX13" fmla="*/ 2858 w 9962"/>
              <a:gd name="connsiteY13" fmla="*/ 6654 h 10000"/>
              <a:gd name="connsiteX14" fmla="*/ 2896 w 9962"/>
              <a:gd name="connsiteY14" fmla="*/ 7178 h 10000"/>
              <a:gd name="connsiteX15" fmla="*/ 2896 w 9962"/>
              <a:gd name="connsiteY15" fmla="*/ 8411 h 10000"/>
              <a:gd name="connsiteX16" fmla="*/ 2933 w 9962"/>
              <a:gd name="connsiteY16" fmla="*/ 8935 h 10000"/>
              <a:gd name="connsiteX17" fmla="*/ 5708 w 9962"/>
              <a:gd name="connsiteY17" fmla="*/ 8935 h 10000"/>
              <a:gd name="connsiteX18" fmla="*/ 5745 w 9962"/>
              <a:gd name="connsiteY18" fmla="*/ 8411 h 10000"/>
              <a:gd name="connsiteX19" fmla="*/ 5745 w 9962"/>
              <a:gd name="connsiteY19" fmla="*/ 523 h 10000"/>
              <a:gd name="connsiteX20" fmla="*/ 5782 w 9962"/>
              <a:gd name="connsiteY20" fmla="*/ 0 h 10000"/>
              <a:gd name="connsiteX21" fmla="*/ 6697 w 9962"/>
              <a:gd name="connsiteY21" fmla="*/ 0 h 10000"/>
              <a:gd name="connsiteX22" fmla="*/ 6735 w 9962"/>
              <a:gd name="connsiteY22" fmla="*/ 523 h 10000"/>
              <a:gd name="connsiteX23" fmla="*/ 6735 w 9962"/>
              <a:gd name="connsiteY23" fmla="*/ 7159 h 10000"/>
              <a:gd name="connsiteX24" fmla="*/ 6771 w 9962"/>
              <a:gd name="connsiteY24" fmla="*/ 7682 h 10000"/>
              <a:gd name="connsiteX25" fmla="*/ 8163 w 9962"/>
              <a:gd name="connsiteY25" fmla="*/ 7682 h 10000"/>
              <a:gd name="connsiteX26" fmla="*/ 8200 w 9962"/>
              <a:gd name="connsiteY26" fmla="*/ 7159 h 10000"/>
              <a:gd name="connsiteX27" fmla="*/ 8200 w 9962"/>
              <a:gd name="connsiteY27" fmla="*/ 2075 h 10000"/>
              <a:gd name="connsiteX28" fmla="*/ 8237 w 9962"/>
              <a:gd name="connsiteY28" fmla="*/ 1551 h 10000"/>
              <a:gd name="connsiteX29" fmla="*/ 9962 w 9962"/>
              <a:gd name="connsiteY29" fmla="*/ 1551 h 10000"/>
              <a:gd name="connsiteX0" fmla="*/ 0 w 9284"/>
              <a:gd name="connsiteY0" fmla="*/ 10000 h 10000"/>
              <a:gd name="connsiteX1" fmla="*/ 37 w 9284"/>
              <a:gd name="connsiteY1" fmla="*/ 9477 h 10000"/>
              <a:gd name="connsiteX2" fmla="*/ 37 w 9284"/>
              <a:gd name="connsiteY2" fmla="*/ 6131 h 10000"/>
              <a:gd name="connsiteX3" fmla="*/ 74 w 9284"/>
              <a:gd name="connsiteY3" fmla="*/ 5607 h 10000"/>
              <a:gd name="connsiteX4" fmla="*/ 1275 w 9284"/>
              <a:gd name="connsiteY4" fmla="*/ 5607 h 10000"/>
              <a:gd name="connsiteX5" fmla="*/ 1311 w 9284"/>
              <a:gd name="connsiteY5" fmla="*/ 6131 h 10000"/>
              <a:gd name="connsiteX6" fmla="*/ 1311 w 9284"/>
              <a:gd name="connsiteY6" fmla="*/ 9477 h 10000"/>
              <a:gd name="connsiteX7" fmla="*/ 1350 w 9284"/>
              <a:gd name="connsiteY7" fmla="*/ 10000 h 10000"/>
              <a:gd name="connsiteX8" fmla="*/ 1677 w 9284"/>
              <a:gd name="connsiteY8" fmla="*/ 10000 h 10000"/>
              <a:gd name="connsiteX9" fmla="*/ 1714 w 9284"/>
              <a:gd name="connsiteY9" fmla="*/ 9477 h 10000"/>
              <a:gd name="connsiteX10" fmla="*/ 1714 w 9284"/>
              <a:gd name="connsiteY10" fmla="*/ 7178 h 10000"/>
              <a:gd name="connsiteX11" fmla="*/ 1749 w 9284"/>
              <a:gd name="connsiteY11" fmla="*/ 6654 h 10000"/>
              <a:gd name="connsiteX12" fmla="*/ 2153 w 9284"/>
              <a:gd name="connsiteY12" fmla="*/ 6654 h 10000"/>
              <a:gd name="connsiteX13" fmla="*/ 2191 w 9284"/>
              <a:gd name="connsiteY13" fmla="*/ 7178 h 10000"/>
              <a:gd name="connsiteX14" fmla="*/ 2191 w 9284"/>
              <a:gd name="connsiteY14" fmla="*/ 8411 h 10000"/>
              <a:gd name="connsiteX15" fmla="*/ 2228 w 9284"/>
              <a:gd name="connsiteY15" fmla="*/ 8935 h 10000"/>
              <a:gd name="connsiteX16" fmla="*/ 5014 w 9284"/>
              <a:gd name="connsiteY16" fmla="*/ 8935 h 10000"/>
              <a:gd name="connsiteX17" fmla="*/ 5051 w 9284"/>
              <a:gd name="connsiteY17" fmla="*/ 8411 h 10000"/>
              <a:gd name="connsiteX18" fmla="*/ 5051 w 9284"/>
              <a:gd name="connsiteY18" fmla="*/ 523 h 10000"/>
              <a:gd name="connsiteX19" fmla="*/ 5088 w 9284"/>
              <a:gd name="connsiteY19" fmla="*/ 0 h 10000"/>
              <a:gd name="connsiteX20" fmla="*/ 6007 w 9284"/>
              <a:gd name="connsiteY20" fmla="*/ 0 h 10000"/>
              <a:gd name="connsiteX21" fmla="*/ 6045 w 9284"/>
              <a:gd name="connsiteY21" fmla="*/ 523 h 10000"/>
              <a:gd name="connsiteX22" fmla="*/ 6045 w 9284"/>
              <a:gd name="connsiteY22" fmla="*/ 7159 h 10000"/>
              <a:gd name="connsiteX23" fmla="*/ 6081 w 9284"/>
              <a:gd name="connsiteY23" fmla="*/ 7682 h 10000"/>
              <a:gd name="connsiteX24" fmla="*/ 7478 w 9284"/>
              <a:gd name="connsiteY24" fmla="*/ 7682 h 10000"/>
              <a:gd name="connsiteX25" fmla="*/ 7515 w 9284"/>
              <a:gd name="connsiteY25" fmla="*/ 7159 h 10000"/>
              <a:gd name="connsiteX26" fmla="*/ 7515 w 9284"/>
              <a:gd name="connsiteY26" fmla="*/ 2075 h 10000"/>
              <a:gd name="connsiteX27" fmla="*/ 7552 w 9284"/>
              <a:gd name="connsiteY27" fmla="*/ 1551 h 10000"/>
              <a:gd name="connsiteX28" fmla="*/ 9284 w 9284"/>
              <a:gd name="connsiteY28" fmla="*/ 1551 h 10000"/>
              <a:gd name="connsiteX0" fmla="*/ 0 w 9960"/>
              <a:gd name="connsiteY0" fmla="*/ 9477 h 10000"/>
              <a:gd name="connsiteX1" fmla="*/ 0 w 9960"/>
              <a:gd name="connsiteY1" fmla="*/ 6131 h 10000"/>
              <a:gd name="connsiteX2" fmla="*/ 40 w 9960"/>
              <a:gd name="connsiteY2" fmla="*/ 5607 h 10000"/>
              <a:gd name="connsiteX3" fmla="*/ 1333 w 9960"/>
              <a:gd name="connsiteY3" fmla="*/ 5607 h 10000"/>
              <a:gd name="connsiteX4" fmla="*/ 1372 w 9960"/>
              <a:gd name="connsiteY4" fmla="*/ 6131 h 10000"/>
              <a:gd name="connsiteX5" fmla="*/ 1372 w 9960"/>
              <a:gd name="connsiteY5" fmla="*/ 9477 h 10000"/>
              <a:gd name="connsiteX6" fmla="*/ 1414 w 9960"/>
              <a:gd name="connsiteY6" fmla="*/ 10000 h 10000"/>
              <a:gd name="connsiteX7" fmla="*/ 1766 w 9960"/>
              <a:gd name="connsiteY7" fmla="*/ 10000 h 10000"/>
              <a:gd name="connsiteX8" fmla="*/ 1806 w 9960"/>
              <a:gd name="connsiteY8" fmla="*/ 9477 h 10000"/>
              <a:gd name="connsiteX9" fmla="*/ 1806 w 9960"/>
              <a:gd name="connsiteY9" fmla="*/ 7178 h 10000"/>
              <a:gd name="connsiteX10" fmla="*/ 1844 w 9960"/>
              <a:gd name="connsiteY10" fmla="*/ 6654 h 10000"/>
              <a:gd name="connsiteX11" fmla="*/ 2279 w 9960"/>
              <a:gd name="connsiteY11" fmla="*/ 6654 h 10000"/>
              <a:gd name="connsiteX12" fmla="*/ 2320 w 9960"/>
              <a:gd name="connsiteY12" fmla="*/ 7178 h 10000"/>
              <a:gd name="connsiteX13" fmla="*/ 2320 w 9960"/>
              <a:gd name="connsiteY13" fmla="*/ 8411 h 10000"/>
              <a:gd name="connsiteX14" fmla="*/ 2360 w 9960"/>
              <a:gd name="connsiteY14" fmla="*/ 8935 h 10000"/>
              <a:gd name="connsiteX15" fmla="*/ 5361 w 9960"/>
              <a:gd name="connsiteY15" fmla="*/ 8935 h 10000"/>
              <a:gd name="connsiteX16" fmla="*/ 5401 w 9960"/>
              <a:gd name="connsiteY16" fmla="*/ 8411 h 10000"/>
              <a:gd name="connsiteX17" fmla="*/ 5401 w 9960"/>
              <a:gd name="connsiteY17" fmla="*/ 523 h 10000"/>
              <a:gd name="connsiteX18" fmla="*/ 5440 w 9960"/>
              <a:gd name="connsiteY18" fmla="*/ 0 h 10000"/>
              <a:gd name="connsiteX19" fmla="*/ 6430 w 9960"/>
              <a:gd name="connsiteY19" fmla="*/ 0 h 10000"/>
              <a:gd name="connsiteX20" fmla="*/ 6471 w 9960"/>
              <a:gd name="connsiteY20" fmla="*/ 523 h 10000"/>
              <a:gd name="connsiteX21" fmla="*/ 6471 w 9960"/>
              <a:gd name="connsiteY21" fmla="*/ 7159 h 10000"/>
              <a:gd name="connsiteX22" fmla="*/ 6510 w 9960"/>
              <a:gd name="connsiteY22" fmla="*/ 7682 h 10000"/>
              <a:gd name="connsiteX23" fmla="*/ 8015 w 9960"/>
              <a:gd name="connsiteY23" fmla="*/ 7682 h 10000"/>
              <a:gd name="connsiteX24" fmla="*/ 8055 w 9960"/>
              <a:gd name="connsiteY24" fmla="*/ 7159 h 10000"/>
              <a:gd name="connsiteX25" fmla="*/ 8055 w 9960"/>
              <a:gd name="connsiteY25" fmla="*/ 2075 h 10000"/>
              <a:gd name="connsiteX26" fmla="*/ 8094 w 9960"/>
              <a:gd name="connsiteY26" fmla="*/ 1551 h 10000"/>
              <a:gd name="connsiteX27" fmla="*/ 9960 w 9960"/>
              <a:gd name="connsiteY27" fmla="*/ 1551 h 10000"/>
              <a:gd name="connsiteX0" fmla="*/ 0 w 10000"/>
              <a:gd name="connsiteY0" fmla="*/ 6131 h 10000"/>
              <a:gd name="connsiteX1" fmla="*/ 40 w 10000"/>
              <a:gd name="connsiteY1" fmla="*/ 5607 h 10000"/>
              <a:gd name="connsiteX2" fmla="*/ 1338 w 10000"/>
              <a:gd name="connsiteY2" fmla="*/ 5607 h 10000"/>
              <a:gd name="connsiteX3" fmla="*/ 1378 w 10000"/>
              <a:gd name="connsiteY3" fmla="*/ 6131 h 10000"/>
              <a:gd name="connsiteX4" fmla="*/ 1378 w 10000"/>
              <a:gd name="connsiteY4" fmla="*/ 9477 h 10000"/>
              <a:gd name="connsiteX5" fmla="*/ 1420 w 10000"/>
              <a:gd name="connsiteY5" fmla="*/ 10000 h 10000"/>
              <a:gd name="connsiteX6" fmla="*/ 1773 w 10000"/>
              <a:gd name="connsiteY6" fmla="*/ 10000 h 10000"/>
              <a:gd name="connsiteX7" fmla="*/ 1813 w 10000"/>
              <a:gd name="connsiteY7" fmla="*/ 9477 h 10000"/>
              <a:gd name="connsiteX8" fmla="*/ 1813 w 10000"/>
              <a:gd name="connsiteY8" fmla="*/ 7178 h 10000"/>
              <a:gd name="connsiteX9" fmla="*/ 1851 w 10000"/>
              <a:gd name="connsiteY9" fmla="*/ 6654 h 10000"/>
              <a:gd name="connsiteX10" fmla="*/ 2288 w 10000"/>
              <a:gd name="connsiteY10" fmla="*/ 6654 h 10000"/>
              <a:gd name="connsiteX11" fmla="*/ 2329 w 10000"/>
              <a:gd name="connsiteY11" fmla="*/ 7178 h 10000"/>
              <a:gd name="connsiteX12" fmla="*/ 2329 w 10000"/>
              <a:gd name="connsiteY12" fmla="*/ 8411 h 10000"/>
              <a:gd name="connsiteX13" fmla="*/ 2369 w 10000"/>
              <a:gd name="connsiteY13" fmla="*/ 8935 h 10000"/>
              <a:gd name="connsiteX14" fmla="*/ 5383 w 10000"/>
              <a:gd name="connsiteY14" fmla="*/ 8935 h 10000"/>
              <a:gd name="connsiteX15" fmla="*/ 5423 w 10000"/>
              <a:gd name="connsiteY15" fmla="*/ 8411 h 10000"/>
              <a:gd name="connsiteX16" fmla="*/ 5423 w 10000"/>
              <a:gd name="connsiteY16" fmla="*/ 523 h 10000"/>
              <a:gd name="connsiteX17" fmla="*/ 5462 w 10000"/>
              <a:gd name="connsiteY17" fmla="*/ 0 h 10000"/>
              <a:gd name="connsiteX18" fmla="*/ 6456 w 10000"/>
              <a:gd name="connsiteY18" fmla="*/ 0 h 10000"/>
              <a:gd name="connsiteX19" fmla="*/ 6497 w 10000"/>
              <a:gd name="connsiteY19" fmla="*/ 523 h 10000"/>
              <a:gd name="connsiteX20" fmla="*/ 6497 w 10000"/>
              <a:gd name="connsiteY20" fmla="*/ 7159 h 10000"/>
              <a:gd name="connsiteX21" fmla="*/ 6536 w 10000"/>
              <a:gd name="connsiteY21" fmla="*/ 7682 h 10000"/>
              <a:gd name="connsiteX22" fmla="*/ 8047 w 10000"/>
              <a:gd name="connsiteY22" fmla="*/ 7682 h 10000"/>
              <a:gd name="connsiteX23" fmla="*/ 8087 w 10000"/>
              <a:gd name="connsiteY23" fmla="*/ 7159 h 10000"/>
              <a:gd name="connsiteX24" fmla="*/ 8087 w 10000"/>
              <a:gd name="connsiteY24" fmla="*/ 2075 h 10000"/>
              <a:gd name="connsiteX25" fmla="*/ 8127 w 10000"/>
              <a:gd name="connsiteY25" fmla="*/ 1551 h 10000"/>
              <a:gd name="connsiteX26" fmla="*/ 10000 w 10000"/>
              <a:gd name="connsiteY26" fmla="*/ 1551 h 10000"/>
              <a:gd name="connsiteX0" fmla="*/ 0 w 8127"/>
              <a:gd name="connsiteY0" fmla="*/ 6131 h 10000"/>
              <a:gd name="connsiteX1" fmla="*/ 40 w 8127"/>
              <a:gd name="connsiteY1" fmla="*/ 5607 h 10000"/>
              <a:gd name="connsiteX2" fmla="*/ 1338 w 8127"/>
              <a:gd name="connsiteY2" fmla="*/ 5607 h 10000"/>
              <a:gd name="connsiteX3" fmla="*/ 1378 w 8127"/>
              <a:gd name="connsiteY3" fmla="*/ 6131 h 10000"/>
              <a:gd name="connsiteX4" fmla="*/ 1378 w 8127"/>
              <a:gd name="connsiteY4" fmla="*/ 9477 h 10000"/>
              <a:gd name="connsiteX5" fmla="*/ 1420 w 8127"/>
              <a:gd name="connsiteY5" fmla="*/ 10000 h 10000"/>
              <a:gd name="connsiteX6" fmla="*/ 1773 w 8127"/>
              <a:gd name="connsiteY6" fmla="*/ 10000 h 10000"/>
              <a:gd name="connsiteX7" fmla="*/ 1813 w 8127"/>
              <a:gd name="connsiteY7" fmla="*/ 9477 h 10000"/>
              <a:gd name="connsiteX8" fmla="*/ 1813 w 8127"/>
              <a:gd name="connsiteY8" fmla="*/ 7178 h 10000"/>
              <a:gd name="connsiteX9" fmla="*/ 1851 w 8127"/>
              <a:gd name="connsiteY9" fmla="*/ 6654 h 10000"/>
              <a:gd name="connsiteX10" fmla="*/ 2288 w 8127"/>
              <a:gd name="connsiteY10" fmla="*/ 6654 h 10000"/>
              <a:gd name="connsiteX11" fmla="*/ 2329 w 8127"/>
              <a:gd name="connsiteY11" fmla="*/ 7178 h 10000"/>
              <a:gd name="connsiteX12" fmla="*/ 2329 w 8127"/>
              <a:gd name="connsiteY12" fmla="*/ 8411 h 10000"/>
              <a:gd name="connsiteX13" fmla="*/ 2369 w 8127"/>
              <a:gd name="connsiteY13" fmla="*/ 8935 h 10000"/>
              <a:gd name="connsiteX14" fmla="*/ 5383 w 8127"/>
              <a:gd name="connsiteY14" fmla="*/ 8935 h 10000"/>
              <a:gd name="connsiteX15" fmla="*/ 5423 w 8127"/>
              <a:gd name="connsiteY15" fmla="*/ 8411 h 10000"/>
              <a:gd name="connsiteX16" fmla="*/ 5423 w 8127"/>
              <a:gd name="connsiteY16" fmla="*/ 523 h 10000"/>
              <a:gd name="connsiteX17" fmla="*/ 5462 w 8127"/>
              <a:gd name="connsiteY17" fmla="*/ 0 h 10000"/>
              <a:gd name="connsiteX18" fmla="*/ 6456 w 8127"/>
              <a:gd name="connsiteY18" fmla="*/ 0 h 10000"/>
              <a:gd name="connsiteX19" fmla="*/ 6497 w 8127"/>
              <a:gd name="connsiteY19" fmla="*/ 523 h 10000"/>
              <a:gd name="connsiteX20" fmla="*/ 6497 w 8127"/>
              <a:gd name="connsiteY20" fmla="*/ 7159 h 10000"/>
              <a:gd name="connsiteX21" fmla="*/ 6536 w 8127"/>
              <a:gd name="connsiteY21" fmla="*/ 7682 h 10000"/>
              <a:gd name="connsiteX22" fmla="*/ 8047 w 8127"/>
              <a:gd name="connsiteY22" fmla="*/ 7682 h 10000"/>
              <a:gd name="connsiteX23" fmla="*/ 8087 w 8127"/>
              <a:gd name="connsiteY23" fmla="*/ 7159 h 10000"/>
              <a:gd name="connsiteX24" fmla="*/ 8087 w 8127"/>
              <a:gd name="connsiteY24" fmla="*/ 2075 h 10000"/>
              <a:gd name="connsiteX25" fmla="*/ 8127 w 8127"/>
              <a:gd name="connsiteY25" fmla="*/ 1551 h 10000"/>
              <a:gd name="connsiteX0" fmla="*/ 0 w 9951"/>
              <a:gd name="connsiteY0" fmla="*/ 6131 h 10000"/>
              <a:gd name="connsiteX1" fmla="*/ 49 w 9951"/>
              <a:gd name="connsiteY1" fmla="*/ 5607 h 10000"/>
              <a:gd name="connsiteX2" fmla="*/ 1646 w 9951"/>
              <a:gd name="connsiteY2" fmla="*/ 5607 h 10000"/>
              <a:gd name="connsiteX3" fmla="*/ 1696 w 9951"/>
              <a:gd name="connsiteY3" fmla="*/ 6131 h 10000"/>
              <a:gd name="connsiteX4" fmla="*/ 1696 w 9951"/>
              <a:gd name="connsiteY4" fmla="*/ 9477 h 10000"/>
              <a:gd name="connsiteX5" fmla="*/ 1747 w 9951"/>
              <a:gd name="connsiteY5" fmla="*/ 10000 h 10000"/>
              <a:gd name="connsiteX6" fmla="*/ 2182 w 9951"/>
              <a:gd name="connsiteY6" fmla="*/ 10000 h 10000"/>
              <a:gd name="connsiteX7" fmla="*/ 2231 w 9951"/>
              <a:gd name="connsiteY7" fmla="*/ 9477 h 10000"/>
              <a:gd name="connsiteX8" fmla="*/ 2231 w 9951"/>
              <a:gd name="connsiteY8" fmla="*/ 7178 h 10000"/>
              <a:gd name="connsiteX9" fmla="*/ 2278 w 9951"/>
              <a:gd name="connsiteY9" fmla="*/ 6654 h 10000"/>
              <a:gd name="connsiteX10" fmla="*/ 2815 w 9951"/>
              <a:gd name="connsiteY10" fmla="*/ 6654 h 10000"/>
              <a:gd name="connsiteX11" fmla="*/ 2866 w 9951"/>
              <a:gd name="connsiteY11" fmla="*/ 7178 h 10000"/>
              <a:gd name="connsiteX12" fmla="*/ 2866 w 9951"/>
              <a:gd name="connsiteY12" fmla="*/ 8411 h 10000"/>
              <a:gd name="connsiteX13" fmla="*/ 2915 w 9951"/>
              <a:gd name="connsiteY13" fmla="*/ 8935 h 10000"/>
              <a:gd name="connsiteX14" fmla="*/ 6624 w 9951"/>
              <a:gd name="connsiteY14" fmla="*/ 8935 h 10000"/>
              <a:gd name="connsiteX15" fmla="*/ 6673 w 9951"/>
              <a:gd name="connsiteY15" fmla="*/ 8411 h 10000"/>
              <a:gd name="connsiteX16" fmla="*/ 6673 w 9951"/>
              <a:gd name="connsiteY16" fmla="*/ 523 h 10000"/>
              <a:gd name="connsiteX17" fmla="*/ 6721 w 9951"/>
              <a:gd name="connsiteY17" fmla="*/ 0 h 10000"/>
              <a:gd name="connsiteX18" fmla="*/ 7944 w 9951"/>
              <a:gd name="connsiteY18" fmla="*/ 0 h 10000"/>
              <a:gd name="connsiteX19" fmla="*/ 7994 w 9951"/>
              <a:gd name="connsiteY19" fmla="*/ 523 h 10000"/>
              <a:gd name="connsiteX20" fmla="*/ 7994 w 9951"/>
              <a:gd name="connsiteY20" fmla="*/ 7159 h 10000"/>
              <a:gd name="connsiteX21" fmla="*/ 8042 w 9951"/>
              <a:gd name="connsiteY21" fmla="*/ 7682 h 10000"/>
              <a:gd name="connsiteX22" fmla="*/ 9902 w 9951"/>
              <a:gd name="connsiteY22" fmla="*/ 7682 h 10000"/>
              <a:gd name="connsiteX23" fmla="*/ 9951 w 9951"/>
              <a:gd name="connsiteY23" fmla="*/ 7159 h 10000"/>
              <a:gd name="connsiteX24" fmla="*/ 9951 w 9951"/>
              <a:gd name="connsiteY24" fmla="*/ 2075 h 10000"/>
              <a:gd name="connsiteX0" fmla="*/ 0 w 10000"/>
              <a:gd name="connsiteY0" fmla="*/ 6131 h 10000"/>
              <a:gd name="connsiteX1" fmla="*/ 49 w 10000"/>
              <a:gd name="connsiteY1" fmla="*/ 5607 h 10000"/>
              <a:gd name="connsiteX2" fmla="*/ 1654 w 10000"/>
              <a:gd name="connsiteY2" fmla="*/ 5607 h 10000"/>
              <a:gd name="connsiteX3" fmla="*/ 1704 w 10000"/>
              <a:gd name="connsiteY3" fmla="*/ 6131 h 10000"/>
              <a:gd name="connsiteX4" fmla="*/ 1704 w 10000"/>
              <a:gd name="connsiteY4" fmla="*/ 9477 h 10000"/>
              <a:gd name="connsiteX5" fmla="*/ 1756 w 10000"/>
              <a:gd name="connsiteY5" fmla="*/ 10000 h 10000"/>
              <a:gd name="connsiteX6" fmla="*/ 2193 w 10000"/>
              <a:gd name="connsiteY6" fmla="*/ 10000 h 10000"/>
              <a:gd name="connsiteX7" fmla="*/ 2242 w 10000"/>
              <a:gd name="connsiteY7" fmla="*/ 9477 h 10000"/>
              <a:gd name="connsiteX8" fmla="*/ 2242 w 10000"/>
              <a:gd name="connsiteY8" fmla="*/ 7178 h 10000"/>
              <a:gd name="connsiteX9" fmla="*/ 2289 w 10000"/>
              <a:gd name="connsiteY9" fmla="*/ 6654 h 10000"/>
              <a:gd name="connsiteX10" fmla="*/ 2829 w 10000"/>
              <a:gd name="connsiteY10" fmla="*/ 6654 h 10000"/>
              <a:gd name="connsiteX11" fmla="*/ 2880 w 10000"/>
              <a:gd name="connsiteY11" fmla="*/ 7178 h 10000"/>
              <a:gd name="connsiteX12" fmla="*/ 2880 w 10000"/>
              <a:gd name="connsiteY12" fmla="*/ 8411 h 10000"/>
              <a:gd name="connsiteX13" fmla="*/ 2929 w 10000"/>
              <a:gd name="connsiteY13" fmla="*/ 8935 h 10000"/>
              <a:gd name="connsiteX14" fmla="*/ 6657 w 10000"/>
              <a:gd name="connsiteY14" fmla="*/ 8935 h 10000"/>
              <a:gd name="connsiteX15" fmla="*/ 6706 w 10000"/>
              <a:gd name="connsiteY15" fmla="*/ 8411 h 10000"/>
              <a:gd name="connsiteX16" fmla="*/ 6706 w 10000"/>
              <a:gd name="connsiteY16" fmla="*/ 523 h 10000"/>
              <a:gd name="connsiteX17" fmla="*/ 6754 w 10000"/>
              <a:gd name="connsiteY17" fmla="*/ 0 h 10000"/>
              <a:gd name="connsiteX18" fmla="*/ 7983 w 10000"/>
              <a:gd name="connsiteY18" fmla="*/ 0 h 10000"/>
              <a:gd name="connsiteX19" fmla="*/ 8033 w 10000"/>
              <a:gd name="connsiteY19" fmla="*/ 523 h 10000"/>
              <a:gd name="connsiteX20" fmla="*/ 8033 w 10000"/>
              <a:gd name="connsiteY20" fmla="*/ 7159 h 10000"/>
              <a:gd name="connsiteX21" fmla="*/ 8082 w 10000"/>
              <a:gd name="connsiteY21" fmla="*/ 7682 h 10000"/>
              <a:gd name="connsiteX22" fmla="*/ 9951 w 10000"/>
              <a:gd name="connsiteY22" fmla="*/ 7682 h 10000"/>
              <a:gd name="connsiteX23" fmla="*/ 10000 w 10000"/>
              <a:gd name="connsiteY23" fmla="*/ 7159 h 10000"/>
              <a:gd name="connsiteX0" fmla="*/ 0 w 9951"/>
              <a:gd name="connsiteY0" fmla="*/ 6131 h 10000"/>
              <a:gd name="connsiteX1" fmla="*/ 49 w 9951"/>
              <a:gd name="connsiteY1" fmla="*/ 5607 h 10000"/>
              <a:gd name="connsiteX2" fmla="*/ 1654 w 9951"/>
              <a:gd name="connsiteY2" fmla="*/ 5607 h 10000"/>
              <a:gd name="connsiteX3" fmla="*/ 1704 w 9951"/>
              <a:gd name="connsiteY3" fmla="*/ 6131 h 10000"/>
              <a:gd name="connsiteX4" fmla="*/ 1704 w 9951"/>
              <a:gd name="connsiteY4" fmla="*/ 9477 h 10000"/>
              <a:gd name="connsiteX5" fmla="*/ 1756 w 9951"/>
              <a:gd name="connsiteY5" fmla="*/ 10000 h 10000"/>
              <a:gd name="connsiteX6" fmla="*/ 2193 w 9951"/>
              <a:gd name="connsiteY6" fmla="*/ 10000 h 10000"/>
              <a:gd name="connsiteX7" fmla="*/ 2242 w 9951"/>
              <a:gd name="connsiteY7" fmla="*/ 9477 h 10000"/>
              <a:gd name="connsiteX8" fmla="*/ 2242 w 9951"/>
              <a:gd name="connsiteY8" fmla="*/ 7178 h 10000"/>
              <a:gd name="connsiteX9" fmla="*/ 2289 w 9951"/>
              <a:gd name="connsiteY9" fmla="*/ 6654 h 10000"/>
              <a:gd name="connsiteX10" fmla="*/ 2829 w 9951"/>
              <a:gd name="connsiteY10" fmla="*/ 6654 h 10000"/>
              <a:gd name="connsiteX11" fmla="*/ 2880 w 9951"/>
              <a:gd name="connsiteY11" fmla="*/ 7178 h 10000"/>
              <a:gd name="connsiteX12" fmla="*/ 2880 w 9951"/>
              <a:gd name="connsiteY12" fmla="*/ 8411 h 10000"/>
              <a:gd name="connsiteX13" fmla="*/ 2929 w 9951"/>
              <a:gd name="connsiteY13" fmla="*/ 8935 h 10000"/>
              <a:gd name="connsiteX14" fmla="*/ 6657 w 9951"/>
              <a:gd name="connsiteY14" fmla="*/ 8935 h 10000"/>
              <a:gd name="connsiteX15" fmla="*/ 6706 w 9951"/>
              <a:gd name="connsiteY15" fmla="*/ 8411 h 10000"/>
              <a:gd name="connsiteX16" fmla="*/ 6706 w 9951"/>
              <a:gd name="connsiteY16" fmla="*/ 523 h 10000"/>
              <a:gd name="connsiteX17" fmla="*/ 6754 w 9951"/>
              <a:gd name="connsiteY17" fmla="*/ 0 h 10000"/>
              <a:gd name="connsiteX18" fmla="*/ 7983 w 9951"/>
              <a:gd name="connsiteY18" fmla="*/ 0 h 10000"/>
              <a:gd name="connsiteX19" fmla="*/ 8033 w 9951"/>
              <a:gd name="connsiteY19" fmla="*/ 523 h 10000"/>
              <a:gd name="connsiteX20" fmla="*/ 8033 w 9951"/>
              <a:gd name="connsiteY20" fmla="*/ 7159 h 10000"/>
              <a:gd name="connsiteX21" fmla="*/ 8082 w 9951"/>
              <a:gd name="connsiteY21" fmla="*/ 7682 h 10000"/>
              <a:gd name="connsiteX22" fmla="*/ 9951 w 9951"/>
              <a:gd name="connsiteY22" fmla="*/ 7682 h 10000"/>
              <a:gd name="connsiteX0" fmla="*/ 0 w 10000"/>
              <a:gd name="connsiteY0" fmla="*/ 6131 h 10000"/>
              <a:gd name="connsiteX1" fmla="*/ 1662 w 10000"/>
              <a:gd name="connsiteY1" fmla="*/ 5607 h 10000"/>
              <a:gd name="connsiteX2" fmla="*/ 1712 w 10000"/>
              <a:gd name="connsiteY2" fmla="*/ 6131 h 10000"/>
              <a:gd name="connsiteX3" fmla="*/ 1712 w 10000"/>
              <a:gd name="connsiteY3" fmla="*/ 9477 h 10000"/>
              <a:gd name="connsiteX4" fmla="*/ 1765 w 10000"/>
              <a:gd name="connsiteY4" fmla="*/ 10000 h 10000"/>
              <a:gd name="connsiteX5" fmla="*/ 2204 w 10000"/>
              <a:gd name="connsiteY5" fmla="*/ 10000 h 10000"/>
              <a:gd name="connsiteX6" fmla="*/ 2253 w 10000"/>
              <a:gd name="connsiteY6" fmla="*/ 9477 h 10000"/>
              <a:gd name="connsiteX7" fmla="*/ 2253 w 10000"/>
              <a:gd name="connsiteY7" fmla="*/ 7178 h 10000"/>
              <a:gd name="connsiteX8" fmla="*/ 2300 w 10000"/>
              <a:gd name="connsiteY8" fmla="*/ 6654 h 10000"/>
              <a:gd name="connsiteX9" fmla="*/ 2843 w 10000"/>
              <a:gd name="connsiteY9" fmla="*/ 6654 h 10000"/>
              <a:gd name="connsiteX10" fmla="*/ 2894 w 10000"/>
              <a:gd name="connsiteY10" fmla="*/ 7178 h 10000"/>
              <a:gd name="connsiteX11" fmla="*/ 2894 w 10000"/>
              <a:gd name="connsiteY11" fmla="*/ 8411 h 10000"/>
              <a:gd name="connsiteX12" fmla="*/ 2943 w 10000"/>
              <a:gd name="connsiteY12" fmla="*/ 8935 h 10000"/>
              <a:gd name="connsiteX13" fmla="*/ 6690 w 10000"/>
              <a:gd name="connsiteY13" fmla="*/ 8935 h 10000"/>
              <a:gd name="connsiteX14" fmla="*/ 6739 w 10000"/>
              <a:gd name="connsiteY14" fmla="*/ 8411 h 10000"/>
              <a:gd name="connsiteX15" fmla="*/ 6739 w 10000"/>
              <a:gd name="connsiteY15" fmla="*/ 523 h 10000"/>
              <a:gd name="connsiteX16" fmla="*/ 6787 w 10000"/>
              <a:gd name="connsiteY16" fmla="*/ 0 h 10000"/>
              <a:gd name="connsiteX17" fmla="*/ 8022 w 10000"/>
              <a:gd name="connsiteY17" fmla="*/ 0 h 10000"/>
              <a:gd name="connsiteX18" fmla="*/ 8073 w 10000"/>
              <a:gd name="connsiteY18" fmla="*/ 523 h 10000"/>
              <a:gd name="connsiteX19" fmla="*/ 8073 w 10000"/>
              <a:gd name="connsiteY19" fmla="*/ 7159 h 10000"/>
              <a:gd name="connsiteX20" fmla="*/ 8122 w 10000"/>
              <a:gd name="connsiteY20" fmla="*/ 7682 h 10000"/>
              <a:gd name="connsiteX21" fmla="*/ 10000 w 10000"/>
              <a:gd name="connsiteY21" fmla="*/ 7682 h 10000"/>
              <a:gd name="connsiteX0" fmla="*/ 0 w 8657"/>
              <a:gd name="connsiteY0" fmla="*/ 5687 h 10000"/>
              <a:gd name="connsiteX1" fmla="*/ 319 w 8657"/>
              <a:gd name="connsiteY1" fmla="*/ 5607 h 10000"/>
              <a:gd name="connsiteX2" fmla="*/ 369 w 8657"/>
              <a:gd name="connsiteY2" fmla="*/ 6131 h 10000"/>
              <a:gd name="connsiteX3" fmla="*/ 369 w 8657"/>
              <a:gd name="connsiteY3" fmla="*/ 9477 h 10000"/>
              <a:gd name="connsiteX4" fmla="*/ 422 w 8657"/>
              <a:gd name="connsiteY4" fmla="*/ 10000 h 10000"/>
              <a:gd name="connsiteX5" fmla="*/ 861 w 8657"/>
              <a:gd name="connsiteY5" fmla="*/ 10000 h 10000"/>
              <a:gd name="connsiteX6" fmla="*/ 910 w 8657"/>
              <a:gd name="connsiteY6" fmla="*/ 9477 h 10000"/>
              <a:gd name="connsiteX7" fmla="*/ 910 w 8657"/>
              <a:gd name="connsiteY7" fmla="*/ 7178 h 10000"/>
              <a:gd name="connsiteX8" fmla="*/ 957 w 8657"/>
              <a:gd name="connsiteY8" fmla="*/ 6654 h 10000"/>
              <a:gd name="connsiteX9" fmla="*/ 1500 w 8657"/>
              <a:gd name="connsiteY9" fmla="*/ 6654 h 10000"/>
              <a:gd name="connsiteX10" fmla="*/ 1551 w 8657"/>
              <a:gd name="connsiteY10" fmla="*/ 7178 h 10000"/>
              <a:gd name="connsiteX11" fmla="*/ 1551 w 8657"/>
              <a:gd name="connsiteY11" fmla="*/ 8411 h 10000"/>
              <a:gd name="connsiteX12" fmla="*/ 1600 w 8657"/>
              <a:gd name="connsiteY12" fmla="*/ 8935 h 10000"/>
              <a:gd name="connsiteX13" fmla="*/ 5347 w 8657"/>
              <a:gd name="connsiteY13" fmla="*/ 8935 h 10000"/>
              <a:gd name="connsiteX14" fmla="*/ 5396 w 8657"/>
              <a:gd name="connsiteY14" fmla="*/ 8411 h 10000"/>
              <a:gd name="connsiteX15" fmla="*/ 5396 w 8657"/>
              <a:gd name="connsiteY15" fmla="*/ 523 h 10000"/>
              <a:gd name="connsiteX16" fmla="*/ 5444 w 8657"/>
              <a:gd name="connsiteY16" fmla="*/ 0 h 10000"/>
              <a:gd name="connsiteX17" fmla="*/ 6679 w 8657"/>
              <a:gd name="connsiteY17" fmla="*/ 0 h 10000"/>
              <a:gd name="connsiteX18" fmla="*/ 6730 w 8657"/>
              <a:gd name="connsiteY18" fmla="*/ 523 h 10000"/>
              <a:gd name="connsiteX19" fmla="*/ 6730 w 8657"/>
              <a:gd name="connsiteY19" fmla="*/ 7159 h 10000"/>
              <a:gd name="connsiteX20" fmla="*/ 6779 w 8657"/>
              <a:gd name="connsiteY20" fmla="*/ 7682 h 10000"/>
              <a:gd name="connsiteX21" fmla="*/ 8657 w 8657"/>
              <a:gd name="connsiteY21" fmla="*/ 7682 h 10000"/>
              <a:gd name="connsiteX0" fmla="*/ 0 w 10000"/>
              <a:gd name="connsiteY0" fmla="*/ 5583 h 10000"/>
              <a:gd name="connsiteX1" fmla="*/ 368 w 10000"/>
              <a:gd name="connsiteY1" fmla="*/ 5607 h 10000"/>
              <a:gd name="connsiteX2" fmla="*/ 426 w 10000"/>
              <a:gd name="connsiteY2" fmla="*/ 6131 h 10000"/>
              <a:gd name="connsiteX3" fmla="*/ 426 w 10000"/>
              <a:gd name="connsiteY3" fmla="*/ 9477 h 10000"/>
              <a:gd name="connsiteX4" fmla="*/ 487 w 10000"/>
              <a:gd name="connsiteY4" fmla="*/ 10000 h 10000"/>
              <a:gd name="connsiteX5" fmla="*/ 995 w 10000"/>
              <a:gd name="connsiteY5" fmla="*/ 10000 h 10000"/>
              <a:gd name="connsiteX6" fmla="*/ 1051 w 10000"/>
              <a:gd name="connsiteY6" fmla="*/ 9477 h 10000"/>
              <a:gd name="connsiteX7" fmla="*/ 1051 w 10000"/>
              <a:gd name="connsiteY7" fmla="*/ 7178 h 10000"/>
              <a:gd name="connsiteX8" fmla="*/ 1105 w 10000"/>
              <a:gd name="connsiteY8" fmla="*/ 6654 h 10000"/>
              <a:gd name="connsiteX9" fmla="*/ 1733 w 10000"/>
              <a:gd name="connsiteY9" fmla="*/ 6654 h 10000"/>
              <a:gd name="connsiteX10" fmla="*/ 1792 w 10000"/>
              <a:gd name="connsiteY10" fmla="*/ 7178 h 10000"/>
              <a:gd name="connsiteX11" fmla="*/ 1792 w 10000"/>
              <a:gd name="connsiteY11" fmla="*/ 8411 h 10000"/>
              <a:gd name="connsiteX12" fmla="*/ 1848 w 10000"/>
              <a:gd name="connsiteY12" fmla="*/ 8935 h 10000"/>
              <a:gd name="connsiteX13" fmla="*/ 6177 w 10000"/>
              <a:gd name="connsiteY13" fmla="*/ 8935 h 10000"/>
              <a:gd name="connsiteX14" fmla="*/ 6233 w 10000"/>
              <a:gd name="connsiteY14" fmla="*/ 8411 h 10000"/>
              <a:gd name="connsiteX15" fmla="*/ 6233 w 10000"/>
              <a:gd name="connsiteY15" fmla="*/ 523 h 10000"/>
              <a:gd name="connsiteX16" fmla="*/ 6289 w 10000"/>
              <a:gd name="connsiteY16" fmla="*/ 0 h 10000"/>
              <a:gd name="connsiteX17" fmla="*/ 7715 w 10000"/>
              <a:gd name="connsiteY17" fmla="*/ 0 h 10000"/>
              <a:gd name="connsiteX18" fmla="*/ 7774 w 10000"/>
              <a:gd name="connsiteY18" fmla="*/ 523 h 10000"/>
              <a:gd name="connsiteX19" fmla="*/ 7774 w 10000"/>
              <a:gd name="connsiteY19" fmla="*/ 7159 h 10000"/>
              <a:gd name="connsiteX20" fmla="*/ 7831 w 10000"/>
              <a:gd name="connsiteY20" fmla="*/ 7682 h 10000"/>
              <a:gd name="connsiteX21" fmla="*/ 10000 w 10000"/>
              <a:gd name="connsiteY21" fmla="*/ 7682 h 10000"/>
              <a:gd name="connsiteX0" fmla="*/ 0 w 10000"/>
              <a:gd name="connsiteY0" fmla="*/ 5583 h 10000"/>
              <a:gd name="connsiteX1" fmla="*/ 368 w 10000"/>
              <a:gd name="connsiteY1" fmla="*/ 5607 h 10000"/>
              <a:gd name="connsiteX2" fmla="*/ 426 w 10000"/>
              <a:gd name="connsiteY2" fmla="*/ 6131 h 10000"/>
              <a:gd name="connsiteX3" fmla="*/ 426 w 10000"/>
              <a:gd name="connsiteY3" fmla="*/ 9477 h 10000"/>
              <a:gd name="connsiteX4" fmla="*/ 487 w 10000"/>
              <a:gd name="connsiteY4" fmla="*/ 10000 h 10000"/>
              <a:gd name="connsiteX5" fmla="*/ 995 w 10000"/>
              <a:gd name="connsiteY5" fmla="*/ 10000 h 10000"/>
              <a:gd name="connsiteX6" fmla="*/ 1051 w 10000"/>
              <a:gd name="connsiteY6" fmla="*/ 9477 h 10000"/>
              <a:gd name="connsiteX7" fmla="*/ 1051 w 10000"/>
              <a:gd name="connsiteY7" fmla="*/ 7178 h 10000"/>
              <a:gd name="connsiteX8" fmla="*/ 1105 w 10000"/>
              <a:gd name="connsiteY8" fmla="*/ 6654 h 10000"/>
              <a:gd name="connsiteX9" fmla="*/ 1733 w 10000"/>
              <a:gd name="connsiteY9" fmla="*/ 6654 h 10000"/>
              <a:gd name="connsiteX10" fmla="*/ 1792 w 10000"/>
              <a:gd name="connsiteY10" fmla="*/ 7178 h 10000"/>
              <a:gd name="connsiteX11" fmla="*/ 1792 w 10000"/>
              <a:gd name="connsiteY11" fmla="*/ 8411 h 10000"/>
              <a:gd name="connsiteX12" fmla="*/ 1848 w 10000"/>
              <a:gd name="connsiteY12" fmla="*/ 8935 h 10000"/>
              <a:gd name="connsiteX13" fmla="*/ 6177 w 10000"/>
              <a:gd name="connsiteY13" fmla="*/ 8935 h 10000"/>
              <a:gd name="connsiteX14" fmla="*/ 6233 w 10000"/>
              <a:gd name="connsiteY14" fmla="*/ 8411 h 10000"/>
              <a:gd name="connsiteX15" fmla="*/ 6233 w 10000"/>
              <a:gd name="connsiteY15" fmla="*/ 523 h 10000"/>
              <a:gd name="connsiteX16" fmla="*/ 6289 w 10000"/>
              <a:gd name="connsiteY16" fmla="*/ 0 h 10000"/>
              <a:gd name="connsiteX17" fmla="*/ 7715 w 10000"/>
              <a:gd name="connsiteY17" fmla="*/ 0 h 10000"/>
              <a:gd name="connsiteX18" fmla="*/ 7774 w 10000"/>
              <a:gd name="connsiteY18" fmla="*/ 523 h 10000"/>
              <a:gd name="connsiteX19" fmla="*/ 7774 w 10000"/>
              <a:gd name="connsiteY19" fmla="*/ 7159 h 10000"/>
              <a:gd name="connsiteX20" fmla="*/ 7831 w 10000"/>
              <a:gd name="connsiteY20" fmla="*/ 7682 h 10000"/>
              <a:gd name="connsiteX21" fmla="*/ 10000 w 10000"/>
              <a:gd name="connsiteY21" fmla="*/ 7682 h 10000"/>
              <a:gd name="connsiteX0" fmla="*/ 0 w 10000"/>
              <a:gd name="connsiteY0" fmla="*/ 5609 h 10000"/>
              <a:gd name="connsiteX1" fmla="*/ 368 w 10000"/>
              <a:gd name="connsiteY1" fmla="*/ 5607 h 10000"/>
              <a:gd name="connsiteX2" fmla="*/ 426 w 10000"/>
              <a:gd name="connsiteY2" fmla="*/ 6131 h 10000"/>
              <a:gd name="connsiteX3" fmla="*/ 426 w 10000"/>
              <a:gd name="connsiteY3" fmla="*/ 9477 h 10000"/>
              <a:gd name="connsiteX4" fmla="*/ 487 w 10000"/>
              <a:gd name="connsiteY4" fmla="*/ 10000 h 10000"/>
              <a:gd name="connsiteX5" fmla="*/ 995 w 10000"/>
              <a:gd name="connsiteY5" fmla="*/ 10000 h 10000"/>
              <a:gd name="connsiteX6" fmla="*/ 1051 w 10000"/>
              <a:gd name="connsiteY6" fmla="*/ 9477 h 10000"/>
              <a:gd name="connsiteX7" fmla="*/ 1051 w 10000"/>
              <a:gd name="connsiteY7" fmla="*/ 7178 h 10000"/>
              <a:gd name="connsiteX8" fmla="*/ 1105 w 10000"/>
              <a:gd name="connsiteY8" fmla="*/ 6654 h 10000"/>
              <a:gd name="connsiteX9" fmla="*/ 1733 w 10000"/>
              <a:gd name="connsiteY9" fmla="*/ 6654 h 10000"/>
              <a:gd name="connsiteX10" fmla="*/ 1792 w 10000"/>
              <a:gd name="connsiteY10" fmla="*/ 7178 h 10000"/>
              <a:gd name="connsiteX11" fmla="*/ 1792 w 10000"/>
              <a:gd name="connsiteY11" fmla="*/ 8411 h 10000"/>
              <a:gd name="connsiteX12" fmla="*/ 1848 w 10000"/>
              <a:gd name="connsiteY12" fmla="*/ 8935 h 10000"/>
              <a:gd name="connsiteX13" fmla="*/ 6177 w 10000"/>
              <a:gd name="connsiteY13" fmla="*/ 8935 h 10000"/>
              <a:gd name="connsiteX14" fmla="*/ 6233 w 10000"/>
              <a:gd name="connsiteY14" fmla="*/ 8411 h 10000"/>
              <a:gd name="connsiteX15" fmla="*/ 6233 w 10000"/>
              <a:gd name="connsiteY15" fmla="*/ 523 h 10000"/>
              <a:gd name="connsiteX16" fmla="*/ 6289 w 10000"/>
              <a:gd name="connsiteY16" fmla="*/ 0 h 10000"/>
              <a:gd name="connsiteX17" fmla="*/ 7715 w 10000"/>
              <a:gd name="connsiteY17" fmla="*/ 0 h 10000"/>
              <a:gd name="connsiteX18" fmla="*/ 7774 w 10000"/>
              <a:gd name="connsiteY18" fmla="*/ 523 h 10000"/>
              <a:gd name="connsiteX19" fmla="*/ 7774 w 10000"/>
              <a:gd name="connsiteY19" fmla="*/ 7159 h 10000"/>
              <a:gd name="connsiteX20" fmla="*/ 7831 w 10000"/>
              <a:gd name="connsiteY20" fmla="*/ 7682 h 10000"/>
              <a:gd name="connsiteX21" fmla="*/ 10000 w 10000"/>
              <a:gd name="connsiteY21" fmla="*/ 7682 h 10000"/>
              <a:gd name="connsiteX0" fmla="*/ 0 w 8282"/>
              <a:gd name="connsiteY0" fmla="*/ 5609 h 10000"/>
              <a:gd name="connsiteX1" fmla="*/ 368 w 8282"/>
              <a:gd name="connsiteY1" fmla="*/ 5607 h 10000"/>
              <a:gd name="connsiteX2" fmla="*/ 426 w 8282"/>
              <a:gd name="connsiteY2" fmla="*/ 6131 h 10000"/>
              <a:gd name="connsiteX3" fmla="*/ 426 w 8282"/>
              <a:gd name="connsiteY3" fmla="*/ 9477 h 10000"/>
              <a:gd name="connsiteX4" fmla="*/ 487 w 8282"/>
              <a:gd name="connsiteY4" fmla="*/ 10000 h 10000"/>
              <a:gd name="connsiteX5" fmla="*/ 995 w 8282"/>
              <a:gd name="connsiteY5" fmla="*/ 10000 h 10000"/>
              <a:gd name="connsiteX6" fmla="*/ 1051 w 8282"/>
              <a:gd name="connsiteY6" fmla="*/ 9477 h 10000"/>
              <a:gd name="connsiteX7" fmla="*/ 1051 w 8282"/>
              <a:gd name="connsiteY7" fmla="*/ 7178 h 10000"/>
              <a:gd name="connsiteX8" fmla="*/ 1105 w 8282"/>
              <a:gd name="connsiteY8" fmla="*/ 6654 h 10000"/>
              <a:gd name="connsiteX9" fmla="*/ 1733 w 8282"/>
              <a:gd name="connsiteY9" fmla="*/ 6654 h 10000"/>
              <a:gd name="connsiteX10" fmla="*/ 1792 w 8282"/>
              <a:gd name="connsiteY10" fmla="*/ 7178 h 10000"/>
              <a:gd name="connsiteX11" fmla="*/ 1792 w 8282"/>
              <a:gd name="connsiteY11" fmla="*/ 8411 h 10000"/>
              <a:gd name="connsiteX12" fmla="*/ 1848 w 8282"/>
              <a:gd name="connsiteY12" fmla="*/ 8935 h 10000"/>
              <a:gd name="connsiteX13" fmla="*/ 6177 w 8282"/>
              <a:gd name="connsiteY13" fmla="*/ 8935 h 10000"/>
              <a:gd name="connsiteX14" fmla="*/ 6233 w 8282"/>
              <a:gd name="connsiteY14" fmla="*/ 8411 h 10000"/>
              <a:gd name="connsiteX15" fmla="*/ 6233 w 8282"/>
              <a:gd name="connsiteY15" fmla="*/ 523 h 10000"/>
              <a:gd name="connsiteX16" fmla="*/ 6289 w 8282"/>
              <a:gd name="connsiteY16" fmla="*/ 0 h 10000"/>
              <a:gd name="connsiteX17" fmla="*/ 7715 w 8282"/>
              <a:gd name="connsiteY17" fmla="*/ 0 h 10000"/>
              <a:gd name="connsiteX18" fmla="*/ 7774 w 8282"/>
              <a:gd name="connsiteY18" fmla="*/ 523 h 10000"/>
              <a:gd name="connsiteX19" fmla="*/ 7774 w 8282"/>
              <a:gd name="connsiteY19" fmla="*/ 7159 h 10000"/>
              <a:gd name="connsiteX20" fmla="*/ 7831 w 8282"/>
              <a:gd name="connsiteY20" fmla="*/ 7682 h 10000"/>
              <a:gd name="connsiteX21" fmla="*/ 8282 w 8282"/>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58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017" h="10000">
                <a:moveTo>
                  <a:pt x="0" y="5609"/>
                </a:moveTo>
                <a:lnTo>
                  <a:pt x="436" y="5607"/>
                </a:lnTo>
                <a:cubicBezTo>
                  <a:pt x="477" y="5607"/>
                  <a:pt x="514" y="5832"/>
                  <a:pt x="514" y="6131"/>
                </a:cubicBezTo>
                <a:lnTo>
                  <a:pt x="514" y="9477"/>
                </a:lnTo>
                <a:cubicBezTo>
                  <a:pt x="514" y="9757"/>
                  <a:pt x="548" y="10000"/>
                  <a:pt x="588" y="10000"/>
                </a:cubicBezTo>
                <a:lnTo>
                  <a:pt x="1201" y="10000"/>
                </a:lnTo>
                <a:cubicBezTo>
                  <a:pt x="1235" y="10000"/>
                  <a:pt x="1269" y="9757"/>
                  <a:pt x="1269" y="9477"/>
                </a:cubicBezTo>
                <a:lnTo>
                  <a:pt x="1269" y="7178"/>
                </a:lnTo>
                <a:cubicBezTo>
                  <a:pt x="1269" y="6897"/>
                  <a:pt x="1297" y="6654"/>
                  <a:pt x="1334" y="6654"/>
                </a:cubicBezTo>
                <a:lnTo>
                  <a:pt x="2092" y="6654"/>
                </a:lnTo>
                <a:cubicBezTo>
                  <a:pt x="2132" y="6654"/>
                  <a:pt x="2164" y="6897"/>
                  <a:pt x="2164" y="7178"/>
                </a:cubicBezTo>
                <a:lnTo>
                  <a:pt x="2164" y="8411"/>
                </a:lnTo>
                <a:cubicBezTo>
                  <a:pt x="2164" y="8710"/>
                  <a:pt x="2193" y="8935"/>
                  <a:pt x="2231" y="8935"/>
                </a:cubicBezTo>
                <a:lnTo>
                  <a:pt x="7458" y="8935"/>
                </a:lnTo>
                <a:cubicBezTo>
                  <a:pt x="7496" y="8935"/>
                  <a:pt x="7526" y="8710"/>
                  <a:pt x="7526" y="8411"/>
                </a:cubicBezTo>
                <a:lnTo>
                  <a:pt x="7526" y="523"/>
                </a:lnTo>
                <a:cubicBezTo>
                  <a:pt x="7526" y="224"/>
                  <a:pt x="7557" y="0"/>
                  <a:pt x="7594" y="0"/>
                </a:cubicBezTo>
                <a:lnTo>
                  <a:pt x="9315" y="0"/>
                </a:lnTo>
                <a:cubicBezTo>
                  <a:pt x="9356" y="0"/>
                  <a:pt x="9387" y="224"/>
                  <a:pt x="9387" y="523"/>
                </a:cubicBezTo>
                <a:lnTo>
                  <a:pt x="9387" y="7159"/>
                </a:lnTo>
                <a:cubicBezTo>
                  <a:pt x="9387" y="7439"/>
                  <a:pt x="9416" y="7682"/>
                  <a:pt x="9455" y="7682"/>
                </a:cubicBezTo>
                <a:lnTo>
                  <a:pt x="10017" y="7682"/>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Freeform 9"/>
          <p:cNvSpPr>
            <a:spLocks/>
          </p:cNvSpPr>
          <p:nvPr/>
        </p:nvSpPr>
        <p:spPr bwMode="gray">
          <a:xfrm>
            <a:off x="-7917" y="4480919"/>
            <a:ext cx="9161634" cy="1894152"/>
          </a:xfrm>
          <a:custGeom>
            <a:avLst/>
            <a:gdLst>
              <a:gd name="T0" fmla="*/ 0 w 8479"/>
              <a:gd name="T1" fmla="*/ 0 h 835"/>
              <a:gd name="T2" fmla="*/ 1311 w 8479"/>
              <a:gd name="T3" fmla="*/ 0 h 835"/>
              <a:gd name="T4" fmla="*/ 1339 w 8479"/>
              <a:gd name="T5" fmla="*/ 28 h 835"/>
              <a:gd name="T6" fmla="*/ 1339 w 8479"/>
              <a:gd name="T7" fmla="*/ 629 h 835"/>
              <a:gd name="T8" fmla="*/ 1366 w 8479"/>
              <a:gd name="T9" fmla="*/ 657 h 835"/>
              <a:gd name="T10" fmla="*/ 2615 w 8479"/>
              <a:gd name="T11" fmla="*/ 657 h 835"/>
              <a:gd name="T12" fmla="*/ 2643 w 8479"/>
              <a:gd name="T13" fmla="*/ 629 h 835"/>
              <a:gd name="T14" fmla="*/ 2643 w 8479"/>
              <a:gd name="T15" fmla="*/ 150 h 835"/>
              <a:gd name="T16" fmla="*/ 2671 w 8479"/>
              <a:gd name="T17" fmla="*/ 122 h 835"/>
              <a:gd name="T18" fmla="*/ 3930 w 8479"/>
              <a:gd name="T19" fmla="*/ 122 h 835"/>
              <a:gd name="T20" fmla="*/ 3958 w 8479"/>
              <a:gd name="T21" fmla="*/ 150 h 835"/>
              <a:gd name="T22" fmla="*/ 3958 w 8479"/>
              <a:gd name="T23" fmla="*/ 807 h 835"/>
              <a:gd name="T24" fmla="*/ 3986 w 8479"/>
              <a:gd name="T25" fmla="*/ 835 h 835"/>
              <a:gd name="T26" fmla="*/ 4855 w 8479"/>
              <a:gd name="T27" fmla="*/ 835 h 835"/>
              <a:gd name="T28" fmla="*/ 4883 w 8479"/>
              <a:gd name="T29" fmla="*/ 807 h 835"/>
              <a:gd name="T30" fmla="*/ 4883 w 8479"/>
              <a:gd name="T31" fmla="*/ 28 h 835"/>
              <a:gd name="T32" fmla="*/ 4911 w 8479"/>
              <a:gd name="T33" fmla="*/ 0 h 835"/>
              <a:gd name="T34" fmla="*/ 5536 w 8479"/>
              <a:gd name="T35" fmla="*/ 0 h 835"/>
              <a:gd name="T36" fmla="*/ 5564 w 8479"/>
              <a:gd name="T37" fmla="*/ 28 h 835"/>
              <a:gd name="T38" fmla="*/ 5564 w 8479"/>
              <a:gd name="T39" fmla="*/ 716 h 835"/>
              <a:gd name="T40" fmla="*/ 5592 w 8479"/>
              <a:gd name="T41" fmla="*/ 744 h 835"/>
              <a:gd name="T42" fmla="*/ 6859 w 8479"/>
              <a:gd name="T43" fmla="*/ 744 h 835"/>
              <a:gd name="T44" fmla="*/ 6887 w 8479"/>
              <a:gd name="T45" fmla="*/ 716 h 835"/>
              <a:gd name="T46" fmla="*/ 6887 w 8479"/>
              <a:gd name="T47" fmla="*/ 148 h 835"/>
              <a:gd name="T48" fmla="*/ 6915 w 8479"/>
              <a:gd name="T49" fmla="*/ 120 h 835"/>
              <a:gd name="T50" fmla="*/ 7337 w 8479"/>
              <a:gd name="T51" fmla="*/ 120 h 835"/>
              <a:gd name="T52" fmla="*/ 7364 w 8479"/>
              <a:gd name="T53" fmla="*/ 148 h 835"/>
              <a:gd name="T54" fmla="*/ 7364 w 8479"/>
              <a:gd name="T55" fmla="*/ 269 h 835"/>
              <a:gd name="T56" fmla="*/ 7392 w 8479"/>
              <a:gd name="T57" fmla="*/ 297 h 835"/>
              <a:gd name="T58" fmla="*/ 8479 w 8479"/>
              <a:gd name="T59" fmla="*/ 297 h 835"/>
              <a:gd name="connsiteX0" fmla="*/ 0 w 8454"/>
              <a:gd name="connsiteY0" fmla="*/ 0 h 10000"/>
              <a:gd name="connsiteX1" fmla="*/ 33 w 8454"/>
              <a:gd name="connsiteY1" fmla="*/ 335 h 10000"/>
              <a:gd name="connsiteX2" fmla="*/ 33 w 8454"/>
              <a:gd name="connsiteY2" fmla="*/ 7533 h 10000"/>
              <a:gd name="connsiteX3" fmla="*/ 65 w 8454"/>
              <a:gd name="connsiteY3" fmla="*/ 7868 h 10000"/>
              <a:gd name="connsiteX4" fmla="*/ 1538 w 8454"/>
              <a:gd name="connsiteY4" fmla="*/ 7868 h 10000"/>
              <a:gd name="connsiteX5" fmla="*/ 1571 w 8454"/>
              <a:gd name="connsiteY5" fmla="*/ 7533 h 10000"/>
              <a:gd name="connsiteX6" fmla="*/ 1571 w 8454"/>
              <a:gd name="connsiteY6" fmla="*/ 1796 h 10000"/>
              <a:gd name="connsiteX7" fmla="*/ 1604 w 8454"/>
              <a:gd name="connsiteY7" fmla="*/ 1461 h 10000"/>
              <a:gd name="connsiteX8" fmla="*/ 3089 w 8454"/>
              <a:gd name="connsiteY8" fmla="*/ 1461 h 10000"/>
              <a:gd name="connsiteX9" fmla="*/ 3122 w 8454"/>
              <a:gd name="connsiteY9" fmla="*/ 1796 h 10000"/>
              <a:gd name="connsiteX10" fmla="*/ 3122 w 8454"/>
              <a:gd name="connsiteY10" fmla="*/ 9665 h 10000"/>
              <a:gd name="connsiteX11" fmla="*/ 3155 w 8454"/>
              <a:gd name="connsiteY11" fmla="*/ 10000 h 10000"/>
              <a:gd name="connsiteX12" fmla="*/ 4180 w 8454"/>
              <a:gd name="connsiteY12" fmla="*/ 10000 h 10000"/>
              <a:gd name="connsiteX13" fmla="*/ 4213 w 8454"/>
              <a:gd name="connsiteY13" fmla="*/ 9665 h 10000"/>
              <a:gd name="connsiteX14" fmla="*/ 4213 w 8454"/>
              <a:gd name="connsiteY14" fmla="*/ 335 h 10000"/>
              <a:gd name="connsiteX15" fmla="*/ 4246 w 8454"/>
              <a:gd name="connsiteY15" fmla="*/ 0 h 10000"/>
              <a:gd name="connsiteX16" fmla="*/ 4983 w 8454"/>
              <a:gd name="connsiteY16" fmla="*/ 0 h 10000"/>
              <a:gd name="connsiteX17" fmla="*/ 5016 w 8454"/>
              <a:gd name="connsiteY17" fmla="*/ 335 h 10000"/>
              <a:gd name="connsiteX18" fmla="*/ 5016 w 8454"/>
              <a:gd name="connsiteY18" fmla="*/ 8575 h 10000"/>
              <a:gd name="connsiteX19" fmla="*/ 5049 w 8454"/>
              <a:gd name="connsiteY19" fmla="*/ 8910 h 10000"/>
              <a:gd name="connsiteX20" fmla="*/ 6543 w 8454"/>
              <a:gd name="connsiteY20" fmla="*/ 8910 h 10000"/>
              <a:gd name="connsiteX21" fmla="*/ 6576 w 8454"/>
              <a:gd name="connsiteY21" fmla="*/ 8575 h 10000"/>
              <a:gd name="connsiteX22" fmla="*/ 6576 w 8454"/>
              <a:gd name="connsiteY22" fmla="*/ 1772 h 10000"/>
              <a:gd name="connsiteX23" fmla="*/ 6609 w 8454"/>
              <a:gd name="connsiteY23" fmla="*/ 1437 h 10000"/>
              <a:gd name="connsiteX24" fmla="*/ 7107 w 8454"/>
              <a:gd name="connsiteY24" fmla="*/ 1437 h 10000"/>
              <a:gd name="connsiteX25" fmla="*/ 7139 w 8454"/>
              <a:gd name="connsiteY25" fmla="*/ 1772 h 10000"/>
              <a:gd name="connsiteX26" fmla="*/ 7139 w 8454"/>
              <a:gd name="connsiteY26" fmla="*/ 3222 h 10000"/>
              <a:gd name="connsiteX27" fmla="*/ 7172 w 8454"/>
              <a:gd name="connsiteY27" fmla="*/ 3557 h 10000"/>
              <a:gd name="connsiteX28" fmla="*/ 8454 w 8454"/>
              <a:gd name="connsiteY28" fmla="*/ 3557 h 10000"/>
              <a:gd name="connsiteX0" fmla="*/ 0 w 9961"/>
              <a:gd name="connsiteY0" fmla="*/ 335 h 10000"/>
              <a:gd name="connsiteX1" fmla="*/ 0 w 9961"/>
              <a:gd name="connsiteY1" fmla="*/ 7533 h 10000"/>
              <a:gd name="connsiteX2" fmla="*/ 38 w 9961"/>
              <a:gd name="connsiteY2" fmla="*/ 7868 h 10000"/>
              <a:gd name="connsiteX3" fmla="*/ 1780 w 9961"/>
              <a:gd name="connsiteY3" fmla="*/ 7868 h 10000"/>
              <a:gd name="connsiteX4" fmla="*/ 1819 w 9961"/>
              <a:gd name="connsiteY4" fmla="*/ 7533 h 10000"/>
              <a:gd name="connsiteX5" fmla="*/ 1819 w 9961"/>
              <a:gd name="connsiteY5" fmla="*/ 1796 h 10000"/>
              <a:gd name="connsiteX6" fmla="*/ 1858 w 9961"/>
              <a:gd name="connsiteY6" fmla="*/ 1461 h 10000"/>
              <a:gd name="connsiteX7" fmla="*/ 3615 w 9961"/>
              <a:gd name="connsiteY7" fmla="*/ 1461 h 10000"/>
              <a:gd name="connsiteX8" fmla="*/ 3654 w 9961"/>
              <a:gd name="connsiteY8" fmla="*/ 1796 h 10000"/>
              <a:gd name="connsiteX9" fmla="*/ 3654 w 9961"/>
              <a:gd name="connsiteY9" fmla="*/ 9665 h 10000"/>
              <a:gd name="connsiteX10" fmla="*/ 3693 w 9961"/>
              <a:gd name="connsiteY10" fmla="*/ 10000 h 10000"/>
              <a:gd name="connsiteX11" fmla="*/ 4905 w 9961"/>
              <a:gd name="connsiteY11" fmla="*/ 10000 h 10000"/>
              <a:gd name="connsiteX12" fmla="*/ 4944 w 9961"/>
              <a:gd name="connsiteY12" fmla="*/ 9665 h 10000"/>
              <a:gd name="connsiteX13" fmla="*/ 4944 w 9961"/>
              <a:gd name="connsiteY13" fmla="*/ 335 h 10000"/>
              <a:gd name="connsiteX14" fmla="*/ 4983 w 9961"/>
              <a:gd name="connsiteY14" fmla="*/ 0 h 10000"/>
              <a:gd name="connsiteX15" fmla="*/ 5855 w 9961"/>
              <a:gd name="connsiteY15" fmla="*/ 0 h 10000"/>
              <a:gd name="connsiteX16" fmla="*/ 5894 w 9961"/>
              <a:gd name="connsiteY16" fmla="*/ 335 h 10000"/>
              <a:gd name="connsiteX17" fmla="*/ 5894 w 9961"/>
              <a:gd name="connsiteY17" fmla="*/ 8575 h 10000"/>
              <a:gd name="connsiteX18" fmla="*/ 5933 w 9961"/>
              <a:gd name="connsiteY18" fmla="*/ 8910 h 10000"/>
              <a:gd name="connsiteX19" fmla="*/ 7701 w 9961"/>
              <a:gd name="connsiteY19" fmla="*/ 8910 h 10000"/>
              <a:gd name="connsiteX20" fmla="*/ 7740 w 9961"/>
              <a:gd name="connsiteY20" fmla="*/ 8575 h 10000"/>
              <a:gd name="connsiteX21" fmla="*/ 7740 w 9961"/>
              <a:gd name="connsiteY21" fmla="*/ 1772 h 10000"/>
              <a:gd name="connsiteX22" fmla="*/ 7779 w 9961"/>
              <a:gd name="connsiteY22" fmla="*/ 1437 h 10000"/>
              <a:gd name="connsiteX23" fmla="*/ 8368 w 9961"/>
              <a:gd name="connsiteY23" fmla="*/ 1437 h 10000"/>
              <a:gd name="connsiteX24" fmla="*/ 8406 w 9961"/>
              <a:gd name="connsiteY24" fmla="*/ 1772 h 10000"/>
              <a:gd name="connsiteX25" fmla="*/ 8406 w 9961"/>
              <a:gd name="connsiteY25" fmla="*/ 3222 h 10000"/>
              <a:gd name="connsiteX26" fmla="*/ 8445 w 9961"/>
              <a:gd name="connsiteY26" fmla="*/ 3557 h 10000"/>
              <a:gd name="connsiteX27" fmla="*/ 9961 w 9961"/>
              <a:gd name="connsiteY27" fmla="*/ 3557 h 10000"/>
              <a:gd name="connsiteX0" fmla="*/ 0 w 10000"/>
              <a:gd name="connsiteY0" fmla="*/ 7533 h 10000"/>
              <a:gd name="connsiteX1" fmla="*/ 38 w 10000"/>
              <a:gd name="connsiteY1" fmla="*/ 7868 h 10000"/>
              <a:gd name="connsiteX2" fmla="*/ 1787 w 10000"/>
              <a:gd name="connsiteY2" fmla="*/ 7868 h 10000"/>
              <a:gd name="connsiteX3" fmla="*/ 1826 w 10000"/>
              <a:gd name="connsiteY3" fmla="*/ 7533 h 10000"/>
              <a:gd name="connsiteX4" fmla="*/ 1826 w 10000"/>
              <a:gd name="connsiteY4" fmla="*/ 1796 h 10000"/>
              <a:gd name="connsiteX5" fmla="*/ 1865 w 10000"/>
              <a:gd name="connsiteY5" fmla="*/ 1461 h 10000"/>
              <a:gd name="connsiteX6" fmla="*/ 3629 w 10000"/>
              <a:gd name="connsiteY6" fmla="*/ 1461 h 10000"/>
              <a:gd name="connsiteX7" fmla="*/ 3668 w 10000"/>
              <a:gd name="connsiteY7" fmla="*/ 1796 h 10000"/>
              <a:gd name="connsiteX8" fmla="*/ 3668 w 10000"/>
              <a:gd name="connsiteY8" fmla="*/ 9665 h 10000"/>
              <a:gd name="connsiteX9" fmla="*/ 3707 w 10000"/>
              <a:gd name="connsiteY9" fmla="*/ 10000 h 10000"/>
              <a:gd name="connsiteX10" fmla="*/ 4924 w 10000"/>
              <a:gd name="connsiteY10" fmla="*/ 10000 h 10000"/>
              <a:gd name="connsiteX11" fmla="*/ 4963 w 10000"/>
              <a:gd name="connsiteY11" fmla="*/ 9665 h 10000"/>
              <a:gd name="connsiteX12" fmla="*/ 4963 w 10000"/>
              <a:gd name="connsiteY12" fmla="*/ 335 h 10000"/>
              <a:gd name="connsiteX13" fmla="*/ 5003 w 10000"/>
              <a:gd name="connsiteY13" fmla="*/ 0 h 10000"/>
              <a:gd name="connsiteX14" fmla="*/ 5878 w 10000"/>
              <a:gd name="connsiteY14" fmla="*/ 0 h 10000"/>
              <a:gd name="connsiteX15" fmla="*/ 5917 w 10000"/>
              <a:gd name="connsiteY15" fmla="*/ 335 h 10000"/>
              <a:gd name="connsiteX16" fmla="*/ 5917 w 10000"/>
              <a:gd name="connsiteY16" fmla="*/ 8575 h 10000"/>
              <a:gd name="connsiteX17" fmla="*/ 5956 w 10000"/>
              <a:gd name="connsiteY17" fmla="*/ 8910 h 10000"/>
              <a:gd name="connsiteX18" fmla="*/ 7731 w 10000"/>
              <a:gd name="connsiteY18" fmla="*/ 8910 h 10000"/>
              <a:gd name="connsiteX19" fmla="*/ 7770 w 10000"/>
              <a:gd name="connsiteY19" fmla="*/ 8575 h 10000"/>
              <a:gd name="connsiteX20" fmla="*/ 7770 w 10000"/>
              <a:gd name="connsiteY20" fmla="*/ 1772 h 10000"/>
              <a:gd name="connsiteX21" fmla="*/ 7809 w 10000"/>
              <a:gd name="connsiteY21" fmla="*/ 1437 h 10000"/>
              <a:gd name="connsiteX22" fmla="*/ 8401 w 10000"/>
              <a:gd name="connsiteY22" fmla="*/ 1437 h 10000"/>
              <a:gd name="connsiteX23" fmla="*/ 8439 w 10000"/>
              <a:gd name="connsiteY23" fmla="*/ 1772 h 10000"/>
              <a:gd name="connsiteX24" fmla="*/ 8439 w 10000"/>
              <a:gd name="connsiteY24" fmla="*/ 3222 h 10000"/>
              <a:gd name="connsiteX25" fmla="*/ 8478 w 10000"/>
              <a:gd name="connsiteY25" fmla="*/ 3557 h 10000"/>
              <a:gd name="connsiteX26" fmla="*/ 10000 w 10000"/>
              <a:gd name="connsiteY26" fmla="*/ 3557 h 10000"/>
              <a:gd name="connsiteX0" fmla="*/ 0 w 9962"/>
              <a:gd name="connsiteY0" fmla="*/ 7868 h 10000"/>
              <a:gd name="connsiteX1" fmla="*/ 1749 w 9962"/>
              <a:gd name="connsiteY1" fmla="*/ 7868 h 10000"/>
              <a:gd name="connsiteX2" fmla="*/ 1788 w 9962"/>
              <a:gd name="connsiteY2" fmla="*/ 7533 h 10000"/>
              <a:gd name="connsiteX3" fmla="*/ 1788 w 9962"/>
              <a:gd name="connsiteY3" fmla="*/ 1796 h 10000"/>
              <a:gd name="connsiteX4" fmla="*/ 1827 w 9962"/>
              <a:gd name="connsiteY4" fmla="*/ 1461 h 10000"/>
              <a:gd name="connsiteX5" fmla="*/ 3591 w 9962"/>
              <a:gd name="connsiteY5" fmla="*/ 1461 h 10000"/>
              <a:gd name="connsiteX6" fmla="*/ 3630 w 9962"/>
              <a:gd name="connsiteY6" fmla="*/ 1796 h 10000"/>
              <a:gd name="connsiteX7" fmla="*/ 3630 w 9962"/>
              <a:gd name="connsiteY7" fmla="*/ 9665 h 10000"/>
              <a:gd name="connsiteX8" fmla="*/ 3669 w 9962"/>
              <a:gd name="connsiteY8" fmla="*/ 10000 h 10000"/>
              <a:gd name="connsiteX9" fmla="*/ 4886 w 9962"/>
              <a:gd name="connsiteY9" fmla="*/ 10000 h 10000"/>
              <a:gd name="connsiteX10" fmla="*/ 4925 w 9962"/>
              <a:gd name="connsiteY10" fmla="*/ 9665 h 10000"/>
              <a:gd name="connsiteX11" fmla="*/ 4925 w 9962"/>
              <a:gd name="connsiteY11" fmla="*/ 335 h 10000"/>
              <a:gd name="connsiteX12" fmla="*/ 4965 w 9962"/>
              <a:gd name="connsiteY12" fmla="*/ 0 h 10000"/>
              <a:gd name="connsiteX13" fmla="*/ 5840 w 9962"/>
              <a:gd name="connsiteY13" fmla="*/ 0 h 10000"/>
              <a:gd name="connsiteX14" fmla="*/ 5879 w 9962"/>
              <a:gd name="connsiteY14" fmla="*/ 335 h 10000"/>
              <a:gd name="connsiteX15" fmla="*/ 5879 w 9962"/>
              <a:gd name="connsiteY15" fmla="*/ 8575 h 10000"/>
              <a:gd name="connsiteX16" fmla="*/ 5918 w 9962"/>
              <a:gd name="connsiteY16" fmla="*/ 8910 h 10000"/>
              <a:gd name="connsiteX17" fmla="*/ 7693 w 9962"/>
              <a:gd name="connsiteY17" fmla="*/ 8910 h 10000"/>
              <a:gd name="connsiteX18" fmla="*/ 7732 w 9962"/>
              <a:gd name="connsiteY18" fmla="*/ 8575 h 10000"/>
              <a:gd name="connsiteX19" fmla="*/ 7732 w 9962"/>
              <a:gd name="connsiteY19" fmla="*/ 1772 h 10000"/>
              <a:gd name="connsiteX20" fmla="*/ 7771 w 9962"/>
              <a:gd name="connsiteY20" fmla="*/ 1437 h 10000"/>
              <a:gd name="connsiteX21" fmla="*/ 8363 w 9962"/>
              <a:gd name="connsiteY21" fmla="*/ 1437 h 10000"/>
              <a:gd name="connsiteX22" fmla="*/ 8401 w 9962"/>
              <a:gd name="connsiteY22" fmla="*/ 1772 h 10000"/>
              <a:gd name="connsiteX23" fmla="*/ 8401 w 9962"/>
              <a:gd name="connsiteY23" fmla="*/ 3222 h 10000"/>
              <a:gd name="connsiteX24" fmla="*/ 8440 w 9962"/>
              <a:gd name="connsiteY24" fmla="*/ 3557 h 10000"/>
              <a:gd name="connsiteX25" fmla="*/ 9962 w 9962"/>
              <a:gd name="connsiteY25" fmla="*/ 3557 h 10000"/>
              <a:gd name="connsiteX0" fmla="*/ 0 w 8472"/>
              <a:gd name="connsiteY0" fmla="*/ 7868 h 10000"/>
              <a:gd name="connsiteX1" fmla="*/ 1756 w 8472"/>
              <a:gd name="connsiteY1" fmla="*/ 7868 h 10000"/>
              <a:gd name="connsiteX2" fmla="*/ 1795 w 8472"/>
              <a:gd name="connsiteY2" fmla="*/ 7533 h 10000"/>
              <a:gd name="connsiteX3" fmla="*/ 1795 w 8472"/>
              <a:gd name="connsiteY3" fmla="*/ 1796 h 10000"/>
              <a:gd name="connsiteX4" fmla="*/ 1834 w 8472"/>
              <a:gd name="connsiteY4" fmla="*/ 1461 h 10000"/>
              <a:gd name="connsiteX5" fmla="*/ 3605 w 8472"/>
              <a:gd name="connsiteY5" fmla="*/ 1461 h 10000"/>
              <a:gd name="connsiteX6" fmla="*/ 3644 w 8472"/>
              <a:gd name="connsiteY6" fmla="*/ 1796 h 10000"/>
              <a:gd name="connsiteX7" fmla="*/ 3644 w 8472"/>
              <a:gd name="connsiteY7" fmla="*/ 9665 h 10000"/>
              <a:gd name="connsiteX8" fmla="*/ 3683 w 8472"/>
              <a:gd name="connsiteY8" fmla="*/ 10000 h 10000"/>
              <a:gd name="connsiteX9" fmla="*/ 4905 w 8472"/>
              <a:gd name="connsiteY9" fmla="*/ 10000 h 10000"/>
              <a:gd name="connsiteX10" fmla="*/ 4944 w 8472"/>
              <a:gd name="connsiteY10" fmla="*/ 9665 h 10000"/>
              <a:gd name="connsiteX11" fmla="*/ 4944 w 8472"/>
              <a:gd name="connsiteY11" fmla="*/ 335 h 10000"/>
              <a:gd name="connsiteX12" fmla="*/ 4984 w 8472"/>
              <a:gd name="connsiteY12" fmla="*/ 0 h 10000"/>
              <a:gd name="connsiteX13" fmla="*/ 5862 w 8472"/>
              <a:gd name="connsiteY13" fmla="*/ 0 h 10000"/>
              <a:gd name="connsiteX14" fmla="*/ 5901 w 8472"/>
              <a:gd name="connsiteY14" fmla="*/ 335 h 10000"/>
              <a:gd name="connsiteX15" fmla="*/ 5901 w 8472"/>
              <a:gd name="connsiteY15" fmla="*/ 8575 h 10000"/>
              <a:gd name="connsiteX16" fmla="*/ 5941 w 8472"/>
              <a:gd name="connsiteY16" fmla="*/ 8910 h 10000"/>
              <a:gd name="connsiteX17" fmla="*/ 7722 w 8472"/>
              <a:gd name="connsiteY17" fmla="*/ 8910 h 10000"/>
              <a:gd name="connsiteX18" fmla="*/ 7761 w 8472"/>
              <a:gd name="connsiteY18" fmla="*/ 8575 h 10000"/>
              <a:gd name="connsiteX19" fmla="*/ 7761 w 8472"/>
              <a:gd name="connsiteY19" fmla="*/ 1772 h 10000"/>
              <a:gd name="connsiteX20" fmla="*/ 7801 w 8472"/>
              <a:gd name="connsiteY20" fmla="*/ 1437 h 10000"/>
              <a:gd name="connsiteX21" fmla="*/ 8395 w 8472"/>
              <a:gd name="connsiteY21" fmla="*/ 1437 h 10000"/>
              <a:gd name="connsiteX22" fmla="*/ 8433 w 8472"/>
              <a:gd name="connsiteY22" fmla="*/ 1772 h 10000"/>
              <a:gd name="connsiteX23" fmla="*/ 8433 w 8472"/>
              <a:gd name="connsiteY23" fmla="*/ 3222 h 10000"/>
              <a:gd name="connsiteX24" fmla="*/ 8472 w 8472"/>
              <a:gd name="connsiteY24" fmla="*/ 3557 h 10000"/>
              <a:gd name="connsiteX0" fmla="*/ 0 w 9954"/>
              <a:gd name="connsiteY0" fmla="*/ 7868 h 10000"/>
              <a:gd name="connsiteX1" fmla="*/ 2073 w 9954"/>
              <a:gd name="connsiteY1" fmla="*/ 7868 h 10000"/>
              <a:gd name="connsiteX2" fmla="*/ 2119 w 9954"/>
              <a:gd name="connsiteY2" fmla="*/ 7533 h 10000"/>
              <a:gd name="connsiteX3" fmla="*/ 2119 w 9954"/>
              <a:gd name="connsiteY3" fmla="*/ 1796 h 10000"/>
              <a:gd name="connsiteX4" fmla="*/ 2165 w 9954"/>
              <a:gd name="connsiteY4" fmla="*/ 1461 h 10000"/>
              <a:gd name="connsiteX5" fmla="*/ 4255 w 9954"/>
              <a:gd name="connsiteY5" fmla="*/ 1461 h 10000"/>
              <a:gd name="connsiteX6" fmla="*/ 4301 w 9954"/>
              <a:gd name="connsiteY6" fmla="*/ 1796 h 10000"/>
              <a:gd name="connsiteX7" fmla="*/ 4301 w 9954"/>
              <a:gd name="connsiteY7" fmla="*/ 9665 h 10000"/>
              <a:gd name="connsiteX8" fmla="*/ 4347 w 9954"/>
              <a:gd name="connsiteY8" fmla="*/ 10000 h 10000"/>
              <a:gd name="connsiteX9" fmla="*/ 5790 w 9954"/>
              <a:gd name="connsiteY9" fmla="*/ 10000 h 10000"/>
              <a:gd name="connsiteX10" fmla="*/ 5836 w 9954"/>
              <a:gd name="connsiteY10" fmla="*/ 9665 h 10000"/>
              <a:gd name="connsiteX11" fmla="*/ 5836 w 9954"/>
              <a:gd name="connsiteY11" fmla="*/ 335 h 10000"/>
              <a:gd name="connsiteX12" fmla="*/ 5883 w 9954"/>
              <a:gd name="connsiteY12" fmla="*/ 0 h 10000"/>
              <a:gd name="connsiteX13" fmla="*/ 6919 w 9954"/>
              <a:gd name="connsiteY13" fmla="*/ 0 h 10000"/>
              <a:gd name="connsiteX14" fmla="*/ 6965 w 9954"/>
              <a:gd name="connsiteY14" fmla="*/ 335 h 10000"/>
              <a:gd name="connsiteX15" fmla="*/ 6965 w 9954"/>
              <a:gd name="connsiteY15" fmla="*/ 8575 h 10000"/>
              <a:gd name="connsiteX16" fmla="*/ 7013 w 9954"/>
              <a:gd name="connsiteY16" fmla="*/ 8910 h 10000"/>
              <a:gd name="connsiteX17" fmla="*/ 9115 w 9954"/>
              <a:gd name="connsiteY17" fmla="*/ 8910 h 10000"/>
              <a:gd name="connsiteX18" fmla="*/ 9161 w 9954"/>
              <a:gd name="connsiteY18" fmla="*/ 8575 h 10000"/>
              <a:gd name="connsiteX19" fmla="*/ 9161 w 9954"/>
              <a:gd name="connsiteY19" fmla="*/ 1772 h 10000"/>
              <a:gd name="connsiteX20" fmla="*/ 9208 w 9954"/>
              <a:gd name="connsiteY20" fmla="*/ 1437 h 10000"/>
              <a:gd name="connsiteX21" fmla="*/ 9909 w 9954"/>
              <a:gd name="connsiteY21" fmla="*/ 1437 h 10000"/>
              <a:gd name="connsiteX22" fmla="*/ 9954 w 9954"/>
              <a:gd name="connsiteY22" fmla="*/ 1772 h 10000"/>
              <a:gd name="connsiteX23" fmla="*/ 9954 w 9954"/>
              <a:gd name="connsiteY23" fmla="*/ 3222 h 10000"/>
              <a:gd name="connsiteX0" fmla="*/ 0 w 10000"/>
              <a:gd name="connsiteY0" fmla="*/ 7868 h 10000"/>
              <a:gd name="connsiteX1" fmla="*/ 2083 w 10000"/>
              <a:gd name="connsiteY1" fmla="*/ 7868 h 10000"/>
              <a:gd name="connsiteX2" fmla="*/ 2129 w 10000"/>
              <a:gd name="connsiteY2" fmla="*/ 7533 h 10000"/>
              <a:gd name="connsiteX3" fmla="*/ 2129 w 10000"/>
              <a:gd name="connsiteY3" fmla="*/ 1796 h 10000"/>
              <a:gd name="connsiteX4" fmla="*/ 2175 w 10000"/>
              <a:gd name="connsiteY4" fmla="*/ 1461 h 10000"/>
              <a:gd name="connsiteX5" fmla="*/ 4275 w 10000"/>
              <a:gd name="connsiteY5" fmla="*/ 1461 h 10000"/>
              <a:gd name="connsiteX6" fmla="*/ 4321 w 10000"/>
              <a:gd name="connsiteY6" fmla="*/ 1796 h 10000"/>
              <a:gd name="connsiteX7" fmla="*/ 4321 w 10000"/>
              <a:gd name="connsiteY7" fmla="*/ 9665 h 10000"/>
              <a:gd name="connsiteX8" fmla="*/ 4367 w 10000"/>
              <a:gd name="connsiteY8" fmla="*/ 10000 h 10000"/>
              <a:gd name="connsiteX9" fmla="*/ 5817 w 10000"/>
              <a:gd name="connsiteY9" fmla="*/ 10000 h 10000"/>
              <a:gd name="connsiteX10" fmla="*/ 5863 w 10000"/>
              <a:gd name="connsiteY10" fmla="*/ 9665 h 10000"/>
              <a:gd name="connsiteX11" fmla="*/ 5863 w 10000"/>
              <a:gd name="connsiteY11" fmla="*/ 335 h 10000"/>
              <a:gd name="connsiteX12" fmla="*/ 5910 w 10000"/>
              <a:gd name="connsiteY12" fmla="*/ 0 h 10000"/>
              <a:gd name="connsiteX13" fmla="*/ 6951 w 10000"/>
              <a:gd name="connsiteY13" fmla="*/ 0 h 10000"/>
              <a:gd name="connsiteX14" fmla="*/ 6997 w 10000"/>
              <a:gd name="connsiteY14" fmla="*/ 335 h 10000"/>
              <a:gd name="connsiteX15" fmla="*/ 6997 w 10000"/>
              <a:gd name="connsiteY15" fmla="*/ 8575 h 10000"/>
              <a:gd name="connsiteX16" fmla="*/ 7045 w 10000"/>
              <a:gd name="connsiteY16" fmla="*/ 8910 h 10000"/>
              <a:gd name="connsiteX17" fmla="*/ 9157 w 10000"/>
              <a:gd name="connsiteY17" fmla="*/ 8910 h 10000"/>
              <a:gd name="connsiteX18" fmla="*/ 9203 w 10000"/>
              <a:gd name="connsiteY18" fmla="*/ 8575 h 10000"/>
              <a:gd name="connsiteX19" fmla="*/ 9203 w 10000"/>
              <a:gd name="connsiteY19" fmla="*/ 1772 h 10000"/>
              <a:gd name="connsiteX20" fmla="*/ 9251 w 10000"/>
              <a:gd name="connsiteY20" fmla="*/ 1437 h 10000"/>
              <a:gd name="connsiteX21" fmla="*/ 9955 w 10000"/>
              <a:gd name="connsiteY21" fmla="*/ 1437 h 10000"/>
              <a:gd name="connsiteX22" fmla="*/ 10000 w 10000"/>
              <a:gd name="connsiteY22" fmla="*/ 1772 h 10000"/>
              <a:gd name="connsiteX0" fmla="*/ 0 w 9955"/>
              <a:gd name="connsiteY0" fmla="*/ 7868 h 10000"/>
              <a:gd name="connsiteX1" fmla="*/ 2083 w 9955"/>
              <a:gd name="connsiteY1" fmla="*/ 7868 h 10000"/>
              <a:gd name="connsiteX2" fmla="*/ 2129 w 9955"/>
              <a:gd name="connsiteY2" fmla="*/ 7533 h 10000"/>
              <a:gd name="connsiteX3" fmla="*/ 2129 w 9955"/>
              <a:gd name="connsiteY3" fmla="*/ 1796 h 10000"/>
              <a:gd name="connsiteX4" fmla="*/ 2175 w 9955"/>
              <a:gd name="connsiteY4" fmla="*/ 1461 h 10000"/>
              <a:gd name="connsiteX5" fmla="*/ 4275 w 9955"/>
              <a:gd name="connsiteY5" fmla="*/ 1461 h 10000"/>
              <a:gd name="connsiteX6" fmla="*/ 4321 w 9955"/>
              <a:gd name="connsiteY6" fmla="*/ 1796 h 10000"/>
              <a:gd name="connsiteX7" fmla="*/ 4321 w 9955"/>
              <a:gd name="connsiteY7" fmla="*/ 9665 h 10000"/>
              <a:gd name="connsiteX8" fmla="*/ 4367 w 9955"/>
              <a:gd name="connsiteY8" fmla="*/ 10000 h 10000"/>
              <a:gd name="connsiteX9" fmla="*/ 5817 w 9955"/>
              <a:gd name="connsiteY9" fmla="*/ 10000 h 10000"/>
              <a:gd name="connsiteX10" fmla="*/ 5863 w 9955"/>
              <a:gd name="connsiteY10" fmla="*/ 9665 h 10000"/>
              <a:gd name="connsiteX11" fmla="*/ 5863 w 9955"/>
              <a:gd name="connsiteY11" fmla="*/ 335 h 10000"/>
              <a:gd name="connsiteX12" fmla="*/ 5910 w 9955"/>
              <a:gd name="connsiteY12" fmla="*/ 0 h 10000"/>
              <a:gd name="connsiteX13" fmla="*/ 6951 w 9955"/>
              <a:gd name="connsiteY13" fmla="*/ 0 h 10000"/>
              <a:gd name="connsiteX14" fmla="*/ 6997 w 9955"/>
              <a:gd name="connsiteY14" fmla="*/ 335 h 10000"/>
              <a:gd name="connsiteX15" fmla="*/ 6997 w 9955"/>
              <a:gd name="connsiteY15" fmla="*/ 8575 h 10000"/>
              <a:gd name="connsiteX16" fmla="*/ 7045 w 9955"/>
              <a:gd name="connsiteY16" fmla="*/ 8910 h 10000"/>
              <a:gd name="connsiteX17" fmla="*/ 9157 w 9955"/>
              <a:gd name="connsiteY17" fmla="*/ 8910 h 10000"/>
              <a:gd name="connsiteX18" fmla="*/ 9203 w 9955"/>
              <a:gd name="connsiteY18" fmla="*/ 8575 h 10000"/>
              <a:gd name="connsiteX19" fmla="*/ 9203 w 9955"/>
              <a:gd name="connsiteY19" fmla="*/ 1772 h 10000"/>
              <a:gd name="connsiteX20" fmla="*/ 9251 w 9955"/>
              <a:gd name="connsiteY20" fmla="*/ 1437 h 10000"/>
              <a:gd name="connsiteX21" fmla="*/ 9955 w 9955"/>
              <a:gd name="connsiteY21" fmla="*/ 1437 h 10000"/>
              <a:gd name="connsiteX0" fmla="*/ 0 w 9293"/>
              <a:gd name="connsiteY0" fmla="*/ 7868 h 10000"/>
              <a:gd name="connsiteX1" fmla="*/ 2092 w 9293"/>
              <a:gd name="connsiteY1" fmla="*/ 7868 h 10000"/>
              <a:gd name="connsiteX2" fmla="*/ 2139 w 9293"/>
              <a:gd name="connsiteY2" fmla="*/ 7533 h 10000"/>
              <a:gd name="connsiteX3" fmla="*/ 2139 w 9293"/>
              <a:gd name="connsiteY3" fmla="*/ 1796 h 10000"/>
              <a:gd name="connsiteX4" fmla="*/ 2185 w 9293"/>
              <a:gd name="connsiteY4" fmla="*/ 1461 h 10000"/>
              <a:gd name="connsiteX5" fmla="*/ 4294 w 9293"/>
              <a:gd name="connsiteY5" fmla="*/ 1461 h 10000"/>
              <a:gd name="connsiteX6" fmla="*/ 4341 w 9293"/>
              <a:gd name="connsiteY6" fmla="*/ 1796 h 10000"/>
              <a:gd name="connsiteX7" fmla="*/ 4341 w 9293"/>
              <a:gd name="connsiteY7" fmla="*/ 9665 h 10000"/>
              <a:gd name="connsiteX8" fmla="*/ 4387 w 9293"/>
              <a:gd name="connsiteY8" fmla="*/ 10000 h 10000"/>
              <a:gd name="connsiteX9" fmla="*/ 5843 w 9293"/>
              <a:gd name="connsiteY9" fmla="*/ 10000 h 10000"/>
              <a:gd name="connsiteX10" fmla="*/ 5890 w 9293"/>
              <a:gd name="connsiteY10" fmla="*/ 9665 h 10000"/>
              <a:gd name="connsiteX11" fmla="*/ 5890 w 9293"/>
              <a:gd name="connsiteY11" fmla="*/ 335 h 10000"/>
              <a:gd name="connsiteX12" fmla="*/ 5937 w 9293"/>
              <a:gd name="connsiteY12" fmla="*/ 0 h 10000"/>
              <a:gd name="connsiteX13" fmla="*/ 6982 w 9293"/>
              <a:gd name="connsiteY13" fmla="*/ 0 h 10000"/>
              <a:gd name="connsiteX14" fmla="*/ 7029 w 9293"/>
              <a:gd name="connsiteY14" fmla="*/ 335 h 10000"/>
              <a:gd name="connsiteX15" fmla="*/ 7029 w 9293"/>
              <a:gd name="connsiteY15" fmla="*/ 8575 h 10000"/>
              <a:gd name="connsiteX16" fmla="*/ 7077 w 9293"/>
              <a:gd name="connsiteY16" fmla="*/ 8910 h 10000"/>
              <a:gd name="connsiteX17" fmla="*/ 9198 w 9293"/>
              <a:gd name="connsiteY17" fmla="*/ 8910 h 10000"/>
              <a:gd name="connsiteX18" fmla="*/ 9245 w 9293"/>
              <a:gd name="connsiteY18" fmla="*/ 8575 h 10000"/>
              <a:gd name="connsiteX19" fmla="*/ 9245 w 9293"/>
              <a:gd name="connsiteY19" fmla="*/ 1772 h 10000"/>
              <a:gd name="connsiteX20" fmla="*/ 9293 w 9293"/>
              <a:gd name="connsiteY20" fmla="*/ 1437 h 10000"/>
              <a:gd name="connsiteX0" fmla="*/ 0 w 9948"/>
              <a:gd name="connsiteY0" fmla="*/ 7868 h 10000"/>
              <a:gd name="connsiteX1" fmla="*/ 2251 w 9948"/>
              <a:gd name="connsiteY1" fmla="*/ 7868 h 10000"/>
              <a:gd name="connsiteX2" fmla="*/ 2302 w 9948"/>
              <a:gd name="connsiteY2" fmla="*/ 7533 h 10000"/>
              <a:gd name="connsiteX3" fmla="*/ 2302 w 9948"/>
              <a:gd name="connsiteY3" fmla="*/ 1796 h 10000"/>
              <a:gd name="connsiteX4" fmla="*/ 2351 w 9948"/>
              <a:gd name="connsiteY4" fmla="*/ 1461 h 10000"/>
              <a:gd name="connsiteX5" fmla="*/ 4621 w 9948"/>
              <a:gd name="connsiteY5" fmla="*/ 1461 h 10000"/>
              <a:gd name="connsiteX6" fmla="*/ 4671 w 9948"/>
              <a:gd name="connsiteY6" fmla="*/ 1796 h 10000"/>
              <a:gd name="connsiteX7" fmla="*/ 4671 w 9948"/>
              <a:gd name="connsiteY7" fmla="*/ 9665 h 10000"/>
              <a:gd name="connsiteX8" fmla="*/ 4721 w 9948"/>
              <a:gd name="connsiteY8" fmla="*/ 10000 h 10000"/>
              <a:gd name="connsiteX9" fmla="*/ 6288 w 9948"/>
              <a:gd name="connsiteY9" fmla="*/ 10000 h 10000"/>
              <a:gd name="connsiteX10" fmla="*/ 6338 w 9948"/>
              <a:gd name="connsiteY10" fmla="*/ 9665 h 10000"/>
              <a:gd name="connsiteX11" fmla="*/ 6338 w 9948"/>
              <a:gd name="connsiteY11" fmla="*/ 335 h 10000"/>
              <a:gd name="connsiteX12" fmla="*/ 6389 w 9948"/>
              <a:gd name="connsiteY12" fmla="*/ 0 h 10000"/>
              <a:gd name="connsiteX13" fmla="*/ 7513 w 9948"/>
              <a:gd name="connsiteY13" fmla="*/ 0 h 10000"/>
              <a:gd name="connsiteX14" fmla="*/ 7564 w 9948"/>
              <a:gd name="connsiteY14" fmla="*/ 335 h 10000"/>
              <a:gd name="connsiteX15" fmla="*/ 7564 w 9948"/>
              <a:gd name="connsiteY15" fmla="*/ 8575 h 10000"/>
              <a:gd name="connsiteX16" fmla="*/ 7615 w 9948"/>
              <a:gd name="connsiteY16" fmla="*/ 8910 h 10000"/>
              <a:gd name="connsiteX17" fmla="*/ 9898 w 9948"/>
              <a:gd name="connsiteY17" fmla="*/ 8910 h 10000"/>
              <a:gd name="connsiteX18" fmla="*/ 9948 w 9948"/>
              <a:gd name="connsiteY18" fmla="*/ 8575 h 10000"/>
              <a:gd name="connsiteX19" fmla="*/ 9948 w 9948"/>
              <a:gd name="connsiteY19" fmla="*/ 1772 h 10000"/>
              <a:gd name="connsiteX0" fmla="*/ 0 w 10000"/>
              <a:gd name="connsiteY0" fmla="*/ 7868 h 10000"/>
              <a:gd name="connsiteX1" fmla="*/ 2263 w 10000"/>
              <a:gd name="connsiteY1" fmla="*/ 7868 h 10000"/>
              <a:gd name="connsiteX2" fmla="*/ 2314 w 10000"/>
              <a:gd name="connsiteY2" fmla="*/ 7533 h 10000"/>
              <a:gd name="connsiteX3" fmla="*/ 2314 w 10000"/>
              <a:gd name="connsiteY3" fmla="*/ 1796 h 10000"/>
              <a:gd name="connsiteX4" fmla="*/ 2363 w 10000"/>
              <a:gd name="connsiteY4" fmla="*/ 1461 h 10000"/>
              <a:gd name="connsiteX5" fmla="*/ 4645 w 10000"/>
              <a:gd name="connsiteY5" fmla="*/ 1461 h 10000"/>
              <a:gd name="connsiteX6" fmla="*/ 4695 w 10000"/>
              <a:gd name="connsiteY6" fmla="*/ 1796 h 10000"/>
              <a:gd name="connsiteX7" fmla="*/ 4695 w 10000"/>
              <a:gd name="connsiteY7" fmla="*/ 9665 h 10000"/>
              <a:gd name="connsiteX8" fmla="*/ 4746 w 10000"/>
              <a:gd name="connsiteY8" fmla="*/ 10000 h 10000"/>
              <a:gd name="connsiteX9" fmla="*/ 6321 w 10000"/>
              <a:gd name="connsiteY9" fmla="*/ 10000 h 10000"/>
              <a:gd name="connsiteX10" fmla="*/ 6371 w 10000"/>
              <a:gd name="connsiteY10" fmla="*/ 9665 h 10000"/>
              <a:gd name="connsiteX11" fmla="*/ 6371 w 10000"/>
              <a:gd name="connsiteY11" fmla="*/ 335 h 10000"/>
              <a:gd name="connsiteX12" fmla="*/ 6422 w 10000"/>
              <a:gd name="connsiteY12" fmla="*/ 0 h 10000"/>
              <a:gd name="connsiteX13" fmla="*/ 7552 w 10000"/>
              <a:gd name="connsiteY13" fmla="*/ 0 h 10000"/>
              <a:gd name="connsiteX14" fmla="*/ 7604 w 10000"/>
              <a:gd name="connsiteY14" fmla="*/ 335 h 10000"/>
              <a:gd name="connsiteX15" fmla="*/ 7604 w 10000"/>
              <a:gd name="connsiteY15" fmla="*/ 8575 h 10000"/>
              <a:gd name="connsiteX16" fmla="*/ 7655 w 10000"/>
              <a:gd name="connsiteY16" fmla="*/ 8910 h 10000"/>
              <a:gd name="connsiteX17" fmla="*/ 9950 w 10000"/>
              <a:gd name="connsiteY17" fmla="*/ 8910 h 10000"/>
              <a:gd name="connsiteX18" fmla="*/ 10000 w 10000"/>
              <a:gd name="connsiteY18" fmla="*/ 8575 h 10000"/>
              <a:gd name="connsiteX0" fmla="*/ 0 w 8266"/>
              <a:gd name="connsiteY0" fmla="*/ 7916 h 10000"/>
              <a:gd name="connsiteX1" fmla="*/ 529 w 8266"/>
              <a:gd name="connsiteY1" fmla="*/ 7868 h 10000"/>
              <a:gd name="connsiteX2" fmla="*/ 580 w 8266"/>
              <a:gd name="connsiteY2" fmla="*/ 7533 h 10000"/>
              <a:gd name="connsiteX3" fmla="*/ 580 w 8266"/>
              <a:gd name="connsiteY3" fmla="*/ 1796 h 10000"/>
              <a:gd name="connsiteX4" fmla="*/ 629 w 8266"/>
              <a:gd name="connsiteY4" fmla="*/ 1461 h 10000"/>
              <a:gd name="connsiteX5" fmla="*/ 2911 w 8266"/>
              <a:gd name="connsiteY5" fmla="*/ 1461 h 10000"/>
              <a:gd name="connsiteX6" fmla="*/ 2961 w 8266"/>
              <a:gd name="connsiteY6" fmla="*/ 1796 h 10000"/>
              <a:gd name="connsiteX7" fmla="*/ 2961 w 8266"/>
              <a:gd name="connsiteY7" fmla="*/ 9665 h 10000"/>
              <a:gd name="connsiteX8" fmla="*/ 3012 w 8266"/>
              <a:gd name="connsiteY8" fmla="*/ 10000 h 10000"/>
              <a:gd name="connsiteX9" fmla="*/ 4587 w 8266"/>
              <a:gd name="connsiteY9" fmla="*/ 10000 h 10000"/>
              <a:gd name="connsiteX10" fmla="*/ 4637 w 8266"/>
              <a:gd name="connsiteY10" fmla="*/ 9665 h 10000"/>
              <a:gd name="connsiteX11" fmla="*/ 4637 w 8266"/>
              <a:gd name="connsiteY11" fmla="*/ 335 h 10000"/>
              <a:gd name="connsiteX12" fmla="*/ 4688 w 8266"/>
              <a:gd name="connsiteY12" fmla="*/ 0 h 10000"/>
              <a:gd name="connsiteX13" fmla="*/ 5818 w 8266"/>
              <a:gd name="connsiteY13" fmla="*/ 0 h 10000"/>
              <a:gd name="connsiteX14" fmla="*/ 5870 w 8266"/>
              <a:gd name="connsiteY14" fmla="*/ 335 h 10000"/>
              <a:gd name="connsiteX15" fmla="*/ 5870 w 8266"/>
              <a:gd name="connsiteY15" fmla="*/ 8575 h 10000"/>
              <a:gd name="connsiteX16" fmla="*/ 5921 w 8266"/>
              <a:gd name="connsiteY16" fmla="*/ 8910 h 10000"/>
              <a:gd name="connsiteX17" fmla="*/ 8216 w 8266"/>
              <a:gd name="connsiteY17" fmla="*/ 8910 h 10000"/>
              <a:gd name="connsiteX18" fmla="*/ 8266 w 8266"/>
              <a:gd name="connsiteY18" fmla="*/ 8575 h 10000"/>
              <a:gd name="connsiteX0" fmla="*/ 0 w 10000"/>
              <a:gd name="connsiteY0" fmla="*/ 7916 h 10000"/>
              <a:gd name="connsiteX1" fmla="*/ 640 w 10000"/>
              <a:gd name="connsiteY1" fmla="*/ 7868 h 10000"/>
              <a:gd name="connsiteX2" fmla="*/ 702 w 10000"/>
              <a:gd name="connsiteY2" fmla="*/ 7533 h 10000"/>
              <a:gd name="connsiteX3" fmla="*/ 702 w 10000"/>
              <a:gd name="connsiteY3" fmla="*/ 1796 h 10000"/>
              <a:gd name="connsiteX4" fmla="*/ 761 w 10000"/>
              <a:gd name="connsiteY4" fmla="*/ 1461 h 10000"/>
              <a:gd name="connsiteX5" fmla="*/ 3522 w 10000"/>
              <a:gd name="connsiteY5" fmla="*/ 1461 h 10000"/>
              <a:gd name="connsiteX6" fmla="*/ 3582 w 10000"/>
              <a:gd name="connsiteY6" fmla="*/ 1796 h 10000"/>
              <a:gd name="connsiteX7" fmla="*/ 3582 w 10000"/>
              <a:gd name="connsiteY7" fmla="*/ 9665 h 10000"/>
              <a:gd name="connsiteX8" fmla="*/ 3644 w 10000"/>
              <a:gd name="connsiteY8" fmla="*/ 10000 h 10000"/>
              <a:gd name="connsiteX9" fmla="*/ 5549 w 10000"/>
              <a:gd name="connsiteY9" fmla="*/ 10000 h 10000"/>
              <a:gd name="connsiteX10" fmla="*/ 5610 w 10000"/>
              <a:gd name="connsiteY10" fmla="*/ 9665 h 10000"/>
              <a:gd name="connsiteX11" fmla="*/ 5610 w 10000"/>
              <a:gd name="connsiteY11" fmla="*/ 335 h 10000"/>
              <a:gd name="connsiteX12" fmla="*/ 5671 w 10000"/>
              <a:gd name="connsiteY12" fmla="*/ 0 h 10000"/>
              <a:gd name="connsiteX13" fmla="*/ 7038 w 10000"/>
              <a:gd name="connsiteY13" fmla="*/ 0 h 10000"/>
              <a:gd name="connsiteX14" fmla="*/ 7101 w 10000"/>
              <a:gd name="connsiteY14" fmla="*/ 335 h 10000"/>
              <a:gd name="connsiteX15" fmla="*/ 7101 w 10000"/>
              <a:gd name="connsiteY15" fmla="*/ 8575 h 10000"/>
              <a:gd name="connsiteX16" fmla="*/ 7163 w 10000"/>
              <a:gd name="connsiteY16" fmla="*/ 8910 h 10000"/>
              <a:gd name="connsiteX17" fmla="*/ 9940 w 10000"/>
              <a:gd name="connsiteY17" fmla="*/ 8910 h 10000"/>
              <a:gd name="connsiteX18" fmla="*/ 10000 w 10000"/>
              <a:gd name="connsiteY18" fmla="*/ 8575 h 10000"/>
              <a:gd name="connsiteX0" fmla="*/ 0 w 9964"/>
              <a:gd name="connsiteY0" fmla="*/ 7882 h 10000"/>
              <a:gd name="connsiteX1" fmla="*/ 604 w 9964"/>
              <a:gd name="connsiteY1" fmla="*/ 7868 h 10000"/>
              <a:gd name="connsiteX2" fmla="*/ 666 w 9964"/>
              <a:gd name="connsiteY2" fmla="*/ 7533 h 10000"/>
              <a:gd name="connsiteX3" fmla="*/ 666 w 9964"/>
              <a:gd name="connsiteY3" fmla="*/ 1796 h 10000"/>
              <a:gd name="connsiteX4" fmla="*/ 725 w 9964"/>
              <a:gd name="connsiteY4" fmla="*/ 1461 h 10000"/>
              <a:gd name="connsiteX5" fmla="*/ 3486 w 9964"/>
              <a:gd name="connsiteY5" fmla="*/ 1461 h 10000"/>
              <a:gd name="connsiteX6" fmla="*/ 3546 w 9964"/>
              <a:gd name="connsiteY6" fmla="*/ 1796 h 10000"/>
              <a:gd name="connsiteX7" fmla="*/ 3546 w 9964"/>
              <a:gd name="connsiteY7" fmla="*/ 9665 h 10000"/>
              <a:gd name="connsiteX8" fmla="*/ 3608 w 9964"/>
              <a:gd name="connsiteY8" fmla="*/ 10000 h 10000"/>
              <a:gd name="connsiteX9" fmla="*/ 5513 w 9964"/>
              <a:gd name="connsiteY9" fmla="*/ 10000 h 10000"/>
              <a:gd name="connsiteX10" fmla="*/ 5574 w 9964"/>
              <a:gd name="connsiteY10" fmla="*/ 9665 h 10000"/>
              <a:gd name="connsiteX11" fmla="*/ 5574 w 9964"/>
              <a:gd name="connsiteY11" fmla="*/ 335 h 10000"/>
              <a:gd name="connsiteX12" fmla="*/ 5635 w 9964"/>
              <a:gd name="connsiteY12" fmla="*/ 0 h 10000"/>
              <a:gd name="connsiteX13" fmla="*/ 7002 w 9964"/>
              <a:gd name="connsiteY13" fmla="*/ 0 h 10000"/>
              <a:gd name="connsiteX14" fmla="*/ 7065 w 9964"/>
              <a:gd name="connsiteY14" fmla="*/ 335 h 10000"/>
              <a:gd name="connsiteX15" fmla="*/ 7065 w 9964"/>
              <a:gd name="connsiteY15" fmla="*/ 8575 h 10000"/>
              <a:gd name="connsiteX16" fmla="*/ 7127 w 9964"/>
              <a:gd name="connsiteY16" fmla="*/ 8910 h 10000"/>
              <a:gd name="connsiteX17" fmla="*/ 9904 w 9964"/>
              <a:gd name="connsiteY17" fmla="*/ 8910 h 10000"/>
              <a:gd name="connsiteX18" fmla="*/ 9964 w 9964"/>
              <a:gd name="connsiteY18" fmla="*/ 8575 h 10000"/>
              <a:gd name="connsiteX0" fmla="*/ 0 w 10018"/>
              <a:gd name="connsiteY0" fmla="*/ 7882 h 10000"/>
              <a:gd name="connsiteX1" fmla="*/ 624 w 10018"/>
              <a:gd name="connsiteY1" fmla="*/ 7868 h 10000"/>
              <a:gd name="connsiteX2" fmla="*/ 686 w 10018"/>
              <a:gd name="connsiteY2" fmla="*/ 7533 h 10000"/>
              <a:gd name="connsiteX3" fmla="*/ 686 w 10018"/>
              <a:gd name="connsiteY3" fmla="*/ 1796 h 10000"/>
              <a:gd name="connsiteX4" fmla="*/ 746 w 10018"/>
              <a:gd name="connsiteY4" fmla="*/ 1461 h 10000"/>
              <a:gd name="connsiteX5" fmla="*/ 3517 w 10018"/>
              <a:gd name="connsiteY5" fmla="*/ 1461 h 10000"/>
              <a:gd name="connsiteX6" fmla="*/ 3577 w 10018"/>
              <a:gd name="connsiteY6" fmla="*/ 1796 h 10000"/>
              <a:gd name="connsiteX7" fmla="*/ 3577 w 10018"/>
              <a:gd name="connsiteY7" fmla="*/ 9665 h 10000"/>
              <a:gd name="connsiteX8" fmla="*/ 3639 w 10018"/>
              <a:gd name="connsiteY8" fmla="*/ 10000 h 10000"/>
              <a:gd name="connsiteX9" fmla="*/ 5551 w 10018"/>
              <a:gd name="connsiteY9" fmla="*/ 10000 h 10000"/>
              <a:gd name="connsiteX10" fmla="*/ 5612 w 10018"/>
              <a:gd name="connsiteY10" fmla="*/ 9665 h 10000"/>
              <a:gd name="connsiteX11" fmla="*/ 5612 w 10018"/>
              <a:gd name="connsiteY11" fmla="*/ 335 h 10000"/>
              <a:gd name="connsiteX12" fmla="*/ 5673 w 10018"/>
              <a:gd name="connsiteY12" fmla="*/ 0 h 10000"/>
              <a:gd name="connsiteX13" fmla="*/ 7045 w 10018"/>
              <a:gd name="connsiteY13" fmla="*/ 0 h 10000"/>
              <a:gd name="connsiteX14" fmla="*/ 7109 w 10018"/>
              <a:gd name="connsiteY14" fmla="*/ 335 h 10000"/>
              <a:gd name="connsiteX15" fmla="*/ 7109 w 10018"/>
              <a:gd name="connsiteY15" fmla="*/ 8575 h 10000"/>
              <a:gd name="connsiteX16" fmla="*/ 7171 w 10018"/>
              <a:gd name="connsiteY16" fmla="*/ 8910 h 10000"/>
              <a:gd name="connsiteX17" fmla="*/ 9958 w 10018"/>
              <a:gd name="connsiteY17" fmla="*/ 8910 h 10000"/>
              <a:gd name="connsiteX18" fmla="*/ 10018 w 10018"/>
              <a:gd name="connsiteY18" fmla="*/ 8575 h 10000"/>
              <a:gd name="connsiteX0" fmla="*/ 0 w 10023"/>
              <a:gd name="connsiteY0" fmla="*/ 7857 h 10000"/>
              <a:gd name="connsiteX1" fmla="*/ 629 w 10023"/>
              <a:gd name="connsiteY1" fmla="*/ 7868 h 10000"/>
              <a:gd name="connsiteX2" fmla="*/ 691 w 10023"/>
              <a:gd name="connsiteY2" fmla="*/ 7533 h 10000"/>
              <a:gd name="connsiteX3" fmla="*/ 691 w 10023"/>
              <a:gd name="connsiteY3" fmla="*/ 1796 h 10000"/>
              <a:gd name="connsiteX4" fmla="*/ 751 w 10023"/>
              <a:gd name="connsiteY4" fmla="*/ 1461 h 10000"/>
              <a:gd name="connsiteX5" fmla="*/ 3522 w 10023"/>
              <a:gd name="connsiteY5" fmla="*/ 1461 h 10000"/>
              <a:gd name="connsiteX6" fmla="*/ 3582 w 10023"/>
              <a:gd name="connsiteY6" fmla="*/ 1796 h 10000"/>
              <a:gd name="connsiteX7" fmla="*/ 3582 w 10023"/>
              <a:gd name="connsiteY7" fmla="*/ 9665 h 10000"/>
              <a:gd name="connsiteX8" fmla="*/ 3644 w 10023"/>
              <a:gd name="connsiteY8" fmla="*/ 10000 h 10000"/>
              <a:gd name="connsiteX9" fmla="*/ 5556 w 10023"/>
              <a:gd name="connsiteY9" fmla="*/ 10000 h 10000"/>
              <a:gd name="connsiteX10" fmla="*/ 5617 w 10023"/>
              <a:gd name="connsiteY10" fmla="*/ 9665 h 10000"/>
              <a:gd name="connsiteX11" fmla="*/ 5617 w 10023"/>
              <a:gd name="connsiteY11" fmla="*/ 335 h 10000"/>
              <a:gd name="connsiteX12" fmla="*/ 5678 w 10023"/>
              <a:gd name="connsiteY12" fmla="*/ 0 h 10000"/>
              <a:gd name="connsiteX13" fmla="*/ 7050 w 10023"/>
              <a:gd name="connsiteY13" fmla="*/ 0 h 10000"/>
              <a:gd name="connsiteX14" fmla="*/ 7114 w 10023"/>
              <a:gd name="connsiteY14" fmla="*/ 335 h 10000"/>
              <a:gd name="connsiteX15" fmla="*/ 7114 w 10023"/>
              <a:gd name="connsiteY15" fmla="*/ 8575 h 10000"/>
              <a:gd name="connsiteX16" fmla="*/ 7176 w 10023"/>
              <a:gd name="connsiteY16" fmla="*/ 8910 h 10000"/>
              <a:gd name="connsiteX17" fmla="*/ 9963 w 10023"/>
              <a:gd name="connsiteY17" fmla="*/ 8910 h 10000"/>
              <a:gd name="connsiteX18" fmla="*/ 10023 w 10023"/>
              <a:gd name="connsiteY18" fmla="*/ 8575 h 10000"/>
              <a:gd name="connsiteX0" fmla="*/ 0 w 10023"/>
              <a:gd name="connsiteY0" fmla="*/ 7857 h 10000"/>
              <a:gd name="connsiteX1" fmla="*/ 629 w 10023"/>
              <a:gd name="connsiteY1" fmla="*/ 7868 h 10000"/>
              <a:gd name="connsiteX2" fmla="*/ 691 w 10023"/>
              <a:gd name="connsiteY2" fmla="*/ 7533 h 10000"/>
              <a:gd name="connsiteX3" fmla="*/ 691 w 10023"/>
              <a:gd name="connsiteY3" fmla="*/ 1796 h 10000"/>
              <a:gd name="connsiteX4" fmla="*/ 751 w 10023"/>
              <a:gd name="connsiteY4" fmla="*/ 1461 h 10000"/>
              <a:gd name="connsiteX5" fmla="*/ 3522 w 10023"/>
              <a:gd name="connsiteY5" fmla="*/ 1461 h 10000"/>
              <a:gd name="connsiteX6" fmla="*/ 3582 w 10023"/>
              <a:gd name="connsiteY6" fmla="*/ 1796 h 10000"/>
              <a:gd name="connsiteX7" fmla="*/ 3582 w 10023"/>
              <a:gd name="connsiteY7" fmla="*/ 9665 h 10000"/>
              <a:gd name="connsiteX8" fmla="*/ 3644 w 10023"/>
              <a:gd name="connsiteY8" fmla="*/ 10000 h 10000"/>
              <a:gd name="connsiteX9" fmla="*/ 5556 w 10023"/>
              <a:gd name="connsiteY9" fmla="*/ 10000 h 10000"/>
              <a:gd name="connsiteX10" fmla="*/ 5617 w 10023"/>
              <a:gd name="connsiteY10" fmla="*/ 9665 h 10000"/>
              <a:gd name="connsiteX11" fmla="*/ 5617 w 10023"/>
              <a:gd name="connsiteY11" fmla="*/ 335 h 10000"/>
              <a:gd name="connsiteX12" fmla="*/ 5678 w 10023"/>
              <a:gd name="connsiteY12" fmla="*/ 0 h 10000"/>
              <a:gd name="connsiteX13" fmla="*/ 7050 w 10023"/>
              <a:gd name="connsiteY13" fmla="*/ 0 h 10000"/>
              <a:gd name="connsiteX14" fmla="*/ 7114 w 10023"/>
              <a:gd name="connsiteY14" fmla="*/ 335 h 10000"/>
              <a:gd name="connsiteX15" fmla="*/ 7114 w 10023"/>
              <a:gd name="connsiteY15" fmla="*/ 8575 h 10000"/>
              <a:gd name="connsiteX16" fmla="*/ 7176 w 10023"/>
              <a:gd name="connsiteY16" fmla="*/ 8910 h 10000"/>
              <a:gd name="connsiteX17" fmla="*/ 10023 w 10023"/>
              <a:gd name="connsiteY17" fmla="*/ 8575 h 10000"/>
              <a:gd name="connsiteX0" fmla="*/ 0 w 8783"/>
              <a:gd name="connsiteY0" fmla="*/ 7857 h 10000"/>
              <a:gd name="connsiteX1" fmla="*/ 629 w 8783"/>
              <a:gd name="connsiteY1" fmla="*/ 7868 h 10000"/>
              <a:gd name="connsiteX2" fmla="*/ 691 w 8783"/>
              <a:gd name="connsiteY2" fmla="*/ 7533 h 10000"/>
              <a:gd name="connsiteX3" fmla="*/ 691 w 8783"/>
              <a:gd name="connsiteY3" fmla="*/ 1796 h 10000"/>
              <a:gd name="connsiteX4" fmla="*/ 751 w 8783"/>
              <a:gd name="connsiteY4" fmla="*/ 1461 h 10000"/>
              <a:gd name="connsiteX5" fmla="*/ 3522 w 8783"/>
              <a:gd name="connsiteY5" fmla="*/ 1461 h 10000"/>
              <a:gd name="connsiteX6" fmla="*/ 3582 w 8783"/>
              <a:gd name="connsiteY6" fmla="*/ 1796 h 10000"/>
              <a:gd name="connsiteX7" fmla="*/ 3582 w 8783"/>
              <a:gd name="connsiteY7" fmla="*/ 9665 h 10000"/>
              <a:gd name="connsiteX8" fmla="*/ 3644 w 8783"/>
              <a:gd name="connsiteY8" fmla="*/ 10000 h 10000"/>
              <a:gd name="connsiteX9" fmla="*/ 5556 w 8783"/>
              <a:gd name="connsiteY9" fmla="*/ 10000 h 10000"/>
              <a:gd name="connsiteX10" fmla="*/ 5617 w 8783"/>
              <a:gd name="connsiteY10" fmla="*/ 9665 h 10000"/>
              <a:gd name="connsiteX11" fmla="*/ 5617 w 8783"/>
              <a:gd name="connsiteY11" fmla="*/ 335 h 10000"/>
              <a:gd name="connsiteX12" fmla="*/ 5678 w 8783"/>
              <a:gd name="connsiteY12" fmla="*/ 0 h 10000"/>
              <a:gd name="connsiteX13" fmla="*/ 7050 w 8783"/>
              <a:gd name="connsiteY13" fmla="*/ 0 h 10000"/>
              <a:gd name="connsiteX14" fmla="*/ 7114 w 8783"/>
              <a:gd name="connsiteY14" fmla="*/ 335 h 10000"/>
              <a:gd name="connsiteX15" fmla="*/ 7114 w 8783"/>
              <a:gd name="connsiteY15" fmla="*/ 8575 h 10000"/>
              <a:gd name="connsiteX16" fmla="*/ 7176 w 8783"/>
              <a:gd name="connsiteY16" fmla="*/ 8910 h 10000"/>
              <a:gd name="connsiteX17" fmla="*/ 8783 w 8783"/>
              <a:gd name="connsiteY17" fmla="*/ 8893 h 10000"/>
              <a:gd name="connsiteX0" fmla="*/ 0 w 9997"/>
              <a:gd name="connsiteY0" fmla="*/ 7857 h 10000"/>
              <a:gd name="connsiteX1" fmla="*/ 716 w 9997"/>
              <a:gd name="connsiteY1" fmla="*/ 7868 h 10000"/>
              <a:gd name="connsiteX2" fmla="*/ 787 w 9997"/>
              <a:gd name="connsiteY2" fmla="*/ 7533 h 10000"/>
              <a:gd name="connsiteX3" fmla="*/ 787 w 9997"/>
              <a:gd name="connsiteY3" fmla="*/ 1796 h 10000"/>
              <a:gd name="connsiteX4" fmla="*/ 855 w 9997"/>
              <a:gd name="connsiteY4" fmla="*/ 1461 h 10000"/>
              <a:gd name="connsiteX5" fmla="*/ 4010 w 9997"/>
              <a:gd name="connsiteY5" fmla="*/ 1461 h 10000"/>
              <a:gd name="connsiteX6" fmla="*/ 4078 w 9997"/>
              <a:gd name="connsiteY6" fmla="*/ 1796 h 10000"/>
              <a:gd name="connsiteX7" fmla="*/ 4078 w 9997"/>
              <a:gd name="connsiteY7" fmla="*/ 9665 h 10000"/>
              <a:gd name="connsiteX8" fmla="*/ 4149 w 9997"/>
              <a:gd name="connsiteY8" fmla="*/ 10000 h 10000"/>
              <a:gd name="connsiteX9" fmla="*/ 6326 w 9997"/>
              <a:gd name="connsiteY9" fmla="*/ 10000 h 10000"/>
              <a:gd name="connsiteX10" fmla="*/ 6395 w 9997"/>
              <a:gd name="connsiteY10" fmla="*/ 9665 h 10000"/>
              <a:gd name="connsiteX11" fmla="*/ 6395 w 9997"/>
              <a:gd name="connsiteY11" fmla="*/ 335 h 10000"/>
              <a:gd name="connsiteX12" fmla="*/ 6465 w 9997"/>
              <a:gd name="connsiteY12" fmla="*/ 0 h 10000"/>
              <a:gd name="connsiteX13" fmla="*/ 8027 w 9997"/>
              <a:gd name="connsiteY13" fmla="*/ 0 h 10000"/>
              <a:gd name="connsiteX14" fmla="*/ 8100 w 9997"/>
              <a:gd name="connsiteY14" fmla="*/ 335 h 10000"/>
              <a:gd name="connsiteX15" fmla="*/ 8100 w 9997"/>
              <a:gd name="connsiteY15" fmla="*/ 8575 h 10000"/>
              <a:gd name="connsiteX16" fmla="*/ 8170 w 9997"/>
              <a:gd name="connsiteY16" fmla="*/ 8910 h 10000"/>
              <a:gd name="connsiteX17" fmla="*/ 9997 w 9997"/>
              <a:gd name="connsiteY17" fmla="*/ 8927 h 10000"/>
              <a:gd name="connsiteX0" fmla="*/ 0 w 10000"/>
              <a:gd name="connsiteY0" fmla="*/ 7857 h 10000"/>
              <a:gd name="connsiteX1" fmla="*/ 71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1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1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35 h 10000"/>
              <a:gd name="connsiteX17" fmla="*/ 10000 w 10000"/>
              <a:gd name="connsiteY17" fmla="*/ 8927 h 10000"/>
              <a:gd name="connsiteX0" fmla="*/ 0 w 10008"/>
              <a:gd name="connsiteY0" fmla="*/ 7857 h 10000"/>
              <a:gd name="connsiteX1" fmla="*/ 726 w 10008"/>
              <a:gd name="connsiteY1" fmla="*/ 7855 h 10000"/>
              <a:gd name="connsiteX2" fmla="*/ 787 w 10008"/>
              <a:gd name="connsiteY2" fmla="*/ 7533 h 10000"/>
              <a:gd name="connsiteX3" fmla="*/ 787 w 10008"/>
              <a:gd name="connsiteY3" fmla="*/ 1796 h 10000"/>
              <a:gd name="connsiteX4" fmla="*/ 855 w 10008"/>
              <a:gd name="connsiteY4" fmla="*/ 1461 h 10000"/>
              <a:gd name="connsiteX5" fmla="*/ 4011 w 10008"/>
              <a:gd name="connsiteY5" fmla="*/ 1461 h 10000"/>
              <a:gd name="connsiteX6" fmla="*/ 4079 w 10008"/>
              <a:gd name="connsiteY6" fmla="*/ 1796 h 10000"/>
              <a:gd name="connsiteX7" fmla="*/ 4079 w 10008"/>
              <a:gd name="connsiteY7" fmla="*/ 9665 h 10000"/>
              <a:gd name="connsiteX8" fmla="*/ 4150 w 10008"/>
              <a:gd name="connsiteY8" fmla="*/ 10000 h 10000"/>
              <a:gd name="connsiteX9" fmla="*/ 6328 w 10008"/>
              <a:gd name="connsiteY9" fmla="*/ 10000 h 10000"/>
              <a:gd name="connsiteX10" fmla="*/ 6397 w 10008"/>
              <a:gd name="connsiteY10" fmla="*/ 9665 h 10000"/>
              <a:gd name="connsiteX11" fmla="*/ 6397 w 10008"/>
              <a:gd name="connsiteY11" fmla="*/ 335 h 10000"/>
              <a:gd name="connsiteX12" fmla="*/ 6467 w 10008"/>
              <a:gd name="connsiteY12" fmla="*/ 0 h 10000"/>
              <a:gd name="connsiteX13" fmla="*/ 8029 w 10008"/>
              <a:gd name="connsiteY13" fmla="*/ 0 h 10000"/>
              <a:gd name="connsiteX14" fmla="*/ 8102 w 10008"/>
              <a:gd name="connsiteY14" fmla="*/ 335 h 10000"/>
              <a:gd name="connsiteX15" fmla="*/ 8102 w 10008"/>
              <a:gd name="connsiteY15" fmla="*/ 8575 h 10000"/>
              <a:gd name="connsiteX16" fmla="*/ 8172 w 10008"/>
              <a:gd name="connsiteY16" fmla="*/ 8935 h 10000"/>
              <a:gd name="connsiteX17" fmla="*/ 10008 w 10008"/>
              <a:gd name="connsiteY17" fmla="*/ 8927 h 10000"/>
              <a:gd name="connsiteX0" fmla="*/ 0 w 10016"/>
              <a:gd name="connsiteY0" fmla="*/ 7857 h 10000"/>
              <a:gd name="connsiteX1" fmla="*/ 726 w 10016"/>
              <a:gd name="connsiteY1" fmla="*/ 7855 h 10000"/>
              <a:gd name="connsiteX2" fmla="*/ 787 w 10016"/>
              <a:gd name="connsiteY2" fmla="*/ 7533 h 10000"/>
              <a:gd name="connsiteX3" fmla="*/ 787 w 10016"/>
              <a:gd name="connsiteY3" fmla="*/ 1796 h 10000"/>
              <a:gd name="connsiteX4" fmla="*/ 855 w 10016"/>
              <a:gd name="connsiteY4" fmla="*/ 1461 h 10000"/>
              <a:gd name="connsiteX5" fmla="*/ 4011 w 10016"/>
              <a:gd name="connsiteY5" fmla="*/ 1461 h 10000"/>
              <a:gd name="connsiteX6" fmla="*/ 4079 w 10016"/>
              <a:gd name="connsiteY6" fmla="*/ 1796 h 10000"/>
              <a:gd name="connsiteX7" fmla="*/ 4079 w 10016"/>
              <a:gd name="connsiteY7" fmla="*/ 9665 h 10000"/>
              <a:gd name="connsiteX8" fmla="*/ 4150 w 10016"/>
              <a:gd name="connsiteY8" fmla="*/ 10000 h 10000"/>
              <a:gd name="connsiteX9" fmla="*/ 6328 w 10016"/>
              <a:gd name="connsiteY9" fmla="*/ 10000 h 10000"/>
              <a:gd name="connsiteX10" fmla="*/ 6397 w 10016"/>
              <a:gd name="connsiteY10" fmla="*/ 9665 h 10000"/>
              <a:gd name="connsiteX11" fmla="*/ 6397 w 10016"/>
              <a:gd name="connsiteY11" fmla="*/ 335 h 10000"/>
              <a:gd name="connsiteX12" fmla="*/ 6467 w 10016"/>
              <a:gd name="connsiteY12" fmla="*/ 0 h 10000"/>
              <a:gd name="connsiteX13" fmla="*/ 8029 w 10016"/>
              <a:gd name="connsiteY13" fmla="*/ 0 h 10000"/>
              <a:gd name="connsiteX14" fmla="*/ 8102 w 10016"/>
              <a:gd name="connsiteY14" fmla="*/ 335 h 10000"/>
              <a:gd name="connsiteX15" fmla="*/ 8102 w 10016"/>
              <a:gd name="connsiteY15" fmla="*/ 8575 h 10000"/>
              <a:gd name="connsiteX16" fmla="*/ 8172 w 10016"/>
              <a:gd name="connsiteY16" fmla="*/ 8935 h 10000"/>
              <a:gd name="connsiteX17" fmla="*/ 10016 w 10016"/>
              <a:gd name="connsiteY17" fmla="*/ 8940 h 10000"/>
              <a:gd name="connsiteX0" fmla="*/ 0 w 10016"/>
              <a:gd name="connsiteY0" fmla="*/ 7857 h 10000"/>
              <a:gd name="connsiteX1" fmla="*/ 726 w 10016"/>
              <a:gd name="connsiteY1" fmla="*/ 7855 h 10000"/>
              <a:gd name="connsiteX2" fmla="*/ 787 w 10016"/>
              <a:gd name="connsiteY2" fmla="*/ 7533 h 10000"/>
              <a:gd name="connsiteX3" fmla="*/ 787 w 10016"/>
              <a:gd name="connsiteY3" fmla="*/ 1796 h 10000"/>
              <a:gd name="connsiteX4" fmla="*/ 855 w 10016"/>
              <a:gd name="connsiteY4" fmla="*/ 1461 h 10000"/>
              <a:gd name="connsiteX5" fmla="*/ 4011 w 10016"/>
              <a:gd name="connsiteY5" fmla="*/ 1461 h 10000"/>
              <a:gd name="connsiteX6" fmla="*/ 4079 w 10016"/>
              <a:gd name="connsiteY6" fmla="*/ 1796 h 10000"/>
              <a:gd name="connsiteX7" fmla="*/ 4079 w 10016"/>
              <a:gd name="connsiteY7" fmla="*/ 9665 h 10000"/>
              <a:gd name="connsiteX8" fmla="*/ 4150 w 10016"/>
              <a:gd name="connsiteY8" fmla="*/ 10000 h 10000"/>
              <a:gd name="connsiteX9" fmla="*/ 6328 w 10016"/>
              <a:gd name="connsiteY9" fmla="*/ 10000 h 10000"/>
              <a:gd name="connsiteX10" fmla="*/ 6397 w 10016"/>
              <a:gd name="connsiteY10" fmla="*/ 9665 h 10000"/>
              <a:gd name="connsiteX11" fmla="*/ 6397 w 10016"/>
              <a:gd name="connsiteY11" fmla="*/ 335 h 10000"/>
              <a:gd name="connsiteX12" fmla="*/ 6467 w 10016"/>
              <a:gd name="connsiteY12" fmla="*/ 0 h 10000"/>
              <a:gd name="connsiteX13" fmla="*/ 8029 w 10016"/>
              <a:gd name="connsiteY13" fmla="*/ 0 h 10000"/>
              <a:gd name="connsiteX14" fmla="*/ 8102 w 10016"/>
              <a:gd name="connsiteY14" fmla="*/ 335 h 10000"/>
              <a:gd name="connsiteX15" fmla="*/ 8102 w 10016"/>
              <a:gd name="connsiteY15" fmla="*/ 8575 h 10000"/>
              <a:gd name="connsiteX16" fmla="*/ 8172 w 10016"/>
              <a:gd name="connsiteY16" fmla="*/ 8935 h 10000"/>
              <a:gd name="connsiteX17" fmla="*/ 10016 w 10016"/>
              <a:gd name="connsiteY17" fmla="*/ 8927 h 10000"/>
              <a:gd name="connsiteX0" fmla="*/ 0 w 10050"/>
              <a:gd name="connsiteY0" fmla="*/ 7857 h 10000"/>
              <a:gd name="connsiteX1" fmla="*/ 726 w 10050"/>
              <a:gd name="connsiteY1" fmla="*/ 7855 h 10000"/>
              <a:gd name="connsiteX2" fmla="*/ 787 w 10050"/>
              <a:gd name="connsiteY2" fmla="*/ 7533 h 10000"/>
              <a:gd name="connsiteX3" fmla="*/ 787 w 10050"/>
              <a:gd name="connsiteY3" fmla="*/ 1796 h 10000"/>
              <a:gd name="connsiteX4" fmla="*/ 855 w 10050"/>
              <a:gd name="connsiteY4" fmla="*/ 1461 h 10000"/>
              <a:gd name="connsiteX5" fmla="*/ 4011 w 10050"/>
              <a:gd name="connsiteY5" fmla="*/ 1461 h 10000"/>
              <a:gd name="connsiteX6" fmla="*/ 4079 w 10050"/>
              <a:gd name="connsiteY6" fmla="*/ 1796 h 10000"/>
              <a:gd name="connsiteX7" fmla="*/ 4079 w 10050"/>
              <a:gd name="connsiteY7" fmla="*/ 9665 h 10000"/>
              <a:gd name="connsiteX8" fmla="*/ 4150 w 10050"/>
              <a:gd name="connsiteY8" fmla="*/ 10000 h 10000"/>
              <a:gd name="connsiteX9" fmla="*/ 6328 w 10050"/>
              <a:gd name="connsiteY9" fmla="*/ 10000 h 10000"/>
              <a:gd name="connsiteX10" fmla="*/ 6397 w 10050"/>
              <a:gd name="connsiteY10" fmla="*/ 9665 h 10000"/>
              <a:gd name="connsiteX11" fmla="*/ 6397 w 10050"/>
              <a:gd name="connsiteY11" fmla="*/ 335 h 10000"/>
              <a:gd name="connsiteX12" fmla="*/ 6467 w 10050"/>
              <a:gd name="connsiteY12" fmla="*/ 0 h 10000"/>
              <a:gd name="connsiteX13" fmla="*/ 8029 w 10050"/>
              <a:gd name="connsiteY13" fmla="*/ 0 h 10000"/>
              <a:gd name="connsiteX14" fmla="*/ 8102 w 10050"/>
              <a:gd name="connsiteY14" fmla="*/ 335 h 10000"/>
              <a:gd name="connsiteX15" fmla="*/ 8102 w 10050"/>
              <a:gd name="connsiteY15" fmla="*/ 8575 h 10000"/>
              <a:gd name="connsiteX16" fmla="*/ 8172 w 10050"/>
              <a:gd name="connsiteY16" fmla="*/ 8935 h 10000"/>
              <a:gd name="connsiteX17" fmla="*/ 10050 w 10050"/>
              <a:gd name="connsiteY17" fmla="*/ 8927 h 10000"/>
              <a:gd name="connsiteX0" fmla="*/ 0 w 10037"/>
              <a:gd name="connsiteY0" fmla="*/ 7857 h 10000"/>
              <a:gd name="connsiteX1" fmla="*/ 726 w 10037"/>
              <a:gd name="connsiteY1" fmla="*/ 7855 h 10000"/>
              <a:gd name="connsiteX2" fmla="*/ 787 w 10037"/>
              <a:gd name="connsiteY2" fmla="*/ 7533 h 10000"/>
              <a:gd name="connsiteX3" fmla="*/ 787 w 10037"/>
              <a:gd name="connsiteY3" fmla="*/ 1796 h 10000"/>
              <a:gd name="connsiteX4" fmla="*/ 855 w 10037"/>
              <a:gd name="connsiteY4" fmla="*/ 1461 h 10000"/>
              <a:gd name="connsiteX5" fmla="*/ 4011 w 10037"/>
              <a:gd name="connsiteY5" fmla="*/ 1461 h 10000"/>
              <a:gd name="connsiteX6" fmla="*/ 4079 w 10037"/>
              <a:gd name="connsiteY6" fmla="*/ 1796 h 10000"/>
              <a:gd name="connsiteX7" fmla="*/ 4079 w 10037"/>
              <a:gd name="connsiteY7" fmla="*/ 9665 h 10000"/>
              <a:gd name="connsiteX8" fmla="*/ 4150 w 10037"/>
              <a:gd name="connsiteY8" fmla="*/ 10000 h 10000"/>
              <a:gd name="connsiteX9" fmla="*/ 6328 w 10037"/>
              <a:gd name="connsiteY9" fmla="*/ 10000 h 10000"/>
              <a:gd name="connsiteX10" fmla="*/ 6397 w 10037"/>
              <a:gd name="connsiteY10" fmla="*/ 9665 h 10000"/>
              <a:gd name="connsiteX11" fmla="*/ 6397 w 10037"/>
              <a:gd name="connsiteY11" fmla="*/ 335 h 10000"/>
              <a:gd name="connsiteX12" fmla="*/ 6467 w 10037"/>
              <a:gd name="connsiteY12" fmla="*/ 0 h 10000"/>
              <a:gd name="connsiteX13" fmla="*/ 8029 w 10037"/>
              <a:gd name="connsiteY13" fmla="*/ 0 h 10000"/>
              <a:gd name="connsiteX14" fmla="*/ 8102 w 10037"/>
              <a:gd name="connsiteY14" fmla="*/ 335 h 10000"/>
              <a:gd name="connsiteX15" fmla="*/ 8102 w 10037"/>
              <a:gd name="connsiteY15" fmla="*/ 8575 h 10000"/>
              <a:gd name="connsiteX16" fmla="*/ 8172 w 10037"/>
              <a:gd name="connsiteY16" fmla="*/ 8935 h 10000"/>
              <a:gd name="connsiteX17" fmla="*/ 10037 w 10037"/>
              <a:gd name="connsiteY17" fmla="*/ 8940 h 10000"/>
              <a:gd name="connsiteX0" fmla="*/ 0 w 10037"/>
              <a:gd name="connsiteY0" fmla="*/ 7857 h 10000"/>
              <a:gd name="connsiteX1" fmla="*/ 726 w 10037"/>
              <a:gd name="connsiteY1" fmla="*/ 7855 h 10000"/>
              <a:gd name="connsiteX2" fmla="*/ 787 w 10037"/>
              <a:gd name="connsiteY2" fmla="*/ 7533 h 10000"/>
              <a:gd name="connsiteX3" fmla="*/ 787 w 10037"/>
              <a:gd name="connsiteY3" fmla="*/ 1796 h 10000"/>
              <a:gd name="connsiteX4" fmla="*/ 855 w 10037"/>
              <a:gd name="connsiteY4" fmla="*/ 1461 h 10000"/>
              <a:gd name="connsiteX5" fmla="*/ 4011 w 10037"/>
              <a:gd name="connsiteY5" fmla="*/ 1461 h 10000"/>
              <a:gd name="connsiteX6" fmla="*/ 4079 w 10037"/>
              <a:gd name="connsiteY6" fmla="*/ 1796 h 10000"/>
              <a:gd name="connsiteX7" fmla="*/ 4079 w 10037"/>
              <a:gd name="connsiteY7" fmla="*/ 9665 h 10000"/>
              <a:gd name="connsiteX8" fmla="*/ 4150 w 10037"/>
              <a:gd name="connsiteY8" fmla="*/ 10000 h 10000"/>
              <a:gd name="connsiteX9" fmla="*/ 6328 w 10037"/>
              <a:gd name="connsiteY9" fmla="*/ 10000 h 10000"/>
              <a:gd name="connsiteX10" fmla="*/ 6397 w 10037"/>
              <a:gd name="connsiteY10" fmla="*/ 9665 h 10000"/>
              <a:gd name="connsiteX11" fmla="*/ 6397 w 10037"/>
              <a:gd name="connsiteY11" fmla="*/ 335 h 10000"/>
              <a:gd name="connsiteX12" fmla="*/ 6467 w 10037"/>
              <a:gd name="connsiteY12" fmla="*/ 0 h 10000"/>
              <a:gd name="connsiteX13" fmla="*/ 8029 w 10037"/>
              <a:gd name="connsiteY13" fmla="*/ 0 h 10000"/>
              <a:gd name="connsiteX14" fmla="*/ 8102 w 10037"/>
              <a:gd name="connsiteY14" fmla="*/ 335 h 10000"/>
              <a:gd name="connsiteX15" fmla="*/ 8102 w 10037"/>
              <a:gd name="connsiteY15" fmla="*/ 8575 h 10000"/>
              <a:gd name="connsiteX16" fmla="*/ 8172 w 10037"/>
              <a:gd name="connsiteY16" fmla="*/ 8935 h 10000"/>
              <a:gd name="connsiteX17" fmla="*/ 10037 w 10037"/>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28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28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66 h 10000"/>
              <a:gd name="connsiteX0" fmla="*/ 0 w 9995"/>
              <a:gd name="connsiteY0" fmla="*/ 7857 h 10000"/>
              <a:gd name="connsiteX1" fmla="*/ 726 w 9995"/>
              <a:gd name="connsiteY1" fmla="*/ 7855 h 10000"/>
              <a:gd name="connsiteX2" fmla="*/ 787 w 9995"/>
              <a:gd name="connsiteY2" fmla="*/ 7533 h 10000"/>
              <a:gd name="connsiteX3" fmla="*/ 787 w 9995"/>
              <a:gd name="connsiteY3" fmla="*/ 1796 h 10000"/>
              <a:gd name="connsiteX4" fmla="*/ 855 w 9995"/>
              <a:gd name="connsiteY4" fmla="*/ 1461 h 10000"/>
              <a:gd name="connsiteX5" fmla="*/ 4011 w 9995"/>
              <a:gd name="connsiteY5" fmla="*/ 1461 h 10000"/>
              <a:gd name="connsiteX6" fmla="*/ 4079 w 9995"/>
              <a:gd name="connsiteY6" fmla="*/ 1796 h 10000"/>
              <a:gd name="connsiteX7" fmla="*/ 4079 w 9995"/>
              <a:gd name="connsiteY7" fmla="*/ 9665 h 10000"/>
              <a:gd name="connsiteX8" fmla="*/ 4150 w 9995"/>
              <a:gd name="connsiteY8" fmla="*/ 10000 h 10000"/>
              <a:gd name="connsiteX9" fmla="*/ 6328 w 9995"/>
              <a:gd name="connsiteY9" fmla="*/ 10000 h 10000"/>
              <a:gd name="connsiteX10" fmla="*/ 6397 w 9995"/>
              <a:gd name="connsiteY10" fmla="*/ 9665 h 10000"/>
              <a:gd name="connsiteX11" fmla="*/ 6397 w 9995"/>
              <a:gd name="connsiteY11" fmla="*/ 335 h 10000"/>
              <a:gd name="connsiteX12" fmla="*/ 6467 w 9995"/>
              <a:gd name="connsiteY12" fmla="*/ 0 h 10000"/>
              <a:gd name="connsiteX13" fmla="*/ 8029 w 9995"/>
              <a:gd name="connsiteY13" fmla="*/ 0 h 10000"/>
              <a:gd name="connsiteX14" fmla="*/ 8102 w 9995"/>
              <a:gd name="connsiteY14" fmla="*/ 335 h 10000"/>
              <a:gd name="connsiteX15" fmla="*/ 8102 w 9995"/>
              <a:gd name="connsiteY15" fmla="*/ 8575 h 10000"/>
              <a:gd name="connsiteX16" fmla="*/ 8172 w 9995"/>
              <a:gd name="connsiteY16" fmla="*/ 8935 h 10000"/>
              <a:gd name="connsiteX17" fmla="*/ 9995 w 9995"/>
              <a:gd name="connsiteY17" fmla="*/ 8916 h 10000"/>
              <a:gd name="connsiteX0" fmla="*/ 0 w 10005"/>
              <a:gd name="connsiteY0" fmla="*/ 7857 h 10000"/>
              <a:gd name="connsiteX1" fmla="*/ 726 w 10005"/>
              <a:gd name="connsiteY1" fmla="*/ 7855 h 10000"/>
              <a:gd name="connsiteX2" fmla="*/ 787 w 10005"/>
              <a:gd name="connsiteY2" fmla="*/ 7533 h 10000"/>
              <a:gd name="connsiteX3" fmla="*/ 787 w 10005"/>
              <a:gd name="connsiteY3" fmla="*/ 1796 h 10000"/>
              <a:gd name="connsiteX4" fmla="*/ 855 w 10005"/>
              <a:gd name="connsiteY4" fmla="*/ 1461 h 10000"/>
              <a:gd name="connsiteX5" fmla="*/ 4013 w 10005"/>
              <a:gd name="connsiteY5" fmla="*/ 1461 h 10000"/>
              <a:gd name="connsiteX6" fmla="*/ 4081 w 10005"/>
              <a:gd name="connsiteY6" fmla="*/ 1796 h 10000"/>
              <a:gd name="connsiteX7" fmla="*/ 4081 w 10005"/>
              <a:gd name="connsiteY7" fmla="*/ 9665 h 10000"/>
              <a:gd name="connsiteX8" fmla="*/ 4152 w 10005"/>
              <a:gd name="connsiteY8" fmla="*/ 10000 h 10000"/>
              <a:gd name="connsiteX9" fmla="*/ 6331 w 10005"/>
              <a:gd name="connsiteY9" fmla="*/ 10000 h 10000"/>
              <a:gd name="connsiteX10" fmla="*/ 6400 w 10005"/>
              <a:gd name="connsiteY10" fmla="*/ 9665 h 10000"/>
              <a:gd name="connsiteX11" fmla="*/ 6400 w 10005"/>
              <a:gd name="connsiteY11" fmla="*/ 335 h 10000"/>
              <a:gd name="connsiteX12" fmla="*/ 6470 w 10005"/>
              <a:gd name="connsiteY12" fmla="*/ 0 h 10000"/>
              <a:gd name="connsiteX13" fmla="*/ 8033 w 10005"/>
              <a:gd name="connsiteY13" fmla="*/ 0 h 10000"/>
              <a:gd name="connsiteX14" fmla="*/ 8106 w 10005"/>
              <a:gd name="connsiteY14" fmla="*/ 335 h 10000"/>
              <a:gd name="connsiteX15" fmla="*/ 8106 w 10005"/>
              <a:gd name="connsiteY15" fmla="*/ 8575 h 10000"/>
              <a:gd name="connsiteX16" fmla="*/ 8176 w 10005"/>
              <a:gd name="connsiteY16" fmla="*/ 8935 h 10000"/>
              <a:gd name="connsiteX17" fmla="*/ 10005 w 10005"/>
              <a:gd name="connsiteY17" fmla="*/ 8941 h 10000"/>
              <a:gd name="connsiteX0" fmla="*/ 0 w 10005"/>
              <a:gd name="connsiteY0" fmla="*/ 7857 h 10000"/>
              <a:gd name="connsiteX1" fmla="*/ 726 w 10005"/>
              <a:gd name="connsiteY1" fmla="*/ 7855 h 10000"/>
              <a:gd name="connsiteX2" fmla="*/ 787 w 10005"/>
              <a:gd name="connsiteY2" fmla="*/ 7533 h 10000"/>
              <a:gd name="connsiteX3" fmla="*/ 787 w 10005"/>
              <a:gd name="connsiteY3" fmla="*/ 1796 h 10000"/>
              <a:gd name="connsiteX4" fmla="*/ 855 w 10005"/>
              <a:gd name="connsiteY4" fmla="*/ 1461 h 10000"/>
              <a:gd name="connsiteX5" fmla="*/ 4013 w 10005"/>
              <a:gd name="connsiteY5" fmla="*/ 1461 h 10000"/>
              <a:gd name="connsiteX6" fmla="*/ 4081 w 10005"/>
              <a:gd name="connsiteY6" fmla="*/ 1796 h 10000"/>
              <a:gd name="connsiteX7" fmla="*/ 4081 w 10005"/>
              <a:gd name="connsiteY7" fmla="*/ 9665 h 10000"/>
              <a:gd name="connsiteX8" fmla="*/ 4152 w 10005"/>
              <a:gd name="connsiteY8" fmla="*/ 10000 h 10000"/>
              <a:gd name="connsiteX9" fmla="*/ 6331 w 10005"/>
              <a:gd name="connsiteY9" fmla="*/ 10000 h 10000"/>
              <a:gd name="connsiteX10" fmla="*/ 6400 w 10005"/>
              <a:gd name="connsiteY10" fmla="*/ 9665 h 10000"/>
              <a:gd name="connsiteX11" fmla="*/ 6400 w 10005"/>
              <a:gd name="connsiteY11" fmla="*/ 335 h 10000"/>
              <a:gd name="connsiteX12" fmla="*/ 6470 w 10005"/>
              <a:gd name="connsiteY12" fmla="*/ 0 h 10000"/>
              <a:gd name="connsiteX13" fmla="*/ 8033 w 10005"/>
              <a:gd name="connsiteY13" fmla="*/ 0 h 10000"/>
              <a:gd name="connsiteX14" fmla="*/ 8106 w 10005"/>
              <a:gd name="connsiteY14" fmla="*/ 335 h 10000"/>
              <a:gd name="connsiteX15" fmla="*/ 8106 w 10005"/>
              <a:gd name="connsiteY15" fmla="*/ 8575 h 10000"/>
              <a:gd name="connsiteX16" fmla="*/ 8176 w 10005"/>
              <a:gd name="connsiteY16" fmla="*/ 8935 h 10000"/>
              <a:gd name="connsiteX17" fmla="*/ 10005 w 10005"/>
              <a:gd name="connsiteY17" fmla="*/ 8941 h 10000"/>
              <a:gd name="connsiteX0" fmla="*/ 0 w 10005"/>
              <a:gd name="connsiteY0" fmla="*/ 7857 h 10000"/>
              <a:gd name="connsiteX1" fmla="*/ 726 w 10005"/>
              <a:gd name="connsiteY1" fmla="*/ 7855 h 10000"/>
              <a:gd name="connsiteX2" fmla="*/ 787 w 10005"/>
              <a:gd name="connsiteY2" fmla="*/ 7533 h 10000"/>
              <a:gd name="connsiteX3" fmla="*/ 787 w 10005"/>
              <a:gd name="connsiteY3" fmla="*/ 1796 h 10000"/>
              <a:gd name="connsiteX4" fmla="*/ 855 w 10005"/>
              <a:gd name="connsiteY4" fmla="*/ 1461 h 10000"/>
              <a:gd name="connsiteX5" fmla="*/ 4013 w 10005"/>
              <a:gd name="connsiteY5" fmla="*/ 1461 h 10000"/>
              <a:gd name="connsiteX6" fmla="*/ 4081 w 10005"/>
              <a:gd name="connsiteY6" fmla="*/ 1796 h 10000"/>
              <a:gd name="connsiteX7" fmla="*/ 4081 w 10005"/>
              <a:gd name="connsiteY7" fmla="*/ 9665 h 10000"/>
              <a:gd name="connsiteX8" fmla="*/ 4152 w 10005"/>
              <a:gd name="connsiteY8" fmla="*/ 10000 h 10000"/>
              <a:gd name="connsiteX9" fmla="*/ 6331 w 10005"/>
              <a:gd name="connsiteY9" fmla="*/ 10000 h 10000"/>
              <a:gd name="connsiteX10" fmla="*/ 6400 w 10005"/>
              <a:gd name="connsiteY10" fmla="*/ 9665 h 10000"/>
              <a:gd name="connsiteX11" fmla="*/ 6400 w 10005"/>
              <a:gd name="connsiteY11" fmla="*/ 335 h 10000"/>
              <a:gd name="connsiteX12" fmla="*/ 6470 w 10005"/>
              <a:gd name="connsiteY12" fmla="*/ 0 h 10000"/>
              <a:gd name="connsiteX13" fmla="*/ 8033 w 10005"/>
              <a:gd name="connsiteY13" fmla="*/ 0 h 10000"/>
              <a:gd name="connsiteX14" fmla="*/ 8106 w 10005"/>
              <a:gd name="connsiteY14" fmla="*/ 335 h 10000"/>
              <a:gd name="connsiteX15" fmla="*/ 8106 w 10005"/>
              <a:gd name="connsiteY15" fmla="*/ 8575 h 10000"/>
              <a:gd name="connsiteX16" fmla="*/ 8176 w 10005"/>
              <a:gd name="connsiteY16" fmla="*/ 8935 h 10000"/>
              <a:gd name="connsiteX17" fmla="*/ 10005 w 10005"/>
              <a:gd name="connsiteY17" fmla="*/ 8941 h 10000"/>
              <a:gd name="connsiteX0" fmla="*/ 0 w 10015"/>
              <a:gd name="connsiteY0" fmla="*/ 7857 h 10000"/>
              <a:gd name="connsiteX1" fmla="*/ 726 w 10015"/>
              <a:gd name="connsiteY1" fmla="*/ 7855 h 10000"/>
              <a:gd name="connsiteX2" fmla="*/ 787 w 10015"/>
              <a:gd name="connsiteY2" fmla="*/ 7533 h 10000"/>
              <a:gd name="connsiteX3" fmla="*/ 787 w 10015"/>
              <a:gd name="connsiteY3" fmla="*/ 1796 h 10000"/>
              <a:gd name="connsiteX4" fmla="*/ 855 w 10015"/>
              <a:gd name="connsiteY4" fmla="*/ 1461 h 10000"/>
              <a:gd name="connsiteX5" fmla="*/ 4013 w 10015"/>
              <a:gd name="connsiteY5" fmla="*/ 1461 h 10000"/>
              <a:gd name="connsiteX6" fmla="*/ 4081 w 10015"/>
              <a:gd name="connsiteY6" fmla="*/ 1796 h 10000"/>
              <a:gd name="connsiteX7" fmla="*/ 4081 w 10015"/>
              <a:gd name="connsiteY7" fmla="*/ 9665 h 10000"/>
              <a:gd name="connsiteX8" fmla="*/ 4152 w 10015"/>
              <a:gd name="connsiteY8" fmla="*/ 10000 h 10000"/>
              <a:gd name="connsiteX9" fmla="*/ 6331 w 10015"/>
              <a:gd name="connsiteY9" fmla="*/ 10000 h 10000"/>
              <a:gd name="connsiteX10" fmla="*/ 6400 w 10015"/>
              <a:gd name="connsiteY10" fmla="*/ 9665 h 10000"/>
              <a:gd name="connsiteX11" fmla="*/ 6400 w 10015"/>
              <a:gd name="connsiteY11" fmla="*/ 335 h 10000"/>
              <a:gd name="connsiteX12" fmla="*/ 6470 w 10015"/>
              <a:gd name="connsiteY12" fmla="*/ 0 h 10000"/>
              <a:gd name="connsiteX13" fmla="*/ 8033 w 10015"/>
              <a:gd name="connsiteY13" fmla="*/ 0 h 10000"/>
              <a:gd name="connsiteX14" fmla="*/ 8106 w 10015"/>
              <a:gd name="connsiteY14" fmla="*/ 335 h 10000"/>
              <a:gd name="connsiteX15" fmla="*/ 8106 w 10015"/>
              <a:gd name="connsiteY15" fmla="*/ 8575 h 10000"/>
              <a:gd name="connsiteX16" fmla="*/ 8176 w 10015"/>
              <a:gd name="connsiteY16" fmla="*/ 8935 h 10000"/>
              <a:gd name="connsiteX17" fmla="*/ 10015 w 10015"/>
              <a:gd name="connsiteY17" fmla="*/ 894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015" h="10000">
                <a:moveTo>
                  <a:pt x="0" y="7857"/>
                </a:moveTo>
                <a:cubicBezTo>
                  <a:pt x="34" y="7853"/>
                  <a:pt x="360" y="7855"/>
                  <a:pt x="726" y="7855"/>
                </a:cubicBezTo>
                <a:cubicBezTo>
                  <a:pt x="766" y="7855"/>
                  <a:pt x="787" y="7713"/>
                  <a:pt x="787" y="7533"/>
                </a:cubicBezTo>
                <a:lnTo>
                  <a:pt x="787" y="1796"/>
                </a:lnTo>
                <a:cubicBezTo>
                  <a:pt x="787" y="1605"/>
                  <a:pt x="815" y="1461"/>
                  <a:pt x="855" y="1461"/>
                </a:cubicBezTo>
                <a:lnTo>
                  <a:pt x="4013" y="1461"/>
                </a:lnTo>
                <a:cubicBezTo>
                  <a:pt x="4049" y="1461"/>
                  <a:pt x="4081" y="1605"/>
                  <a:pt x="4081" y="1796"/>
                </a:cubicBezTo>
                <a:lnTo>
                  <a:pt x="4081" y="9665"/>
                </a:lnTo>
                <a:cubicBezTo>
                  <a:pt x="4081" y="9844"/>
                  <a:pt x="4112" y="10000"/>
                  <a:pt x="4152" y="10000"/>
                </a:cubicBezTo>
                <a:lnTo>
                  <a:pt x="6331" y="10000"/>
                </a:lnTo>
                <a:cubicBezTo>
                  <a:pt x="6371" y="10000"/>
                  <a:pt x="6400" y="9844"/>
                  <a:pt x="6400" y="9665"/>
                </a:cubicBezTo>
                <a:lnTo>
                  <a:pt x="6400" y="335"/>
                </a:lnTo>
                <a:cubicBezTo>
                  <a:pt x="6400" y="156"/>
                  <a:pt x="6432" y="0"/>
                  <a:pt x="6470" y="0"/>
                </a:cubicBezTo>
                <a:lnTo>
                  <a:pt x="8033" y="0"/>
                </a:lnTo>
                <a:cubicBezTo>
                  <a:pt x="8075" y="0"/>
                  <a:pt x="8106" y="156"/>
                  <a:pt x="8106" y="335"/>
                </a:cubicBezTo>
                <a:lnTo>
                  <a:pt x="8106" y="8575"/>
                </a:lnTo>
                <a:cubicBezTo>
                  <a:pt x="8106" y="8754"/>
                  <a:pt x="8138" y="8935"/>
                  <a:pt x="8176" y="8935"/>
                </a:cubicBezTo>
                <a:cubicBezTo>
                  <a:pt x="8276" y="8937"/>
                  <a:pt x="9405" y="8939"/>
                  <a:pt x="10015" y="8941"/>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Freeform 10"/>
          <p:cNvSpPr>
            <a:spLocks/>
          </p:cNvSpPr>
          <p:nvPr/>
        </p:nvSpPr>
        <p:spPr bwMode="gray">
          <a:xfrm>
            <a:off x="3" y="4482313"/>
            <a:ext cx="9143997" cy="1084634"/>
          </a:xfrm>
          <a:custGeom>
            <a:avLst/>
            <a:gdLst>
              <a:gd name="T0" fmla="*/ 0 w 8479"/>
              <a:gd name="T1" fmla="*/ 130 h 583"/>
              <a:gd name="T2" fmla="*/ 419 w 8479"/>
              <a:gd name="T3" fmla="*/ 130 h 583"/>
              <a:gd name="T4" fmla="*/ 447 w 8479"/>
              <a:gd name="T5" fmla="*/ 158 h 583"/>
              <a:gd name="T6" fmla="*/ 447 w 8479"/>
              <a:gd name="T7" fmla="*/ 458 h 583"/>
              <a:gd name="T8" fmla="*/ 475 w 8479"/>
              <a:gd name="T9" fmla="*/ 486 h 583"/>
              <a:gd name="T10" fmla="*/ 1724 w 8479"/>
              <a:gd name="T11" fmla="*/ 486 h 583"/>
              <a:gd name="T12" fmla="*/ 1752 w 8479"/>
              <a:gd name="T13" fmla="*/ 458 h 583"/>
              <a:gd name="T14" fmla="*/ 1752 w 8479"/>
              <a:gd name="T15" fmla="*/ 36 h 583"/>
              <a:gd name="T16" fmla="*/ 1780 w 8479"/>
              <a:gd name="T17" fmla="*/ 8 h 583"/>
              <a:gd name="T18" fmla="*/ 2675 w 8479"/>
              <a:gd name="T19" fmla="*/ 8 h 583"/>
              <a:gd name="T20" fmla="*/ 2703 w 8479"/>
              <a:gd name="T21" fmla="*/ 36 h 583"/>
              <a:gd name="T22" fmla="*/ 2703 w 8479"/>
              <a:gd name="T23" fmla="*/ 458 h 583"/>
              <a:gd name="T24" fmla="*/ 2731 w 8479"/>
              <a:gd name="T25" fmla="*/ 486 h 583"/>
              <a:gd name="T26" fmla="*/ 4228 w 8479"/>
              <a:gd name="T27" fmla="*/ 486 h 583"/>
              <a:gd name="T28" fmla="*/ 4256 w 8479"/>
              <a:gd name="T29" fmla="*/ 458 h 583"/>
              <a:gd name="T30" fmla="*/ 4256 w 8479"/>
              <a:gd name="T31" fmla="*/ 214 h 583"/>
              <a:gd name="T32" fmla="*/ 4284 w 8479"/>
              <a:gd name="T33" fmla="*/ 186 h 583"/>
              <a:gd name="T34" fmla="*/ 5867 w 8479"/>
              <a:gd name="T35" fmla="*/ 186 h 583"/>
              <a:gd name="T36" fmla="*/ 5895 w 8479"/>
              <a:gd name="T37" fmla="*/ 214 h 583"/>
              <a:gd name="T38" fmla="*/ 5895 w 8479"/>
              <a:gd name="T39" fmla="*/ 309 h 583"/>
              <a:gd name="T40" fmla="*/ 5923 w 8479"/>
              <a:gd name="T41" fmla="*/ 337 h 583"/>
              <a:gd name="T42" fmla="*/ 6495 w 8479"/>
              <a:gd name="T43" fmla="*/ 337 h 583"/>
              <a:gd name="T44" fmla="*/ 6523 w 8479"/>
              <a:gd name="T45" fmla="*/ 309 h 583"/>
              <a:gd name="T46" fmla="*/ 6523 w 8479"/>
              <a:gd name="T47" fmla="*/ 28 h 583"/>
              <a:gd name="T48" fmla="*/ 6551 w 8479"/>
              <a:gd name="T49" fmla="*/ 0 h 583"/>
              <a:gd name="T50" fmla="*/ 7543 w 8479"/>
              <a:gd name="T51" fmla="*/ 0 h 583"/>
              <a:gd name="T52" fmla="*/ 7571 w 8479"/>
              <a:gd name="T53" fmla="*/ 28 h 583"/>
              <a:gd name="T54" fmla="*/ 7571 w 8479"/>
              <a:gd name="T55" fmla="*/ 555 h 583"/>
              <a:gd name="T56" fmla="*/ 7599 w 8479"/>
              <a:gd name="T57" fmla="*/ 583 h 583"/>
              <a:gd name="T58" fmla="*/ 8479 w 8479"/>
              <a:gd name="T59" fmla="*/ 583 h 583"/>
              <a:gd name="connsiteX0" fmla="*/ 0 w 9506"/>
              <a:gd name="connsiteY0" fmla="*/ 2230 h 10000"/>
              <a:gd name="connsiteX1" fmla="*/ 33 w 9506"/>
              <a:gd name="connsiteY1" fmla="*/ 2710 h 10000"/>
              <a:gd name="connsiteX2" fmla="*/ 33 w 9506"/>
              <a:gd name="connsiteY2" fmla="*/ 7856 h 10000"/>
              <a:gd name="connsiteX3" fmla="*/ 66 w 9506"/>
              <a:gd name="connsiteY3" fmla="*/ 8336 h 10000"/>
              <a:gd name="connsiteX4" fmla="*/ 1539 w 9506"/>
              <a:gd name="connsiteY4" fmla="*/ 8336 h 10000"/>
              <a:gd name="connsiteX5" fmla="*/ 1572 w 9506"/>
              <a:gd name="connsiteY5" fmla="*/ 7856 h 10000"/>
              <a:gd name="connsiteX6" fmla="*/ 1572 w 9506"/>
              <a:gd name="connsiteY6" fmla="*/ 617 h 10000"/>
              <a:gd name="connsiteX7" fmla="*/ 1605 w 9506"/>
              <a:gd name="connsiteY7" fmla="*/ 137 h 10000"/>
              <a:gd name="connsiteX8" fmla="*/ 2661 w 9506"/>
              <a:gd name="connsiteY8" fmla="*/ 137 h 10000"/>
              <a:gd name="connsiteX9" fmla="*/ 2694 w 9506"/>
              <a:gd name="connsiteY9" fmla="*/ 617 h 10000"/>
              <a:gd name="connsiteX10" fmla="*/ 2694 w 9506"/>
              <a:gd name="connsiteY10" fmla="*/ 7856 h 10000"/>
              <a:gd name="connsiteX11" fmla="*/ 2727 w 9506"/>
              <a:gd name="connsiteY11" fmla="*/ 8336 h 10000"/>
              <a:gd name="connsiteX12" fmla="*/ 4492 w 9506"/>
              <a:gd name="connsiteY12" fmla="*/ 8336 h 10000"/>
              <a:gd name="connsiteX13" fmla="*/ 4525 w 9506"/>
              <a:gd name="connsiteY13" fmla="*/ 7856 h 10000"/>
              <a:gd name="connsiteX14" fmla="*/ 4525 w 9506"/>
              <a:gd name="connsiteY14" fmla="*/ 3671 h 10000"/>
              <a:gd name="connsiteX15" fmla="*/ 4558 w 9506"/>
              <a:gd name="connsiteY15" fmla="*/ 3190 h 10000"/>
              <a:gd name="connsiteX16" fmla="*/ 6425 w 9506"/>
              <a:gd name="connsiteY16" fmla="*/ 3190 h 10000"/>
              <a:gd name="connsiteX17" fmla="*/ 6458 w 9506"/>
              <a:gd name="connsiteY17" fmla="*/ 3671 h 10000"/>
              <a:gd name="connsiteX18" fmla="*/ 6458 w 9506"/>
              <a:gd name="connsiteY18" fmla="*/ 5300 h 10000"/>
              <a:gd name="connsiteX19" fmla="*/ 6491 w 9506"/>
              <a:gd name="connsiteY19" fmla="*/ 5780 h 10000"/>
              <a:gd name="connsiteX20" fmla="*/ 7166 w 9506"/>
              <a:gd name="connsiteY20" fmla="*/ 5780 h 10000"/>
              <a:gd name="connsiteX21" fmla="*/ 7199 w 9506"/>
              <a:gd name="connsiteY21" fmla="*/ 5300 h 10000"/>
              <a:gd name="connsiteX22" fmla="*/ 7199 w 9506"/>
              <a:gd name="connsiteY22" fmla="*/ 480 h 10000"/>
              <a:gd name="connsiteX23" fmla="*/ 7232 w 9506"/>
              <a:gd name="connsiteY23" fmla="*/ 0 h 10000"/>
              <a:gd name="connsiteX24" fmla="*/ 8402 w 9506"/>
              <a:gd name="connsiteY24" fmla="*/ 0 h 10000"/>
              <a:gd name="connsiteX25" fmla="*/ 8435 w 9506"/>
              <a:gd name="connsiteY25" fmla="*/ 480 h 10000"/>
              <a:gd name="connsiteX26" fmla="*/ 8435 w 9506"/>
              <a:gd name="connsiteY26" fmla="*/ 9520 h 10000"/>
              <a:gd name="connsiteX27" fmla="*/ 8468 w 9506"/>
              <a:gd name="connsiteY27" fmla="*/ 10000 h 10000"/>
              <a:gd name="connsiteX28" fmla="*/ 9506 w 9506"/>
              <a:gd name="connsiteY28" fmla="*/ 10000 h 10000"/>
              <a:gd name="connsiteX0" fmla="*/ 0 w 9965"/>
              <a:gd name="connsiteY0" fmla="*/ 2710 h 10000"/>
              <a:gd name="connsiteX1" fmla="*/ 0 w 9965"/>
              <a:gd name="connsiteY1" fmla="*/ 7856 h 10000"/>
              <a:gd name="connsiteX2" fmla="*/ 34 w 9965"/>
              <a:gd name="connsiteY2" fmla="*/ 8336 h 10000"/>
              <a:gd name="connsiteX3" fmla="*/ 1584 w 9965"/>
              <a:gd name="connsiteY3" fmla="*/ 8336 h 10000"/>
              <a:gd name="connsiteX4" fmla="*/ 1619 w 9965"/>
              <a:gd name="connsiteY4" fmla="*/ 7856 h 10000"/>
              <a:gd name="connsiteX5" fmla="*/ 1619 w 9965"/>
              <a:gd name="connsiteY5" fmla="*/ 617 h 10000"/>
              <a:gd name="connsiteX6" fmla="*/ 1653 w 9965"/>
              <a:gd name="connsiteY6" fmla="*/ 137 h 10000"/>
              <a:gd name="connsiteX7" fmla="*/ 2764 w 9965"/>
              <a:gd name="connsiteY7" fmla="*/ 137 h 10000"/>
              <a:gd name="connsiteX8" fmla="*/ 2799 w 9965"/>
              <a:gd name="connsiteY8" fmla="*/ 617 h 10000"/>
              <a:gd name="connsiteX9" fmla="*/ 2799 w 9965"/>
              <a:gd name="connsiteY9" fmla="*/ 7856 h 10000"/>
              <a:gd name="connsiteX10" fmla="*/ 2834 w 9965"/>
              <a:gd name="connsiteY10" fmla="*/ 8336 h 10000"/>
              <a:gd name="connsiteX11" fmla="*/ 4690 w 9965"/>
              <a:gd name="connsiteY11" fmla="*/ 8336 h 10000"/>
              <a:gd name="connsiteX12" fmla="*/ 4725 w 9965"/>
              <a:gd name="connsiteY12" fmla="*/ 7856 h 10000"/>
              <a:gd name="connsiteX13" fmla="*/ 4725 w 9965"/>
              <a:gd name="connsiteY13" fmla="*/ 3671 h 10000"/>
              <a:gd name="connsiteX14" fmla="*/ 4760 w 9965"/>
              <a:gd name="connsiteY14" fmla="*/ 3190 h 10000"/>
              <a:gd name="connsiteX15" fmla="*/ 6724 w 9965"/>
              <a:gd name="connsiteY15" fmla="*/ 3190 h 10000"/>
              <a:gd name="connsiteX16" fmla="*/ 6759 w 9965"/>
              <a:gd name="connsiteY16" fmla="*/ 3671 h 10000"/>
              <a:gd name="connsiteX17" fmla="*/ 6759 w 9965"/>
              <a:gd name="connsiteY17" fmla="*/ 5300 h 10000"/>
              <a:gd name="connsiteX18" fmla="*/ 6793 w 9965"/>
              <a:gd name="connsiteY18" fmla="*/ 5780 h 10000"/>
              <a:gd name="connsiteX19" fmla="*/ 7503 w 9965"/>
              <a:gd name="connsiteY19" fmla="*/ 5780 h 10000"/>
              <a:gd name="connsiteX20" fmla="*/ 7538 w 9965"/>
              <a:gd name="connsiteY20" fmla="*/ 5300 h 10000"/>
              <a:gd name="connsiteX21" fmla="*/ 7538 w 9965"/>
              <a:gd name="connsiteY21" fmla="*/ 480 h 10000"/>
              <a:gd name="connsiteX22" fmla="*/ 7573 w 9965"/>
              <a:gd name="connsiteY22" fmla="*/ 0 h 10000"/>
              <a:gd name="connsiteX23" fmla="*/ 8804 w 9965"/>
              <a:gd name="connsiteY23" fmla="*/ 0 h 10000"/>
              <a:gd name="connsiteX24" fmla="*/ 8838 w 9965"/>
              <a:gd name="connsiteY24" fmla="*/ 480 h 10000"/>
              <a:gd name="connsiteX25" fmla="*/ 8838 w 9965"/>
              <a:gd name="connsiteY25" fmla="*/ 9520 h 10000"/>
              <a:gd name="connsiteX26" fmla="*/ 8873 w 9965"/>
              <a:gd name="connsiteY26" fmla="*/ 10000 h 10000"/>
              <a:gd name="connsiteX27" fmla="*/ 9965 w 9965"/>
              <a:gd name="connsiteY27" fmla="*/ 10000 h 10000"/>
              <a:gd name="connsiteX0" fmla="*/ 0 w 10000"/>
              <a:gd name="connsiteY0" fmla="*/ 7856 h 10000"/>
              <a:gd name="connsiteX1" fmla="*/ 34 w 10000"/>
              <a:gd name="connsiteY1" fmla="*/ 8336 h 10000"/>
              <a:gd name="connsiteX2" fmla="*/ 1590 w 10000"/>
              <a:gd name="connsiteY2" fmla="*/ 8336 h 10000"/>
              <a:gd name="connsiteX3" fmla="*/ 1625 w 10000"/>
              <a:gd name="connsiteY3" fmla="*/ 7856 h 10000"/>
              <a:gd name="connsiteX4" fmla="*/ 1625 w 10000"/>
              <a:gd name="connsiteY4" fmla="*/ 617 h 10000"/>
              <a:gd name="connsiteX5" fmla="*/ 1659 w 10000"/>
              <a:gd name="connsiteY5" fmla="*/ 137 h 10000"/>
              <a:gd name="connsiteX6" fmla="*/ 2774 w 10000"/>
              <a:gd name="connsiteY6" fmla="*/ 137 h 10000"/>
              <a:gd name="connsiteX7" fmla="*/ 2809 w 10000"/>
              <a:gd name="connsiteY7" fmla="*/ 617 h 10000"/>
              <a:gd name="connsiteX8" fmla="*/ 2809 w 10000"/>
              <a:gd name="connsiteY8" fmla="*/ 7856 h 10000"/>
              <a:gd name="connsiteX9" fmla="*/ 2844 w 10000"/>
              <a:gd name="connsiteY9" fmla="*/ 8336 h 10000"/>
              <a:gd name="connsiteX10" fmla="*/ 4706 w 10000"/>
              <a:gd name="connsiteY10" fmla="*/ 8336 h 10000"/>
              <a:gd name="connsiteX11" fmla="*/ 4742 w 10000"/>
              <a:gd name="connsiteY11" fmla="*/ 7856 h 10000"/>
              <a:gd name="connsiteX12" fmla="*/ 4742 w 10000"/>
              <a:gd name="connsiteY12" fmla="*/ 3671 h 10000"/>
              <a:gd name="connsiteX13" fmla="*/ 4777 w 10000"/>
              <a:gd name="connsiteY13" fmla="*/ 3190 h 10000"/>
              <a:gd name="connsiteX14" fmla="*/ 6748 w 10000"/>
              <a:gd name="connsiteY14" fmla="*/ 3190 h 10000"/>
              <a:gd name="connsiteX15" fmla="*/ 6783 w 10000"/>
              <a:gd name="connsiteY15" fmla="*/ 3671 h 10000"/>
              <a:gd name="connsiteX16" fmla="*/ 6783 w 10000"/>
              <a:gd name="connsiteY16" fmla="*/ 5300 h 10000"/>
              <a:gd name="connsiteX17" fmla="*/ 6817 w 10000"/>
              <a:gd name="connsiteY17" fmla="*/ 5780 h 10000"/>
              <a:gd name="connsiteX18" fmla="*/ 7529 w 10000"/>
              <a:gd name="connsiteY18" fmla="*/ 5780 h 10000"/>
              <a:gd name="connsiteX19" fmla="*/ 7564 w 10000"/>
              <a:gd name="connsiteY19" fmla="*/ 5300 h 10000"/>
              <a:gd name="connsiteX20" fmla="*/ 7564 w 10000"/>
              <a:gd name="connsiteY20" fmla="*/ 480 h 10000"/>
              <a:gd name="connsiteX21" fmla="*/ 7600 w 10000"/>
              <a:gd name="connsiteY21" fmla="*/ 0 h 10000"/>
              <a:gd name="connsiteX22" fmla="*/ 8835 w 10000"/>
              <a:gd name="connsiteY22" fmla="*/ 0 h 10000"/>
              <a:gd name="connsiteX23" fmla="*/ 8869 w 10000"/>
              <a:gd name="connsiteY23" fmla="*/ 480 h 10000"/>
              <a:gd name="connsiteX24" fmla="*/ 8869 w 10000"/>
              <a:gd name="connsiteY24" fmla="*/ 9520 h 10000"/>
              <a:gd name="connsiteX25" fmla="*/ 8904 w 10000"/>
              <a:gd name="connsiteY25" fmla="*/ 10000 h 10000"/>
              <a:gd name="connsiteX26" fmla="*/ 10000 w 10000"/>
              <a:gd name="connsiteY26" fmla="*/ 10000 h 10000"/>
              <a:gd name="connsiteX0" fmla="*/ 0 w 9966"/>
              <a:gd name="connsiteY0" fmla="*/ 8336 h 10000"/>
              <a:gd name="connsiteX1" fmla="*/ 1556 w 9966"/>
              <a:gd name="connsiteY1" fmla="*/ 8336 h 10000"/>
              <a:gd name="connsiteX2" fmla="*/ 1591 w 9966"/>
              <a:gd name="connsiteY2" fmla="*/ 7856 h 10000"/>
              <a:gd name="connsiteX3" fmla="*/ 1591 w 9966"/>
              <a:gd name="connsiteY3" fmla="*/ 617 h 10000"/>
              <a:gd name="connsiteX4" fmla="*/ 1625 w 9966"/>
              <a:gd name="connsiteY4" fmla="*/ 137 h 10000"/>
              <a:gd name="connsiteX5" fmla="*/ 2740 w 9966"/>
              <a:gd name="connsiteY5" fmla="*/ 137 h 10000"/>
              <a:gd name="connsiteX6" fmla="*/ 2775 w 9966"/>
              <a:gd name="connsiteY6" fmla="*/ 617 h 10000"/>
              <a:gd name="connsiteX7" fmla="*/ 2775 w 9966"/>
              <a:gd name="connsiteY7" fmla="*/ 7856 h 10000"/>
              <a:gd name="connsiteX8" fmla="*/ 2810 w 9966"/>
              <a:gd name="connsiteY8" fmla="*/ 8336 h 10000"/>
              <a:gd name="connsiteX9" fmla="*/ 4672 w 9966"/>
              <a:gd name="connsiteY9" fmla="*/ 8336 h 10000"/>
              <a:gd name="connsiteX10" fmla="*/ 4708 w 9966"/>
              <a:gd name="connsiteY10" fmla="*/ 7856 h 10000"/>
              <a:gd name="connsiteX11" fmla="*/ 4708 w 9966"/>
              <a:gd name="connsiteY11" fmla="*/ 3671 h 10000"/>
              <a:gd name="connsiteX12" fmla="*/ 4743 w 9966"/>
              <a:gd name="connsiteY12" fmla="*/ 3190 h 10000"/>
              <a:gd name="connsiteX13" fmla="*/ 6714 w 9966"/>
              <a:gd name="connsiteY13" fmla="*/ 3190 h 10000"/>
              <a:gd name="connsiteX14" fmla="*/ 6749 w 9966"/>
              <a:gd name="connsiteY14" fmla="*/ 3671 h 10000"/>
              <a:gd name="connsiteX15" fmla="*/ 6749 w 9966"/>
              <a:gd name="connsiteY15" fmla="*/ 5300 h 10000"/>
              <a:gd name="connsiteX16" fmla="*/ 6783 w 9966"/>
              <a:gd name="connsiteY16" fmla="*/ 5780 h 10000"/>
              <a:gd name="connsiteX17" fmla="*/ 7495 w 9966"/>
              <a:gd name="connsiteY17" fmla="*/ 5780 h 10000"/>
              <a:gd name="connsiteX18" fmla="*/ 7530 w 9966"/>
              <a:gd name="connsiteY18" fmla="*/ 5300 h 10000"/>
              <a:gd name="connsiteX19" fmla="*/ 7530 w 9966"/>
              <a:gd name="connsiteY19" fmla="*/ 480 h 10000"/>
              <a:gd name="connsiteX20" fmla="*/ 7566 w 9966"/>
              <a:gd name="connsiteY20" fmla="*/ 0 h 10000"/>
              <a:gd name="connsiteX21" fmla="*/ 8801 w 9966"/>
              <a:gd name="connsiteY21" fmla="*/ 0 h 10000"/>
              <a:gd name="connsiteX22" fmla="*/ 8835 w 9966"/>
              <a:gd name="connsiteY22" fmla="*/ 480 h 10000"/>
              <a:gd name="connsiteX23" fmla="*/ 8835 w 9966"/>
              <a:gd name="connsiteY23" fmla="*/ 9520 h 10000"/>
              <a:gd name="connsiteX24" fmla="*/ 8870 w 9966"/>
              <a:gd name="connsiteY24" fmla="*/ 10000 h 10000"/>
              <a:gd name="connsiteX25" fmla="*/ 9966 w 9966"/>
              <a:gd name="connsiteY25" fmla="*/ 10000 h 10000"/>
              <a:gd name="connsiteX0" fmla="*/ 0 w 8439"/>
              <a:gd name="connsiteY0" fmla="*/ 8336 h 10000"/>
              <a:gd name="connsiteX1" fmla="*/ 35 w 8439"/>
              <a:gd name="connsiteY1" fmla="*/ 7856 h 10000"/>
              <a:gd name="connsiteX2" fmla="*/ 35 w 8439"/>
              <a:gd name="connsiteY2" fmla="*/ 617 h 10000"/>
              <a:gd name="connsiteX3" fmla="*/ 70 w 8439"/>
              <a:gd name="connsiteY3" fmla="*/ 137 h 10000"/>
              <a:gd name="connsiteX4" fmla="*/ 1188 w 8439"/>
              <a:gd name="connsiteY4" fmla="*/ 137 h 10000"/>
              <a:gd name="connsiteX5" fmla="*/ 1223 w 8439"/>
              <a:gd name="connsiteY5" fmla="*/ 617 h 10000"/>
              <a:gd name="connsiteX6" fmla="*/ 1223 w 8439"/>
              <a:gd name="connsiteY6" fmla="*/ 7856 h 10000"/>
              <a:gd name="connsiteX7" fmla="*/ 1259 w 8439"/>
              <a:gd name="connsiteY7" fmla="*/ 8336 h 10000"/>
              <a:gd name="connsiteX8" fmla="*/ 3127 w 8439"/>
              <a:gd name="connsiteY8" fmla="*/ 8336 h 10000"/>
              <a:gd name="connsiteX9" fmla="*/ 3163 w 8439"/>
              <a:gd name="connsiteY9" fmla="*/ 7856 h 10000"/>
              <a:gd name="connsiteX10" fmla="*/ 3163 w 8439"/>
              <a:gd name="connsiteY10" fmla="*/ 3671 h 10000"/>
              <a:gd name="connsiteX11" fmla="*/ 3198 w 8439"/>
              <a:gd name="connsiteY11" fmla="*/ 3190 h 10000"/>
              <a:gd name="connsiteX12" fmla="*/ 5176 w 8439"/>
              <a:gd name="connsiteY12" fmla="*/ 3190 h 10000"/>
              <a:gd name="connsiteX13" fmla="*/ 5211 w 8439"/>
              <a:gd name="connsiteY13" fmla="*/ 3671 h 10000"/>
              <a:gd name="connsiteX14" fmla="*/ 5211 w 8439"/>
              <a:gd name="connsiteY14" fmla="*/ 5300 h 10000"/>
              <a:gd name="connsiteX15" fmla="*/ 5245 w 8439"/>
              <a:gd name="connsiteY15" fmla="*/ 5780 h 10000"/>
              <a:gd name="connsiteX16" fmla="*/ 5960 w 8439"/>
              <a:gd name="connsiteY16" fmla="*/ 5780 h 10000"/>
              <a:gd name="connsiteX17" fmla="*/ 5995 w 8439"/>
              <a:gd name="connsiteY17" fmla="*/ 5300 h 10000"/>
              <a:gd name="connsiteX18" fmla="*/ 5995 w 8439"/>
              <a:gd name="connsiteY18" fmla="*/ 480 h 10000"/>
              <a:gd name="connsiteX19" fmla="*/ 6031 w 8439"/>
              <a:gd name="connsiteY19" fmla="*/ 0 h 10000"/>
              <a:gd name="connsiteX20" fmla="*/ 7270 w 8439"/>
              <a:gd name="connsiteY20" fmla="*/ 0 h 10000"/>
              <a:gd name="connsiteX21" fmla="*/ 7304 w 8439"/>
              <a:gd name="connsiteY21" fmla="*/ 480 h 10000"/>
              <a:gd name="connsiteX22" fmla="*/ 7304 w 8439"/>
              <a:gd name="connsiteY22" fmla="*/ 9520 h 10000"/>
              <a:gd name="connsiteX23" fmla="*/ 7339 w 8439"/>
              <a:gd name="connsiteY23" fmla="*/ 10000 h 10000"/>
              <a:gd name="connsiteX24" fmla="*/ 8439 w 8439"/>
              <a:gd name="connsiteY24" fmla="*/ 10000 h 10000"/>
              <a:gd name="connsiteX0" fmla="*/ 0 w 9959"/>
              <a:gd name="connsiteY0" fmla="*/ 7856 h 10000"/>
              <a:gd name="connsiteX1" fmla="*/ 0 w 9959"/>
              <a:gd name="connsiteY1" fmla="*/ 617 h 10000"/>
              <a:gd name="connsiteX2" fmla="*/ 42 w 9959"/>
              <a:gd name="connsiteY2" fmla="*/ 137 h 10000"/>
              <a:gd name="connsiteX3" fmla="*/ 1367 w 9959"/>
              <a:gd name="connsiteY3" fmla="*/ 137 h 10000"/>
              <a:gd name="connsiteX4" fmla="*/ 1408 w 9959"/>
              <a:gd name="connsiteY4" fmla="*/ 617 h 10000"/>
              <a:gd name="connsiteX5" fmla="*/ 1408 w 9959"/>
              <a:gd name="connsiteY5" fmla="*/ 7856 h 10000"/>
              <a:gd name="connsiteX6" fmla="*/ 1451 w 9959"/>
              <a:gd name="connsiteY6" fmla="*/ 8336 h 10000"/>
              <a:gd name="connsiteX7" fmla="*/ 3664 w 9959"/>
              <a:gd name="connsiteY7" fmla="*/ 8336 h 10000"/>
              <a:gd name="connsiteX8" fmla="*/ 3707 w 9959"/>
              <a:gd name="connsiteY8" fmla="*/ 7856 h 10000"/>
              <a:gd name="connsiteX9" fmla="*/ 3707 w 9959"/>
              <a:gd name="connsiteY9" fmla="*/ 3671 h 10000"/>
              <a:gd name="connsiteX10" fmla="*/ 3749 w 9959"/>
              <a:gd name="connsiteY10" fmla="*/ 3190 h 10000"/>
              <a:gd name="connsiteX11" fmla="*/ 6092 w 9959"/>
              <a:gd name="connsiteY11" fmla="*/ 3190 h 10000"/>
              <a:gd name="connsiteX12" fmla="*/ 6134 w 9959"/>
              <a:gd name="connsiteY12" fmla="*/ 3671 h 10000"/>
              <a:gd name="connsiteX13" fmla="*/ 6134 w 9959"/>
              <a:gd name="connsiteY13" fmla="*/ 5300 h 10000"/>
              <a:gd name="connsiteX14" fmla="*/ 6174 w 9959"/>
              <a:gd name="connsiteY14" fmla="*/ 5780 h 10000"/>
              <a:gd name="connsiteX15" fmla="*/ 7021 w 9959"/>
              <a:gd name="connsiteY15" fmla="*/ 5780 h 10000"/>
              <a:gd name="connsiteX16" fmla="*/ 7063 w 9959"/>
              <a:gd name="connsiteY16" fmla="*/ 5300 h 10000"/>
              <a:gd name="connsiteX17" fmla="*/ 7063 w 9959"/>
              <a:gd name="connsiteY17" fmla="*/ 480 h 10000"/>
              <a:gd name="connsiteX18" fmla="*/ 7106 w 9959"/>
              <a:gd name="connsiteY18" fmla="*/ 0 h 10000"/>
              <a:gd name="connsiteX19" fmla="*/ 8574 w 9959"/>
              <a:gd name="connsiteY19" fmla="*/ 0 h 10000"/>
              <a:gd name="connsiteX20" fmla="*/ 8614 w 9959"/>
              <a:gd name="connsiteY20" fmla="*/ 480 h 10000"/>
              <a:gd name="connsiteX21" fmla="*/ 8614 w 9959"/>
              <a:gd name="connsiteY21" fmla="*/ 9520 h 10000"/>
              <a:gd name="connsiteX22" fmla="*/ 8656 w 9959"/>
              <a:gd name="connsiteY22" fmla="*/ 10000 h 10000"/>
              <a:gd name="connsiteX23" fmla="*/ 9959 w 9959"/>
              <a:gd name="connsiteY23" fmla="*/ 10000 h 10000"/>
              <a:gd name="connsiteX0" fmla="*/ 0 w 10000"/>
              <a:gd name="connsiteY0" fmla="*/ 617 h 10000"/>
              <a:gd name="connsiteX1" fmla="*/ 42 w 10000"/>
              <a:gd name="connsiteY1" fmla="*/ 137 h 10000"/>
              <a:gd name="connsiteX2" fmla="*/ 1373 w 10000"/>
              <a:gd name="connsiteY2" fmla="*/ 137 h 10000"/>
              <a:gd name="connsiteX3" fmla="*/ 1414 w 10000"/>
              <a:gd name="connsiteY3" fmla="*/ 617 h 10000"/>
              <a:gd name="connsiteX4" fmla="*/ 1414 w 10000"/>
              <a:gd name="connsiteY4" fmla="*/ 7856 h 10000"/>
              <a:gd name="connsiteX5" fmla="*/ 1457 w 10000"/>
              <a:gd name="connsiteY5" fmla="*/ 8336 h 10000"/>
              <a:gd name="connsiteX6" fmla="*/ 3679 w 10000"/>
              <a:gd name="connsiteY6" fmla="*/ 8336 h 10000"/>
              <a:gd name="connsiteX7" fmla="*/ 3722 w 10000"/>
              <a:gd name="connsiteY7" fmla="*/ 7856 h 10000"/>
              <a:gd name="connsiteX8" fmla="*/ 3722 w 10000"/>
              <a:gd name="connsiteY8" fmla="*/ 3671 h 10000"/>
              <a:gd name="connsiteX9" fmla="*/ 3764 w 10000"/>
              <a:gd name="connsiteY9" fmla="*/ 3190 h 10000"/>
              <a:gd name="connsiteX10" fmla="*/ 6117 w 10000"/>
              <a:gd name="connsiteY10" fmla="*/ 3190 h 10000"/>
              <a:gd name="connsiteX11" fmla="*/ 6159 w 10000"/>
              <a:gd name="connsiteY11" fmla="*/ 3671 h 10000"/>
              <a:gd name="connsiteX12" fmla="*/ 6159 w 10000"/>
              <a:gd name="connsiteY12" fmla="*/ 5300 h 10000"/>
              <a:gd name="connsiteX13" fmla="*/ 6199 w 10000"/>
              <a:gd name="connsiteY13" fmla="*/ 5780 h 10000"/>
              <a:gd name="connsiteX14" fmla="*/ 7050 w 10000"/>
              <a:gd name="connsiteY14" fmla="*/ 5780 h 10000"/>
              <a:gd name="connsiteX15" fmla="*/ 7092 w 10000"/>
              <a:gd name="connsiteY15" fmla="*/ 5300 h 10000"/>
              <a:gd name="connsiteX16" fmla="*/ 7092 w 10000"/>
              <a:gd name="connsiteY16" fmla="*/ 480 h 10000"/>
              <a:gd name="connsiteX17" fmla="*/ 7135 w 10000"/>
              <a:gd name="connsiteY17" fmla="*/ 0 h 10000"/>
              <a:gd name="connsiteX18" fmla="*/ 8609 w 10000"/>
              <a:gd name="connsiteY18" fmla="*/ 0 h 10000"/>
              <a:gd name="connsiteX19" fmla="*/ 8649 w 10000"/>
              <a:gd name="connsiteY19" fmla="*/ 480 h 10000"/>
              <a:gd name="connsiteX20" fmla="*/ 8649 w 10000"/>
              <a:gd name="connsiteY20" fmla="*/ 9520 h 10000"/>
              <a:gd name="connsiteX21" fmla="*/ 8692 w 10000"/>
              <a:gd name="connsiteY21" fmla="*/ 10000 h 10000"/>
              <a:gd name="connsiteX22" fmla="*/ 10000 w 10000"/>
              <a:gd name="connsiteY22" fmla="*/ 10000 h 10000"/>
              <a:gd name="connsiteX0" fmla="*/ 0 w 8692"/>
              <a:gd name="connsiteY0" fmla="*/ 617 h 10000"/>
              <a:gd name="connsiteX1" fmla="*/ 42 w 8692"/>
              <a:gd name="connsiteY1" fmla="*/ 137 h 10000"/>
              <a:gd name="connsiteX2" fmla="*/ 1373 w 8692"/>
              <a:gd name="connsiteY2" fmla="*/ 137 h 10000"/>
              <a:gd name="connsiteX3" fmla="*/ 1414 w 8692"/>
              <a:gd name="connsiteY3" fmla="*/ 617 h 10000"/>
              <a:gd name="connsiteX4" fmla="*/ 1414 w 8692"/>
              <a:gd name="connsiteY4" fmla="*/ 7856 h 10000"/>
              <a:gd name="connsiteX5" fmla="*/ 1457 w 8692"/>
              <a:gd name="connsiteY5" fmla="*/ 8336 h 10000"/>
              <a:gd name="connsiteX6" fmla="*/ 3679 w 8692"/>
              <a:gd name="connsiteY6" fmla="*/ 8336 h 10000"/>
              <a:gd name="connsiteX7" fmla="*/ 3722 w 8692"/>
              <a:gd name="connsiteY7" fmla="*/ 7856 h 10000"/>
              <a:gd name="connsiteX8" fmla="*/ 3722 w 8692"/>
              <a:gd name="connsiteY8" fmla="*/ 3671 h 10000"/>
              <a:gd name="connsiteX9" fmla="*/ 3764 w 8692"/>
              <a:gd name="connsiteY9" fmla="*/ 3190 h 10000"/>
              <a:gd name="connsiteX10" fmla="*/ 6117 w 8692"/>
              <a:gd name="connsiteY10" fmla="*/ 3190 h 10000"/>
              <a:gd name="connsiteX11" fmla="*/ 6159 w 8692"/>
              <a:gd name="connsiteY11" fmla="*/ 3671 h 10000"/>
              <a:gd name="connsiteX12" fmla="*/ 6159 w 8692"/>
              <a:gd name="connsiteY12" fmla="*/ 5300 h 10000"/>
              <a:gd name="connsiteX13" fmla="*/ 6199 w 8692"/>
              <a:gd name="connsiteY13" fmla="*/ 5780 h 10000"/>
              <a:gd name="connsiteX14" fmla="*/ 7050 w 8692"/>
              <a:gd name="connsiteY14" fmla="*/ 5780 h 10000"/>
              <a:gd name="connsiteX15" fmla="*/ 7092 w 8692"/>
              <a:gd name="connsiteY15" fmla="*/ 5300 h 10000"/>
              <a:gd name="connsiteX16" fmla="*/ 7092 w 8692"/>
              <a:gd name="connsiteY16" fmla="*/ 480 h 10000"/>
              <a:gd name="connsiteX17" fmla="*/ 7135 w 8692"/>
              <a:gd name="connsiteY17" fmla="*/ 0 h 10000"/>
              <a:gd name="connsiteX18" fmla="*/ 8609 w 8692"/>
              <a:gd name="connsiteY18" fmla="*/ 0 h 10000"/>
              <a:gd name="connsiteX19" fmla="*/ 8649 w 8692"/>
              <a:gd name="connsiteY19" fmla="*/ 480 h 10000"/>
              <a:gd name="connsiteX20" fmla="*/ 8649 w 8692"/>
              <a:gd name="connsiteY20" fmla="*/ 9520 h 10000"/>
              <a:gd name="connsiteX21" fmla="*/ 8692 w 8692"/>
              <a:gd name="connsiteY21" fmla="*/ 10000 h 10000"/>
              <a:gd name="connsiteX0" fmla="*/ 0 w 9951"/>
              <a:gd name="connsiteY0" fmla="*/ 617 h 9520"/>
              <a:gd name="connsiteX1" fmla="*/ 48 w 9951"/>
              <a:gd name="connsiteY1" fmla="*/ 137 h 9520"/>
              <a:gd name="connsiteX2" fmla="*/ 1580 w 9951"/>
              <a:gd name="connsiteY2" fmla="*/ 137 h 9520"/>
              <a:gd name="connsiteX3" fmla="*/ 1627 w 9951"/>
              <a:gd name="connsiteY3" fmla="*/ 617 h 9520"/>
              <a:gd name="connsiteX4" fmla="*/ 1627 w 9951"/>
              <a:gd name="connsiteY4" fmla="*/ 7856 h 9520"/>
              <a:gd name="connsiteX5" fmla="*/ 1676 w 9951"/>
              <a:gd name="connsiteY5" fmla="*/ 8336 h 9520"/>
              <a:gd name="connsiteX6" fmla="*/ 4233 w 9951"/>
              <a:gd name="connsiteY6" fmla="*/ 8336 h 9520"/>
              <a:gd name="connsiteX7" fmla="*/ 4282 w 9951"/>
              <a:gd name="connsiteY7" fmla="*/ 7856 h 9520"/>
              <a:gd name="connsiteX8" fmla="*/ 4282 w 9951"/>
              <a:gd name="connsiteY8" fmla="*/ 3671 h 9520"/>
              <a:gd name="connsiteX9" fmla="*/ 4330 w 9951"/>
              <a:gd name="connsiteY9" fmla="*/ 3190 h 9520"/>
              <a:gd name="connsiteX10" fmla="*/ 7038 w 9951"/>
              <a:gd name="connsiteY10" fmla="*/ 3190 h 9520"/>
              <a:gd name="connsiteX11" fmla="*/ 7086 w 9951"/>
              <a:gd name="connsiteY11" fmla="*/ 3671 h 9520"/>
              <a:gd name="connsiteX12" fmla="*/ 7086 w 9951"/>
              <a:gd name="connsiteY12" fmla="*/ 5300 h 9520"/>
              <a:gd name="connsiteX13" fmla="*/ 7132 w 9951"/>
              <a:gd name="connsiteY13" fmla="*/ 5780 h 9520"/>
              <a:gd name="connsiteX14" fmla="*/ 8111 w 9951"/>
              <a:gd name="connsiteY14" fmla="*/ 5780 h 9520"/>
              <a:gd name="connsiteX15" fmla="*/ 8159 w 9951"/>
              <a:gd name="connsiteY15" fmla="*/ 5300 h 9520"/>
              <a:gd name="connsiteX16" fmla="*/ 8159 w 9951"/>
              <a:gd name="connsiteY16" fmla="*/ 480 h 9520"/>
              <a:gd name="connsiteX17" fmla="*/ 8209 w 9951"/>
              <a:gd name="connsiteY17" fmla="*/ 0 h 9520"/>
              <a:gd name="connsiteX18" fmla="*/ 9905 w 9951"/>
              <a:gd name="connsiteY18" fmla="*/ 0 h 9520"/>
              <a:gd name="connsiteX19" fmla="*/ 9951 w 9951"/>
              <a:gd name="connsiteY19" fmla="*/ 480 h 9520"/>
              <a:gd name="connsiteX20" fmla="*/ 9951 w 9951"/>
              <a:gd name="connsiteY20" fmla="*/ 9520 h 9520"/>
              <a:gd name="connsiteX0" fmla="*/ 0 w 10000"/>
              <a:gd name="connsiteY0" fmla="*/ 648 h 8756"/>
              <a:gd name="connsiteX1" fmla="*/ 48 w 10000"/>
              <a:gd name="connsiteY1" fmla="*/ 144 h 8756"/>
              <a:gd name="connsiteX2" fmla="*/ 1588 w 10000"/>
              <a:gd name="connsiteY2" fmla="*/ 144 h 8756"/>
              <a:gd name="connsiteX3" fmla="*/ 1635 w 10000"/>
              <a:gd name="connsiteY3" fmla="*/ 648 h 8756"/>
              <a:gd name="connsiteX4" fmla="*/ 1635 w 10000"/>
              <a:gd name="connsiteY4" fmla="*/ 8252 h 8756"/>
              <a:gd name="connsiteX5" fmla="*/ 1684 w 10000"/>
              <a:gd name="connsiteY5" fmla="*/ 8756 h 8756"/>
              <a:gd name="connsiteX6" fmla="*/ 4254 w 10000"/>
              <a:gd name="connsiteY6" fmla="*/ 8756 h 8756"/>
              <a:gd name="connsiteX7" fmla="*/ 4303 w 10000"/>
              <a:gd name="connsiteY7" fmla="*/ 8252 h 8756"/>
              <a:gd name="connsiteX8" fmla="*/ 4303 w 10000"/>
              <a:gd name="connsiteY8" fmla="*/ 3856 h 8756"/>
              <a:gd name="connsiteX9" fmla="*/ 4351 w 10000"/>
              <a:gd name="connsiteY9" fmla="*/ 3351 h 8756"/>
              <a:gd name="connsiteX10" fmla="*/ 7073 w 10000"/>
              <a:gd name="connsiteY10" fmla="*/ 3351 h 8756"/>
              <a:gd name="connsiteX11" fmla="*/ 7121 w 10000"/>
              <a:gd name="connsiteY11" fmla="*/ 3856 h 8756"/>
              <a:gd name="connsiteX12" fmla="*/ 7121 w 10000"/>
              <a:gd name="connsiteY12" fmla="*/ 5567 h 8756"/>
              <a:gd name="connsiteX13" fmla="*/ 7167 w 10000"/>
              <a:gd name="connsiteY13" fmla="*/ 6071 h 8756"/>
              <a:gd name="connsiteX14" fmla="*/ 8151 w 10000"/>
              <a:gd name="connsiteY14" fmla="*/ 6071 h 8756"/>
              <a:gd name="connsiteX15" fmla="*/ 8199 w 10000"/>
              <a:gd name="connsiteY15" fmla="*/ 5567 h 8756"/>
              <a:gd name="connsiteX16" fmla="*/ 8199 w 10000"/>
              <a:gd name="connsiteY16" fmla="*/ 504 h 8756"/>
              <a:gd name="connsiteX17" fmla="*/ 8249 w 10000"/>
              <a:gd name="connsiteY17" fmla="*/ 0 h 8756"/>
              <a:gd name="connsiteX18" fmla="*/ 9954 w 10000"/>
              <a:gd name="connsiteY18" fmla="*/ 0 h 8756"/>
              <a:gd name="connsiteX19" fmla="*/ 10000 w 10000"/>
              <a:gd name="connsiteY19" fmla="*/ 504 h 8756"/>
              <a:gd name="connsiteX0" fmla="*/ 0 w 9954"/>
              <a:gd name="connsiteY0" fmla="*/ 740 h 10000"/>
              <a:gd name="connsiteX1" fmla="*/ 48 w 9954"/>
              <a:gd name="connsiteY1" fmla="*/ 164 h 10000"/>
              <a:gd name="connsiteX2" fmla="*/ 1588 w 9954"/>
              <a:gd name="connsiteY2" fmla="*/ 164 h 10000"/>
              <a:gd name="connsiteX3" fmla="*/ 1635 w 9954"/>
              <a:gd name="connsiteY3" fmla="*/ 740 h 10000"/>
              <a:gd name="connsiteX4" fmla="*/ 1635 w 9954"/>
              <a:gd name="connsiteY4" fmla="*/ 9424 h 10000"/>
              <a:gd name="connsiteX5" fmla="*/ 1684 w 9954"/>
              <a:gd name="connsiteY5" fmla="*/ 10000 h 10000"/>
              <a:gd name="connsiteX6" fmla="*/ 4254 w 9954"/>
              <a:gd name="connsiteY6" fmla="*/ 10000 h 10000"/>
              <a:gd name="connsiteX7" fmla="*/ 4303 w 9954"/>
              <a:gd name="connsiteY7" fmla="*/ 9424 h 10000"/>
              <a:gd name="connsiteX8" fmla="*/ 4303 w 9954"/>
              <a:gd name="connsiteY8" fmla="*/ 4404 h 10000"/>
              <a:gd name="connsiteX9" fmla="*/ 4351 w 9954"/>
              <a:gd name="connsiteY9" fmla="*/ 3827 h 10000"/>
              <a:gd name="connsiteX10" fmla="*/ 7073 w 9954"/>
              <a:gd name="connsiteY10" fmla="*/ 3827 h 10000"/>
              <a:gd name="connsiteX11" fmla="*/ 7121 w 9954"/>
              <a:gd name="connsiteY11" fmla="*/ 4404 h 10000"/>
              <a:gd name="connsiteX12" fmla="*/ 7121 w 9954"/>
              <a:gd name="connsiteY12" fmla="*/ 6358 h 10000"/>
              <a:gd name="connsiteX13" fmla="*/ 7167 w 9954"/>
              <a:gd name="connsiteY13" fmla="*/ 6934 h 10000"/>
              <a:gd name="connsiteX14" fmla="*/ 8151 w 9954"/>
              <a:gd name="connsiteY14" fmla="*/ 6934 h 10000"/>
              <a:gd name="connsiteX15" fmla="*/ 8199 w 9954"/>
              <a:gd name="connsiteY15" fmla="*/ 6358 h 10000"/>
              <a:gd name="connsiteX16" fmla="*/ 8199 w 9954"/>
              <a:gd name="connsiteY16" fmla="*/ 576 h 10000"/>
              <a:gd name="connsiteX17" fmla="*/ 8249 w 9954"/>
              <a:gd name="connsiteY17" fmla="*/ 0 h 10000"/>
              <a:gd name="connsiteX18" fmla="*/ 9954 w 9954"/>
              <a:gd name="connsiteY18" fmla="*/ 0 h 10000"/>
              <a:gd name="connsiteX0" fmla="*/ 0 w 8287"/>
              <a:gd name="connsiteY0" fmla="*/ 740 h 10000"/>
              <a:gd name="connsiteX1" fmla="*/ 48 w 8287"/>
              <a:gd name="connsiteY1" fmla="*/ 164 h 10000"/>
              <a:gd name="connsiteX2" fmla="*/ 1595 w 8287"/>
              <a:gd name="connsiteY2" fmla="*/ 164 h 10000"/>
              <a:gd name="connsiteX3" fmla="*/ 1643 w 8287"/>
              <a:gd name="connsiteY3" fmla="*/ 740 h 10000"/>
              <a:gd name="connsiteX4" fmla="*/ 1643 w 8287"/>
              <a:gd name="connsiteY4" fmla="*/ 9424 h 10000"/>
              <a:gd name="connsiteX5" fmla="*/ 1692 w 8287"/>
              <a:gd name="connsiteY5" fmla="*/ 10000 h 10000"/>
              <a:gd name="connsiteX6" fmla="*/ 4274 w 8287"/>
              <a:gd name="connsiteY6" fmla="*/ 10000 h 10000"/>
              <a:gd name="connsiteX7" fmla="*/ 4323 w 8287"/>
              <a:gd name="connsiteY7" fmla="*/ 9424 h 10000"/>
              <a:gd name="connsiteX8" fmla="*/ 4323 w 8287"/>
              <a:gd name="connsiteY8" fmla="*/ 4404 h 10000"/>
              <a:gd name="connsiteX9" fmla="*/ 4371 w 8287"/>
              <a:gd name="connsiteY9" fmla="*/ 3827 h 10000"/>
              <a:gd name="connsiteX10" fmla="*/ 7106 w 8287"/>
              <a:gd name="connsiteY10" fmla="*/ 3827 h 10000"/>
              <a:gd name="connsiteX11" fmla="*/ 7154 w 8287"/>
              <a:gd name="connsiteY11" fmla="*/ 4404 h 10000"/>
              <a:gd name="connsiteX12" fmla="*/ 7154 w 8287"/>
              <a:gd name="connsiteY12" fmla="*/ 6358 h 10000"/>
              <a:gd name="connsiteX13" fmla="*/ 7200 w 8287"/>
              <a:gd name="connsiteY13" fmla="*/ 6934 h 10000"/>
              <a:gd name="connsiteX14" fmla="*/ 8189 w 8287"/>
              <a:gd name="connsiteY14" fmla="*/ 6934 h 10000"/>
              <a:gd name="connsiteX15" fmla="*/ 8237 w 8287"/>
              <a:gd name="connsiteY15" fmla="*/ 6358 h 10000"/>
              <a:gd name="connsiteX16" fmla="*/ 8237 w 8287"/>
              <a:gd name="connsiteY16" fmla="*/ 576 h 10000"/>
              <a:gd name="connsiteX17" fmla="*/ 8287 w 8287"/>
              <a:gd name="connsiteY17" fmla="*/ 0 h 10000"/>
              <a:gd name="connsiteX0" fmla="*/ 0 w 9940"/>
              <a:gd name="connsiteY0" fmla="*/ 576 h 9836"/>
              <a:gd name="connsiteX1" fmla="*/ 58 w 9940"/>
              <a:gd name="connsiteY1" fmla="*/ 0 h 9836"/>
              <a:gd name="connsiteX2" fmla="*/ 1925 w 9940"/>
              <a:gd name="connsiteY2" fmla="*/ 0 h 9836"/>
              <a:gd name="connsiteX3" fmla="*/ 1983 w 9940"/>
              <a:gd name="connsiteY3" fmla="*/ 576 h 9836"/>
              <a:gd name="connsiteX4" fmla="*/ 1983 w 9940"/>
              <a:gd name="connsiteY4" fmla="*/ 9260 h 9836"/>
              <a:gd name="connsiteX5" fmla="*/ 2042 w 9940"/>
              <a:gd name="connsiteY5" fmla="*/ 9836 h 9836"/>
              <a:gd name="connsiteX6" fmla="*/ 5157 w 9940"/>
              <a:gd name="connsiteY6" fmla="*/ 9836 h 9836"/>
              <a:gd name="connsiteX7" fmla="*/ 5217 w 9940"/>
              <a:gd name="connsiteY7" fmla="*/ 9260 h 9836"/>
              <a:gd name="connsiteX8" fmla="*/ 5217 w 9940"/>
              <a:gd name="connsiteY8" fmla="*/ 4240 h 9836"/>
              <a:gd name="connsiteX9" fmla="*/ 5275 w 9940"/>
              <a:gd name="connsiteY9" fmla="*/ 3663 h 9836"/>
              <a:gd name="connsiteX10" fmla="*/ 8575 w 9940"/>
              <a:gd name="connsiteY10" fmla="*/ 3663 h 9836"/>
              <a:gd name="connsiteX11" fmla="*/ 8633 w 9940"/>
              <a:gd name="connsiteY11" fmla="*/ 4240 h 9836"/>
              <a:gd name="connsiteX12" fmla="*/ 8633 w 9940"/>
              <a:gd name="connsiteY12" fmla="*/ 6194 h 9836"/>
              <a:gd name="connsiteX13" fmla="*/ 8688 w 9940"/>
              <a:gd name="connsiteY13" fmla="*/ 6770 h 9836"/>
              <a:gd name="connsiteX14" fmla="*/ 9882 w 9940"/>
              <a:gd name="connsiteY14" fmla="*/ 6770 h 9836"/>
              <a:gd name="connsiteX15" fmla="*/ 9940 w 9940"/>
              <a:gd name="connsiteY15" fmla="*/ 6194 h 9836"/>
              <a:gd name="connsiteX16" fmla="*/ 9940 w 9940"/>
              <a:gd name="connsiteY16" fmla="*/ 412 h 9836"/>
              <a:gd name="connsiteX0" fmla="*/ 0 w 10000"/>
              <a:gd name="connsiteY0" fmla="*/ 586 h 10000"/>
              <a:gd name="connsiteX1" fmla="*/ 58 w 10000"/>
              <a:gd name="connsiteY1" fmla="*/ 0 h 10000"/>
              <a:gd name="connsiteX2" fmla="*/ 1937 w 10000"/>
              <a:gd name="connsiteY2" fmla="*/ 0 h 10000"/>
              <a:gd name="connsiteX3" fmla="*/ 1995 w 10000"/>
              <a:gd name="connsiteY3" fmla="*/ 586 h 10000"/>
              <a:gd name="connsiteX4" fmla="*/ 1995 w 10000"/>
              <a:gd name="connsiteY4" fmla="*/ 9414 h 10000"/>
              <a:gd name="connsiteX5" fmla="*/ 2054 w 10000"/>
              <a:gd name="connsiteY5" fmla="*/ 10000 h 10000"/>
              <a:gd name="connsiteX6" fmla="*/ 5188 w 10000"/>
              <a:gd name="connsiteY6" fmla="*/ 10000 h 10000"/>
              <a:gd name="connsiteX7" fmla="*/ 5248 w 10000"/>
              <a:gd name="connsiteY7" fmla="*/ 9414 h 10000"/>
              <a:gd name="connsiteX8" fmla="*/ 5248 w 10000"/>
              <a:gd name="connsiteY8" fmla="*/ 4311 h 10000"/>
              <a:gd name="connsiteX9" fmla="*/ 5307 w 10000"/>
              <a:gd name="connsiteY9" fmla="*/ 3724 h 10000"/>
              <a:gd name="connsiteX10" fmla="*/ 8627 w 10000"/>
              <a:gd name="connsiteY10" fmla="*/ 3724 h 10000"/>
              <a:gd name="connsiteX11" fmla="*/ 8685 w 10000"/>
              <a:gd name="connsiteY11" fmla="*/ 4311 h 10000"/>
              <a:gd name="connsiteX12" fmla="*/ 8685 w 10000"/>
              <a:gd name="connsiteY12" fmla="*/ 6297 h 10000"/>
              <a:gd name="connsiteX13" fmla="*/ 8740 w 10000"/>
              <a:gd name="connsiteY13" fmla="*/ 6883 h 10000"/>
              <a:gd name="connsiteX14" fmla="*/ 9942 w 10000"/>
              <a:gd name="connsiteY14" fmla="*/ 6883 h 10000"/>
              <a:gd name="connsiteX15" fmla="*/ 10000 w 10000"/>
              <a:gd name="connsiteY15" fmla="*/ 6297 h 10000"/>
              <a:gd name="connsiteX0" fmla="*/ 0 w 10000"/>
              <a:gd name="connsiteY0" fmla="*/ 586 h 10000"/>
              <a:gd name="connsiteX1" fmla="*/ 1937 w 10000"/>
              <a:gd name="connsiteY1" fmla="*/ 0 h 10000"/>
              <a:gd name="connsiteX2" fmla="*/ 1995 w 10000"/>
              <a:gd name="connsiteY2" fmla="*/ 586 h 10000"/>
              <a:gd name="connsiteX3" fmla="*/ 1995 w 10000"/>
              <a:gd name="connsiteY3" fmla="*/ 9414 h 10000"/>
              <a:gd name="connsiteX4" fmla="*/ 2054 w 10000"/>
              <a:gd name="connsiteY4" fmla="*/ 10000 h 10000"/>
              <a:gd name="connsiteX5" fmla="*/ 5188 w 10000"/>
              <a:gd name="connsiteY5" fmla="*/ 10000 h 10000"/>
              <a:gd name="connsiteX6" fmla="*/ 5248 w 10000"/>
              <a:gd name="connsiteY6" fmla="*/ 9414 h 10000"/>
              <a:gd name="connsiteX7" fmla="*/ 5248 w 10000"/>
              <a:gd name="connsiteY7" fmla="*/ 4311 h 10000"/>
              <a:gd name="connsiteX8" fmla="*/ 5307 w 10000"/>
              <a:gd name="connsiteY8" fmla="*/ 3724 h 10000"/>
              <a:gd name="connsiteX9" fmla="*/ 8627 w 10000"/>
              <a:gd name="connsiteY9" fmla="*/ 3724 h 10000"/>
              <a:gd name="connsiteX10" fmla="*/ 8685 w 10000"/>
              <a:gd name="connsiteY10" fmla="*/ 4311 h 10000"/>
              <a:gd name="connsiteX11" fmla="*/ 8685 w 10000"/>
              <a:gd name="connsiteY11" fmla="*/ 6297 h 10000"/>
              <a:gd name="connsiteX12" fmla="*/ 8740 w 10000"/>
              <a:gd name="connsiteY12" fmla="*/ 6883 h 10000"/>
              <a:gd name="connsiteX13" fmla="*/ 9942 w 10000"/>
              <a:gd name="connsiteY13" fmla="*/ 6883 h 10000"/>
              <a:gd name="connsiteX14" fmla="*/ 10000 w 10000"/>
              <a:gd name="connsiteY14" fmla="*/ 6297 h 10000"/>
              <a:gd name="connsiteX0" fmla="*/ 0 w 8803"/>
              <a:gd name="connsiteY0" fmla="*/ 40 h 10113"/>
              <a:gd name="connsiteX1" fmla="*/ 740 w 8803"/>
              <a:gd name="connsiteY1" fmla="*/ 113 h 10113"/>
              <a:gd name="connsiteX2" fmla="*/ 798 w 8803"/>
              <a:gd name="connsiteY2" fmla="*/ 699 h 10113"/>
              <a:gd name="connsiteX3" fmla="*/ 798 w 8803"/>
              <a:gd name="connsiteY3" fmla="*/ 9527 h 10113"/>
              <a:gd name="connsiteX4" fmla="*/ 857 w 8803"/>
              <a:gd name="connsiteY4" fmla="*/ 10113 h 10113"/>
              <a:gd name="connsiteX5" fmla="*/ 3991 w 8803"/>
              <a:gd name="connsiteY5" fmla="*/ 10113 h 10113"/>
              <a:gd name="connsiteX6" fmla="*/ 4051 w 8803"/>
              <a:gd name="connsiteY6" fmla="*/ 9527 h 10113"/>
              <a:gd name="connsiteX7" fmla="*/ 4051 w 8803"/>
              <a:gd name="connsiteY7" fmla="*/ 4424 h 10113"/>
              <a:gd name="connsiteX8" fmla="*/ 4110 w 8803"/>
              <a:gd name="connsiteY8" fmla="*/ 3837 h 10113"/>
              <a:gd name="connsiteX9" fmla="*/ 7430 w 8803"/>
              <a:gd name="connsiteY9" fmla="*/ 3837 h 10113"/>
              <a:gd name="connsiteX10" fmla="*/ 7488 w 8803"/>
              <a:gd name="connsiteY10" fmla="*/ 4424 h 10113"/>
              <a:gd name="connsiteX11" fmla="*/ 7488 w 8803"/>
              <a:gd name="connsiteY11" fmla="*/ 6410 h 10113"/>
              <a:gd name="connsiteX12" fmla="*/ 7543 w 8803"/>
              <a:gd name="connsiteY12" fmla="*/ 6996 h 10113"/>
              <a:gd name="connsiteX13" fmla="*/ 8745 w 8803"/>
              <a:gd name="connsiteY13" fmla="*/ 6996 h 10113"/>
              <a:gd name="connsiteX14" fmla="*/ 8803 w 8803"/>
              <a:gd name="connsiteY14" fmla="*/ 6410 h 10113"/>
              <a:gd name="connsiteX0" fmla="*/ 0 w 10000"/>
              <a:gd name="connsiteY0" fmla="*/ 75 h 9905"/>
              <a:gd name="connsiteX1" fmla="*/ 841 w 10000"/>
              <a:gd name="connsiteY1" fmla="*/ 17 h 9905"/>
              <a:gd name="connsiteX2" fmla="*/ 907 w 10000"/>
              <a:gd name="connsiteY2" fmla="*/ 596 h 9905"/>
              <a:gd name="connsiteX3" fmla="*/ 907 w 10000"/>
              <a:gd name="connsiteY3" fmla="*/ 9326 h 9905"/>
              <a:gd name="connsiteX4" fmla="*/ 974 w 10000"/>
              <a:gd name="connsiteY4" fmla="*/ 9905 h 9905"/>
              <a:gd name="connsiteX5" fmla="*/ 4534 w 10000"/>
              <a:gd name="connsiteY5" fmla="*/ 9905 h 9905"/>
              <a:gd name="connsiteX6" fmla="*/ 4602 w 10000"/>
              <a:gd name="connsiteY6" fmla="*/ 9326 h 9905"/>
              <a:gd name="connsiteX7" fmla="*/ 4602 w 10000"/>
              <a:gd name="connsiteY7" fmla="*/ 4280 h 9905"/>
              <a:gd name="connsiteX8" fmla="*/ 4669 w 10000"/>
              <a:gd name="connsiteY8" fmla="*/ 3699 h 9905"/>
              <a:gd name="connsiteX9" fmla="*/ 8440 w 10000"/>
              <a:gd name="connsiteY9" fmla="*/ 3699 h 9905"/>
              <a:gd name="connsiteX10" fmla="*/ 8506 w 10000"/>
              <a:gd name="connsiteY10" fmla="*/ 4280 h 9905"/>
              <a:gd name="connsiteX11" fmla="*/ 8506 w 10000"/>
              <a:gd name="connsiteY11" fmla="*/ 6243 h 9905"/>
              <a:gd name="connsiteX12" fmla="*/ 8569 w 10000"/>
              <a:gd name="connsiteY12" fmla="*/ 6823 h 9905"/>
              <a:gd name="connsiteX13" fmla="*/ 9934 w 10000"/>
              <a:gd name="connsiteY13" fmla="*/ 6823 h 9905"/>
              <a:gd name="connsiteX14" fmla="*/ 10000 w 10000"/>
              <a:gd name="connsiteY14" fmla="*/ 6243 h 9905"/>
              <a:gd name="connsiteX0" fmla="*/ 0 w 10000"/>
              <a:gd name="connsiteY0" fmla="*/ 59 h 9983"/>
              <a:gd name="connsiteX1" fmla="*/ 841 w 10000"/>
              <a:gd name="connsiteY1" fmla="*/ 0 h 9983"/>
              <a:gd name="connsiteX2" fmla="*/ 907 w 10000"/>
              <a:gd name="connsiteY2" fmla="*/ 585 h 9983"/>
              <a:gd name="connsiteX3" fmla="*/ 907 w 10000"/>
              <a:gd name="connsiteY3" fmla="*/ 9398 h 9983"/>
              <a:gd name="connsiteX4" fmla="*/ 974 w 10000"/>
              <a:gd name="connsiteY4" fmla="*/ 9983 h 9983"/>
              <a:gd name="connsiteX5" fmla="*/ 4534 w 10000"/>
              <a:gd name="connsiteY5" fmla="*/ 9983 h 9983"/>
              <a:gd name="connsiteX6" fmla="*/ 4602 w 10000"/>
              <a:gd name="connsiteY6" fmla="*/ 9398 h 9983"/>
              <a:gd name="connsiteX7" fmla="*/ 4602 w 10000"/>
              <a:gd name="connsiteY7" fmla="*/ 4304 h 9983"/>
              <a:gd name="connsiteX8" fmla="*/ 4669 w 10000"/>
              <a:gd name="connsiteY8" fmla="*/ 3717 h 9983"/>
              <a:gd name="connsiteX9" fmla="*/ 8440 w 10000"/>
              <a:gd name="connsiteY9" fmla="*/ 3717 h 9983"/>
              <a:gd name="connsiteX10" fmla="*/ 8506 w 10000"/>
              <a:gd name="connsiteY10" fmla="*/ 4304 h 9983"/>
              <a:gd name="connsiteX11" fmla="*/ 8506 w 10000"/>
              <a:gd name="connsiteY11" fmla="*/ 6286 h 9983"/>
              <a:gd name="connsiteX12" fmla="*/ 8569 w 10000"/>
              <a:gd name="connsiteY12" fmla="*/ 6871 h 9983"/>
              <a:gd name="connsiteX13" fmla="*/ 9934 w 10000"/>
              <a:gd name="connsiteY13" fmla="*/ 6871 h 9983"/>
              <a:gd name="connsiteX14" fmla="*/ 10000 w 10000"/>
              <a:gd name="connsiteY14" fmla="*/ 6286 h 9983"/>
              <a:gd name="connsiteX0" fmla="*/ 0 w 10003"/>
              <a:gd name="connsiteY0" fmla="*/ 0 h 10029"/>
              <a:gd name="connsiteX1" fmla="*/ 844 w 10003"/>
              <a:gd name="connsiteY1" fmla="*/ 29 h 10029"/>
              <a:gd name="connsiteX2" fmla="*/ 910 w 10003"/>
              <a:gd name="connsiteY2" fmla="*/ 615 h 10029"/>
              <a:gd name="connsiteX3" fmla="*/ 910 w 10003"/>
              <a:gd name="connsiteY3" fmla="*/ 9443 h 10029"/>
              <a:gd name="connsiteX4" fmla="*/ 977 w 10003"/>
              <a:gd name="connsiteY4" fmla="*/ 10029 h 10029"/>
              <a:gd name="connsiteX5" fmla="*/ 4537 w 10003"/>
              <a:gd name="connsiteY5" fmla="*/ 10029 h 10029"/>
              <a:gd name="connsiteX6" fmla="*/ 4605 w 10003"/>
              <a:gd name="connsiteY6" fmla="*/ 9443 h 10029"/>
              <a:gd name="connsiteX7" fmla="*/ 4605 w 10003"/>
              <a:gd name="connsiteY7" fmla="*/ 4340 h 10029"/>
              <a:gd name="connsiteX8" fmla="*/ 4672 w 10003"/>
              <a:gd name="connsiteY8" fmla="*/ 3752 h 10029"/>
              <a:gd name="connsiteX9" fmla="*/ 8443 w 10003"/>
              <a:gd name="connsiteY9" fmla="*/ 3752 h 10029"/>
              <a:gd name="connsiteX10" fmla="*/ 8509 w 10003"/>
              <a:gd name="connsiteY10" fmla="*/ 4340 h 10029"/>
              <a:gd name="connsiteX11" fmla="*/ 8509 w 10003"/>
              <a:gd name="connsiteY11" fmla="*/ 6326 h 10029"/>
              <a:gd name="connsiteX12" fmla="*/ 8572 w 10003"/>
              <a:gd name="connsiteY12" fmla="*/ 6912 h 10029"/>
              <a:gd name="connsiteX13" fmla="*/ 9937 w 10003"/>
              <a:gd name="connsiteY13" fmla="*/ 6912 h 10029"/>
              <a:gd name="connsiteX14" fmla="*/ 10003 w 10003"/>
              <a:gd name="connsiteY14" fmla="*/ 6326 h 10029"/>
              <a:gd name="connsiteX0" fmla="*/ 0 w 10003"/>
              <a:gd name="connsiteY0" fmla="*/ 59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0 h 10029"/>
              <a:gd name="connsiteX1" fmla="*/ 844 w 10003"/>
              <a:gd name="connsiteY1" fmla="*/ 29 h 10029"/>
              <a:gd name="connsiteX2" fmla="*/ 910 w 10003"/>
              <a:gd name="connsiteY2" fmla="*/ 615 h 10029"/>
              <a:gd name="connsiteX3" fmla="*/ 910 w 10003"/>
              <a:gd name="connsiteY3" fmla="*/ 9443 h 10029"/>
              <a:gd name="connsiteX4" fmla="*/ 977 w 10003"/>
              <a:gd name="connsiteY4" fmla="*/ 10029 h 10029"/>
              <a:gd name="connsiteX5" fmla="*/ 4537 w 10003"/>
              <a:gd name="connsiteY5" fmla="*/ 10029 h 10029"/>
              <a:gd name="connsiteX6" fmla="*/ 4605 w 10003"/>
              <a:gd name="connsiteY6" fmla="*/ 9443 h 10029"/>
              <a:gd name="connsiteX7" fmla="*/ 4605 w 10003"/>
              <a:gd name="connsiteY7" fmla="*/ 4340 h 10029"/>
              <a:gd name="connsiteX8" fmla="*/ 4672 w 10003"/>
              <a:gd name="connsiteY8" fmla="*/ 3752 h 10029"/>
              <a:gd name="connsiteX9" fmla="*/ 8443 w 10003"/>
              <a:gd name="connsiteY9" fmla="*/ 3752 h 10029"/>
              <a:gd name="connsiteX10" fmla="*/ 8509 w 10003"/>
              <a:gd name="connsiteY10" fmla="*/ 4340 h 10029"/>
              <a:gd name="connsiteX11" fmla="*/ 8509 w 10003"/>
              <a:gd name="connsiteY11" fmla="*/ 6326 h 10029"/>
              <a:gd name="connsiteX12" fmla="*/ 8572 w 10003"/>
              <a:gd name="connsiteY12" fmla="*/ 6912 h 10029"/>
              <a:gd name="connsiteX13" fmla="*/ 9937 w 10003"/>
              <a:gd name="connsiteY13" fmla="*/ 6912 h 10029"/>
              <a:gd name="connsiteX14" fmla="*/ 10003 w 10003"/>
              <a:gd name="connsiteY14" fmla="*/ 6326 h 10029"/>
              <a:gd name="connsiteX0" fmla="*/ 0 w 10003"/>
              <a:gd name="connsiteY0" fmla="*/ 30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0 h 10029"/>
              <a:gd name="connsiteX1" fmla="*/ 844 w 10003"/>
              <a:gd name="connsiteY1" fmla="*/ 29 h 10029"/>
              <a:gd name="connsiteX2" fmla="*/ 910 w 10003"/>
              <a:gd name="connsiteY2" fmla="*/ 615 h 10029"/>
              <a:gd name="connsiteX3" fmla="*/ 910 w 10003"/>
              <a:gd name="connsiteY3" fmla="*/ 9443 h 10029"/>
              <a:gd name="connsiteX4" fmla="*/ 977 w 10003"/>
              <a:gd name="connsiteY4" fmla="*/ 10029 h 10029"/>
              <a:gd name="connsiteX5" fmla="*/ 4537 w 10003"/>
              <a:gd name="connsiteY5" fmla="*/ 10029 h 10029"/>
              <a:gd name="connsiteX6" fmla="*/ 4605 w 10003"/>
              <a:gd name="connsiteY6" fmla="*/ 9443 h 10029"/>
              <a:gd name="connsiteX7" fmla="*/ 4605 w 10003"/>
              <a:gd name="connsiteY7" fmla="*/ 4340 h 10029"/>
              <a:gd name="connsiteX8" fmla="*/ 4672 w 10003"/>
              <a:gd name="connsiteY8" fmla="*/ 3752 h 10029"/>
              <a:gd name="connsiteX9" fmla="*/ 8443 w 10003"/>
              <a:gd name="connsiteY9" fmla="*/ 3752 h 10029"/>
              <a:gd name="connsiteX10" fmla="*/ 8509 w 10003"/>
              <a:gd name="connsiteY10" fmla="*/ 4340 h 10029"/>
              <a:gd name="connsiteX11" fmla="*/ 8509 w 10003"/>
              <a:gd name="connsiteY11" fmla="*/ 6326 h 10029"/>
              <a:gd name="connsiteX12" fmla="*/ 8572 w 10003"/>
              <a:gd name="connsiteY12" fmla="*/ 6912 h 10029"/>
              <a:gd name="connsiteX13" fmla="*/ 9937 w 10003"/>
              <a:gd name="connsiteY13" fmla="*/ 6912 h 10029"/>
              <a:gd name="connsiteX14" fmla="*/ 10003 w 10003"/>
              <a:gd name="connsiteY14" fmla="*/ 6326 h 10029"/>
              <a:gd name="connsiteX0" fmla="*/ 0 w 10003"/>
              <a:gd name="connsiteY0" fmla="*/ 30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1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1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10003 w 10003"/>
              <a:gd name="connsiteY13" fmla="*/ 6297 h 10000"/>
              <a:gd name="connsiteX0" fmla="*/ 0 w 9498"/>
              <a:gd name="connsiteY0" fmla="*/ 1 h 10000"/>
              <a:gd name="connsiteX1" fmla="*/ 844 w 9498"/>
              <a:gd name="connsiteY1" fmla="*/ 0 h 10000"/>
              <a:gd name="connsiteX2" fmla="*/ 910 w 9498"/>
              <a:gd name="connsiteY2" fmla="*/ 586 h 10000"/>
              <a:gd name="connsiteX3" fmla="*/ 910 w 9498"/>
              <a:gd name="connsiteY3" fmla="*/ 9414 h 10000"/>
              <a:gd name="connsiteX4" fmla="*/ 977 w 9498"/>
              <a:gd name="connsiteY4" fmla="*/ 10000 h 10000"/>
              <a:gd name="connsiteX5" fmla="*/ 4537 w 9498"/>
              <a:gd name="connsiteY5" fmla="*/ 10000 h 10000"/>
              <a:gd name="connsiteX6" fmla="*/ 4605 w 9498"/>
              <a:gd name="connsiteY6" fmla="*/ 9414 h 10000"/>
              <a:gd name="connsiteX7" fmla="*/ 4605 w 9498"/>
              <a:gd name="connsiteY7" fmla="*/ 4311 h 10000"/>
              <a:gd name="connsiteX8" fmla="*/ 4672 w 9498"/>
              <a:gd name="connsiteY8" fmla="*/ 3723 h 10000"/>
              <a:gd name="connsiteX9" fmla="*/ 8443 w 9498"/>
              <a:gd name="connsiteY9" fmla="*/ 3723 h 10000"/>
              <a:gd name="connsiteX10" fmla="*/ 8509 w 9498"/>
              <a:gd name="connsiteY10" fmla="*/ 4311 h 10000"/>
              <a:gd name="connsiteX11" fmla="*/ 8509 w 9498"/>
              <a:gd name="connsiteY11" fmla="*/ 6297 h 10000"/>
              <a:gd name="connsiteX12" fmla="*/ 8572 w 9498"/>
              <a:gd name="connsiteY12" fmla="*/ 6883 h 10000"/>
              <a:gd name="connsiteX13" fmla="*/ 9498 w 9498"/>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49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1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1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1 w 10000"/>
              <a:gd name="connsiteY12" fmla="*/ 6861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27 h 10000"/>
              <a:gd name="connsiteX13" fmla="*/ 10000 w 10000"/>
              <a:gd name="connsiteY13" fmla="*/ 6912 h 10000"/>
              <a:gd name="connsiteX0" fmla="*/ 0 w 10029"/>
              <a:gd name="connsiteY0" fmla="*/ 1 h 10000"/>
              <a:gd name="connsiteX1" fmla="*/ 889 w 10029"/>
              <a:gd name="connsiteY1" fmla="*/ 0 h 10000"/>
              <a:gd name="connsiteX2" fmla="*/ 958 w 10029"/>
              <a:gd name="connsiteY2" fmla="*/ 586 h 10000"/>
              <a:gd name="connsiteX3" fmla="*/ 958 w 10029"/>
              <a:gd name="connsiteY3" fmla="*/ 9414 h 10000"/>
              <a:gd name="connsiteX4" fmla="*/ 1029 w 10029"/>
              <a:gd name="connsiteY4" fmla="*/ 10000 h 10000"/>
              <a:gd name="connsiteX5" fmla="*/ 4777 w 10029"/>
              <a:gd name="connsiteY5" fmla="*/ 10000 h 10000"/>
              <a:gd name="connsiteX6" fmla="*/ 4848 w 10029"/>
              <a:gd name="connsiteY6" fmla="*/ 9414 h 10000"/>
              <a:gd name="connsiteX7" fmla="*/ 4848 w 10029"/>
              <a:gd name="connsiteY7" fmla="*/ 4311 h 10000"/>
              <a:gd name="connsiteX8" fmla="*/ 4919 w 10029"/>
              <a:gd name="connsiteY8" fmla="*/ 3723 h 10000"/>
              <a:gd name="connsiteX9" fmla="*/ 8889 w 10029"/>
              <a:gd name="connsiteY9" fmla="*/ 3723 h 10000"/>
              <a:gd name="connsiteX10" fmla="*/ 8959 w 10029"/>
              <a:gd name="connsiteY10" fmla="*/ 4311 h 10000"/>
              <a:gd name="connsiteX11" fmla="*/ 8959 w 10029"/>
              <a:gd name="connsiteY11" fmla="*/ 6297 h 10000"/>
              <a:gd name="connsiteX12" fmla="*/ 9014 w 10029"/>
              <a:gd name="connsiteY12" fmla="*/ 6927 h 10000"/>
              <a:gd name="connsiteX13" fmla="*/ 10029 w 10029"/>
              <a:gd name="connsiteY13" fmla="*/ 6912 h 10000"/>
              <a:gd name="connsiteX0" fmla="*/ 0 w 10029"/>
              <a:gd name="connsiteY0" fmla="*/ 1 h 10000"/>
              <a:gd name="connsiteX1" fmla="*/ 889 w 10029"/>
              <a:gd name="connsiteY1" fmla="*/ 0 h 10000"/>
              <a:gd name="connsiteX2" fmla="*/ 958 w 10029"/>
              <a:gd name="connsiteY2" fmla="*/ 586 h 10000"/>
              <a:gd name="connsiteX3" fmla="*/ 958 w 10029"/>
              <a:gd name="connsiteY3" fmla="*/ 9414 h 10000"/>
              <a:gd name="connsiteX4" fmla="*/ 1029 w 10029"/>
              <a:gd name="connsiteY4" fmla="*/ 10000 h 10000"/>
              <a:gd name="connsiteX5" fmla="*/ 4777 w 10029"/>
              <a:gd name="connsiteY5" fmla="*/ 10000 h 10000"/>
              <a:gd name="connsiteX6" fmla="*/ 4848 w 10029"/>
              <a:gd name="connsiteY6" fmla="*/ 9414 h 10000"/>
              <a:gd name="connsiteX7" fmla="*/ 4848 w 10029"/>
              <a:gd name="connsiteY7" fmla="*/ 4311 h 10000"/>
              <a:gd name="connsiteX8" fmla="*/ 4919 w 10029"/>
              <a:gd name="connsiteY8" fmla="*/ 3723 h 10000"/>
              <a:gd name="connsiteX9" fmla="*/ 8889 w 10029"/>
              <a:gd name="connsiteY9" fmla="*/ 3723 h 10000"/>
              <a:gd name="connsiteX10" fmla="*/ 8959 w 10029"/>
              <a:gd name="connsiteY10" fmla="*/ 4311 h 10000"/>
              <a:gd name="connsiteX11" fmla="*/ 8959 w 10029"/>
              <a:gd name="connsiteY11" fmla="*/ 6297 h 10000"/>
              <a:gd name="connsiteX12" fmla="*/ 9014 w 10029"/>
              <a:gd name="connsiteY12" fmla="*/ 6927 h 10000"/>
              <a:gd name="connsiteX13" fmla="*/ 10029 w 10029"/>
              <a:gd name="connsiteY13" fmla="*/ 6912 h 10000"/>
              <a:gd name="connsiteX0" fmla="*/ 0 w 10063"/>
              <a:gd name="connsiteY0" fmla="*/ 1 h 10000"/>
              <a:gd name="connsiteX1" fmla="*/ 889 w 10063"/>
              <a:gd name="connsiteY1" fmla="*/ 0 h 10000"/>
              <a:gd name="connsiteX2" fmla="*/ 958 w 10063"/>
              <a:gd name="connsiteY2" fmla="*/ 586 h 10000"/>
              <a:gd name="connsiteX3" fmla="*/ 958 w 10063"/>
              <a:gd name="connsiteY3" fmla="*/ 9414 h 10000"/>
              <a:gd name="connsiteX4" fmla="*/ 1029 w 10063"/>
              <a:gd name="connsiteY4" fmla="*/ 10000 h 10000"/>
              <a:gd name="connsiteX5" fmla="*/ 4777 w 10063"/>
              <a:gd name="connsiteY5" fmla="*/ 10000 h 10000"/>
              <a:gd name="connsiteX6" fmla="*/ 4848 w 10063"/>
              <a:gd name="connsiteY6" fmla="*/ 9414 h 10000"/>
              <a:gd name="connsiteX7" fmla="*/ 4848 w 10063"/>
              <a:gd name="connsiteY7" fmla="*/ 4311 h 10000"/>
              <a:gd name="connsiteX8" fmla="*/ 4919 w 10063"/>
              <a:gd name="connsiteY8" fmla="*/ 3723 h 10000"/>
              <a:gd name="connsiteX9" fmla="*/ 8889 w 10063"/>
              <a:gd name="connsiteY9" fmla="*/ 3723 h 10000"/>
              <a:gd name="connsiteX10" fmla="*/ 8959 w 10063"/>
              <a:gd name="connsiteY10" fmla="*/ 4311 h 10000"/>
              <a:gd name="connsiteX11" fmla="*/ 8959 w 10063"/>
              <a:gd name="connsiteY11" fmla="*/ 6297 h 10000"/>
              <a:gd name="connsiteX12" fmla="*/ 9014 w 10063"/>
              <a:gd name="connsiteY12" fmla="*/ 6927 h 10000"/>
              <a:gd name="connsiteX13" fmla="*/ 10063 w 10063"/>
              <a:gd name="connsiteY13" fmla="*/ 6912 h 10000"/>
              <a:gd name="connsiteX0" fmla="*/ 0 w 9995"/>
              <a:gd name="connsiteY0" fmla="*/ 1 h 10000"/>
              <a:gd name="connsiteX1" fmla="*/ 889 w 9995"/>
              <a:gd name="connsiteY1" fmla="*/ 0 h 10000"/>
              <a:gd name="connsiteX2" fmla="*/ 958 w 9995"/>
              <a:gd name="connsiteY2" fmla="*/ 586 h 10000"/>
              <a:gd name="connsiteX3" fmla="*/ 958 w 9995"/>
              <a:gd name="connsiteY3" fmla="*/ 9414 h 10000"/>
              <a:gd name="connsiteX4" fmla="*/ 1029 w 9995"/>
              <a:gd name="connsiteY4" fmla="*/ 10000 h 10000"/>
              <a:gd name="connsiteX5" fmla="*/ 4777 w 9995"/>
              <a:gd name="connsiteY5" fmla="*/ 10000 h 10000"/>
              <a:gd name="connsiteX6" fmla="*/ 4848 w 9995"/>
              <a:gd name="connsiteY6" fmla="*/ 9414 h 10000"/>
              <a:gd name="connsiteX7" fmla="*/ 4848 w 9995"/>
              <a:gd name="connsiteY7" fmla="*/ 4311 h 10000"/>
              <a:gd name="connsiteX8" fmla="*/ 4919 w 9995"/>
              <a:gd name="connsiteY8" fmla="*/ 3723 h 10000"/>
              <a:gd name="connsiteX9" fmla="*/ 8889 w 9995"/>
              <a:gd name="connsiteY9" fmla="*/ 3723 h 10000"/>
              <a:gd name="connsiteX10" fmla="*/ 8959 w 9995"/>
              <a:gd name="connsiteY10" fmla="*/ 4311 h 10000"/>
              <a:gd name="connsiteX11" fmla="*/ 8959 w 9995"/>
              <a:gd name="connsiteY11" fmla="*/ 6297 h 10000"/>
              <a:gd name="connsiteX12" fmla="*/ 9014 w 9995"/>
              <a:gd name="connsiteY12" fmla="*/ 6927 h 10000"/>
              <a:gd name="connsiteX13" fmla="*/ 9995 w 9995"/>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78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34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22 w 10000"/>
              <a:gd name="connsiteY12" fmla="*/ 6949 h 10000"/>
              <a:gd name="connsiteX13" fmla="*/ 10000 w 10000"/>
              <a:gd name="connsiteY13" fmla="*/ 6934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49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7000 h 10000"/>
              <a:gd name="connsiteX0" fmla="*/ 0 w 10007"/>
              <a:gd name="connsiteY0" fmla="*/ 1 h 10000"/>
              <a:gd name="connsiteX1" fmla="*/ 889 w 10007"/>
              <a:gd name="connsiteY1" fmla="*/ 0 h 10000"/>
              <a:gd name="connsiteX2" fmla="*/ 958 w 10007"/>
              <a:gd name="connsiteY2" fmla="*/ 586 h 10000"/>
              <a:gd name="connsiteX3" fmla="*/ 958 w 10007"/>
              <a:gd name="connsiteY3" fmla="*/ 9414 h 10000"/>
              <a:gd name="connsiteX4" fmla="*/ 1030 w 10007"/>
              <a:gd name="connsiteY4" fmla="*/ 10000 h 10000"/>
              <a:gd name="connsiteX5" fmla="*/ 4779 w 10007"/>
              <a:gd name="connsiteY5" fmla="*/ 10000 h 10000"/>
              <a:gd name="connsiteX6" fmla="*/ 4850 w 10007"/>
              <a:gd name="connsiteY6" fmla="*/ 9414 h 10000"/>
              <a:gd name="connsiteX7" fmla="*/ 4850 w 10007"/>
              <a:gd name="connsiteY7" fmla="*/ 4311 h 10000"/>
              <a:gd name="connsiteX8" fmla="*/ 4921 w 10007"/>
              <a:gd name="connsiteY8" fmla="*/ 3723 h 10000"/>
              <a:gd name="connsiteX9" fmla="*/ 8893 w 10007"/>
              <a:gd name="connsiteY9" fmla="*/ 3723 h 10000"/>
              <a:gd name="connsiteX10" fmla="*/ 8963 w 10007"/>
              <a:gd name="connsiteY10" fmla="*/ 4311 h 10000"/>
              <a:gd name="connsiteX11" fmla="*/ 8963 w 10007"/>
              <a:gd name="connsiteY11" fmla="*/ 6297 h 10000"/>
              <a:gd name="connsiteX12" fmla="*/ 9022 w 10007"/>
              <a:gd name="connsiteY12" fmla="*/ 6971 h 10000"/>
              <a:gd name="connsiteX13" fmla="*/ 10007 w 10007"/>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7000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7000 h 10000"/>
              <a:gd name="connsiteX0" fmla="*/ 0 w 10013"/>
              <a:gd name="connsiteY0" fmla="*/ 1 h 10000"/>
              <a:gd name="connsiteX1" fmla="*/ 889 w 10013"/>
              <a:gd name="connsiteY1" fmla="*/ 0 h 10000"/>
              <a:gd name="connsiteX2" fmla="*/ 958 w 10013"/>
              <a:gd name="connsiteY2" fmla="*/ 586 h 10000"/>
              <a:gd name="connsiteX3" fmla="*/ 958 w 10013"/>
              <a:gd name="connsiteY3" fmla="*/ 9414 h 10000"/>
              <a:gd name="connsiteX4" fmla="*/ 1030 w 10013"/>
              <a:gd name="connsiteY4" fmla="*/ 10000 h 10000"/>
              <a:gd name="connsiteX5" fmla="*/ 4779 w 10013"/>
              <a:gd name="connsiteY5" fmla="*/ 10000 h 10000"/>
              <a:gd name="connsiteX6" fmla="*/ 4850 w 10013"/>
              <a:gd name="connsiteY6" fmla="*/ 9414 h 10000"/>
              <a:gd name="connsiteX7" fmla="*/ 4850 w 10013"/>
              <a:gd name="connsiteY7" fmla="*/ 4311 h 10000"/>
              <a:gd name="connsiteX8" fmla="*/ 4921 w 10013"/>
              <a:gd name="connsiteY8" fmla="*/ 3723 h 10000"/>
              <a:gd name="connsiteX9" fmla="*/ 8893 w 10013"/>
              <a:gd name="connsiteY9" fmla="*/ 3723 h 10000"/>
              <a:gd name="connsiteX10" fmla="*/ 8963 w 10013"/>
              <a:gd name="connsiteY10" fmla="*/ 4311 h 10000"/>
              <a:gd name="connsiteX11" fmla="*/ 8963 w 10013"/>
              <a:gd name="connsiteY11" fmla="*/ 6297 h 10000"/>
              <a:gd name="connsiteX12" fmla="*/ 9022 w 10013"/>
              <a:gd name="connsiteY12" fmla="*/ 6971 h 10000"/>
              <a:gd name="connsiteX13" fmla="*/ 10013 w 10013"/>
              <a:gd name="connsiteY13" fmla="*/ 6956 h 10000"/>
              <a:gd name="connsiteX0" fmla="*/ 0 w 10081"/>
              <a:gd name="connsiteY0" fmla="*/ 1 h 10000"/>
              <a:gd name="connsiteX1" fmla="*/ 889 w 10081"/>
              <a:gd name="connsiteY1" fmla="*/ 0 h 10000"/>
              <a:gd name="connsiteX2" fmla="*/ 958 w 10081"/>
              <a:gd name="connsiteY2" fmla="*/ 586 h 10000"/>
              <a:gd name="connsiteX3" fmla="*/ 958 w 10081"/>
              <a:gd name="connsiteY3" fmla="*/ 9414 h 10000"/>
              <a:gd name="connsiteX4" fmla="*/ 1030 w 10081"/>
              <a:gd name="connsiteY4" fmla="*/ 10000 h 10000"/>
              <a:gd name="connsiteX5" fmla="*/ 4779 w 10081"/>
              <a:gd name="connsiteY5" fmla="*/ 10000 h 10000"/>
              <a:gd name="connsiteX6" fmla="*/ 4850 w 10081"/>
              <a:gd name="connsiteY6" fmla="*/ 9414 h 10000"/>
              <a:gd name="connsiteX7" fmla="*/ 4850 w 10081"/>
              <a:gd name="connsiteY7" fmla="*/ 4311 h 10000"/>
              <a:gd name="connsiteX8" fmla="*/ 4921 w 10081"/>
              <a:gd name="connsiteY8" fmla="*/ 3723 h 10000"/>
              <a:gd name="connsiteX9" fmla="*/ 8893 w 10081"/>
              <a:gd name="connsiteY9" fmla="*/ 3723 h 10000"/>
              <a:gd name="connsiteX10" fmla="*/ 8963 w 10081"/>
              <a:gd name="connsiteY10" fmla="*/ 4311 h 10000"/>
              <a:gd name="connsiteX11" fmla="*/ 8963 w 10081"/>
              <a:gd name="connsiteY11" fmla="*/ 6297 h 10000"/>
              <a:gd name="connsiteX12" fmla="*/ 9022 w 10081"/>
              <a:gd name="connsiteY12" fmla="*/ 6971 h 10000"/>
              <a:gd name="connsiteX13" fmla="*/ 10081 w 10081"/>
              <a:gd name="connsiteY13" fmla="*/ 6978 h 10000"/>
              <a:gd name="connsiteX0" fmla="*/ 0 w 10089"/>
              <a:gd name="connsiteY0" fmla="*/ 1 h 10000"/>
              <a:gd name="connsiteX1" fmla="*/ 889 w 10089"/>
              <a:gd name="connsiteY1" fmla="*/ 0 h 10000"/>
              <a:gd name="connsiteX2" fmla="*/ 958 w 10089"/>
              <a:gd name="connsiteY2" fmla="*/ 586 h 10000"/>
              <a:gd name="connsiteX3" fmla="*/ 958 w 10089"/>
              <a:gd name="connsiteY3" fmla="*/ 9414 h 10000"/>
              <a:gd name="connsiteX4" fmla="*/ 1030 w 10089"/>
              <a:gd name="connsiteY4" fmla="*/ 10000 h 10000"/>
              <a:gd name="connsiteX5" fmla="*/ 4779 w 10089"/>
              <a:gd name="connsiteY5" fmla="*/ 10000 h 10000"/>
              <a:gd name="connsiteX6" fmla="*/ 4850 w 10089"/>
              <a:gd name="connsiteY6" fmla="*/ 9414 h 10000"/>
              <a:gd name="connsiteX7" fmla="*/ 4850 w 10089"/>
              <a:gd name="connsiteY7" fmla="*/ 4311 h 10000"/>
              <a:gd name="connsiteX8" fmla="*/ 4921 w 10089"/>
              <a:gd name="connsiteY8" fmla="*/ 3723 h 10000"/>
              <a:gd name="connsiteX9" fmla="*/ 8893 w 10089"/>
              <a:gd name="connsiteY9" fmla="*/ 3723 h 10000"/>
              <a:gd name="connsiteX10" fmla="*/ 8963 w 10089"/>
              <a:gd name="connsiteY10" fmla="*/ 4311 h 10000"/>
              <a:gd name="connsiteX11" fmla="*/ 8963 w 10089"/>
              <a:gd name="connsiteY11" fmla="*/ 6297 h 10000"/>
              <a:gd name="connsiteX12" fmla="*/ 9022 w 10089"/>
              <a:gd name="connsiteY12" fmla="*/ 6971 h 10000"/>
              <a:gd name="connsiteX13" fmla="*/ 10089 w 10089"/>
              <a:gd name="connsiteY13" fmla="*/ 6956 h 10000"/>
              <a:gd name="connsiteX0" fmla="*/ 0 w 10092"/>
              <a:gd name="connsiteY0" fmla="*/ 1 h 10000"/>
              <a:gd name="connsiteX1" fmla="*/ 889 w 10092"/>
              <a:gd name="connsiteY1" fmla="*/ 0 h 10000"/>
              <a:gd name="connsiteX2" fmla="*/ 958 w 10092"/>
              <a:gd name="connsiteY2" fmla="*/ 586 h 10000"/>
              <a:gd name="connsiteX3" fmla="*/ 958 w 10092"/>
              <a:gd name="connsiteY3" fmla="*/ 9414 h 10000"/>
              <a:gd name="connsiteX4" fmla="*/ 1030 w 10092"/>
              <a:gd name="connsiteY4" fmla="*/ 10000 h 10000"/>
              <a:gd name="connsiteX5" fmla="*/ 4779 w 10092"/>
              <a:gd name="connsiteY5" fmla="*/ 10000 h 10000"/>
              <a:gd name="connsiteX6" fmla="*/ 4850 w 10092"/>
              <a:gd name="connsiteY6" fmla="*/ 9414 h 10000"/>
              <a:gd name="connsiteX7" fmla="*/ 4850 w 10092"/>
              <a:gd name="connsiteY7" fmla="*/ 4311 h 10000"/>
              <a:gd name="connsiteX8" fmla="*/ 4921 w 10092"/>
              <a:gd name="connsiteY8" fmla="*/ 3723 h 10000"/>
              <a:gd name="connsiteX9" fmla="*/ 8893 w 10092"/>
              <a:gd name="connsiteY9" fmla="*/ 3723 h 10000"/>
              <a:gd name="connsiteX10" fmla="*/ 8963 w 10092"/>
              <a:gd name="connsiteY10" fmla="*/ 4311 h 10000"/>
              <a:gd name="connsiteX11" fmla="*/ 8963 w 10092"/>
              <a:gd name="connsiteY11" fmla="*/ 6297 h 10000"/>
              <a:gd name="connsiteX12" fmla="*/ 9022 w 10092"/>
              <a:gd name="connsiteY12" fmla="*/ 6971 h 10000"/>
              <a:gd name="connsiteX13" fmla="*/ 10092 w 10092"/>
              <a:gd name="connsiteY13" fmla="*/ 6978 h 10000"/>
              <a:gd name="connsiteX0" fmla="*/ 0 w 10095"/>
              <a:gd name="connsiteY0" fmla="*/ 1 h 10000"/>
              <a:gd name="connsiteX1" fmla="*/ 889 w 10095"/>
              <a:gd name="connsiteY1" fmla="*/ 0 h 10000"/>
              <a:gd name="connsiteX2" fmla="*/ 958 w 10095"/>
              <a:gd name="connsiteY2" fmla="*/ 586 h 10000"/>
              <a:gd name="connsiteX3" fmla="*/ 958 w 10095"/>
              <a:gd name="connsiteY3" fmla="*/ 9414 h 10000"/>
              <a:gd name="connsiteX4" fmla="*/ 1030 w 10095"/>
              <a:gd name="connsiteY4" fmla="*/ 10000 h 10000"/>
              <a:gd name="connsiteX5" fmla="*/ 4779 w 10095"/>
              <a:gd name="connsiteY5" fmla="*/ 10000 h 10000"/>
              <a:gd name="connsiteX6" fmla="*/ 4850 w 10095"/>
              <a:gd name="connsiteY6" fmla="*/ 9414 h 10000"/>
              <a:gd name="connsiteX7" fmla="*/ 4850 w 10095"/>
              <a:gd name="connsiteY7" fmla="*/ 4311 h 10000"/>
              <a:gd name="connsiteX8" fmla="*/ 4921 w 10095"/>
              <a:gd name="connsiteY8" fmla="*/ 3723 h 10000"/>
              <a:gd name="connsiteX9" fmla="*/ 8893 w 10095"/>
              <a:gd name="connsiteY9" fmla="*/ 3723 h 10000"/>
              <a:gd name="connsiteX10" fmla="*/ 8963 w 10095"/>
              <a:gd name="connsiteY10" fmla="*/ 4311 h 10000"/>
              <a:gd name="connsiteX11" fmla="*/ 8963 w 10095"/>
              <a:gd name="connsiteY11" fmla="*/ 6297 h 10000"/>
              <a:gd name="connsiteX12" fmla="*/ 9022 w 10095"/>
              <a:gd name="connsiteY12" fmla="*/ 6971 h 10000"/>
              <a:gd name="connsiteX13" fmla="*/ 10095 w 10095"/>
              <a:gd name="connsiteY13" fmla="*/ 6978 h 10000"/>
              <a:gd name="connsiteX0" fmla="*/ 0 w 10095"/>
              <a:gd name="connsiteY0" fmla="*/ 1 h 10000"/>
              <a:gd name="connsiteX1" fmla="*/ 889 w 10095"/>
              <a:gd name="connsiteY1" fmla="*/ 0 h 10000"/>
              <a:gd name="connsiteX2" fmla="*/ 958 w 10095"/>
              <a:gd name="connsiteY2" fmla="*/ 586 h 10000"/>
              <a:gd name="connsiteX3" fmla="*/ 958 w 10095"/>
              <a:gd name="connsiteY3" fmla="*/ 9414 h 10000"/>
              <a:gd name="connsiteX4" fmla="*/ 1030 w 10095"/>
              <a:gd name="connsiteY4" fmla="*/ 10000 h 10000"/>
              <a:gd name="connsiteX5" fmla="*/ 4779 w 10095"/>
              <a:gd name="connsiteY5" fmla="*/ 10000 h 10000"/>
              <a:gd name="connsiteX6" fmla="*/ 4850 w 10095"/>
              <a:gd name="connsiteY6" fmla="*/ 9414 h 10000"/>
              <a:gd name="connsiteX7" fmla="*/ 4850 w 10095"/>
              <a:gd name="connsiteY7" fmla="*/ 4311 h 10000"/>
              <a:gd name="connsiteX8" fmla="*/ 4921 w 10095"/>
              <a:gd name="connsiteY8" fmla="*/ 3723 h 10000"/>
              <a:gd name="connsiteX9" fmla="*/ 8893 w 10095"/>
              <a:gd name="connsiteY9" fmla="*/ 3723 h 10000"/>
              <a:gd name="connsiteX10" fmla="*/ 8963 w 10095"/>
              <a:gd name="connsiteY10" fmla="*/ 4311 h 10000"/>
              <a:gd name="connsiteX11" fmla="*/ 8963 w 10095"/>
              <a:gd name="connsiteY11" fmla="*/ 6297 h 10000"/>
              <a:gd name="connsiteX12" fmla="*/ 9022 w 10095"/>
              <a:gd name="connsiteY12" fmla="*/ 6971 h 10000"/>
              <a:gd name="connsiteX13" fmla="*/ 10095 w 10095"/>
              <a:gd name="connsiteY13" fmla="*/ 6978 h 10000"/>
              <a:gd name="connsiteX0" fmla="*/ 0 w 10095"/>
              <a:gd name="connsiteY0" fmla="*/ 1 h 10000"/>
              <a:gd name="connsiteX1" fmla="*/ 889 w 10095"/>
              <a:gd name="connsiteY1" fmla="*/ 0 h 10000"/>
              <a:gd name="connsiteX2" fmla="*/ 958 w 10095"/>
              <a:gd name="connsiteY2" fmla="*/ 586 h 10000"/>
              <a:gd name="connsiteX3" fmla="*/ 958 w 10095"/>
              <a:gd name="connsiteY3" fmla="*/ 9414 h 10000"/>
              <a:gd name="connsiteX4" fmla="*/ 1030 w 10095"/>
              <a:gd name="connsiteY4" fmla="*/ 10000 h 10000"/>
              <a:gd name="connsiteX5" fmla="*/ 4779 w 10095"/>
              <a:gd name="connsiteY5" fmla="*/ 10000 h 10000"/>
              <a:gd name="connsiteX6" fmla="*/ 4850 w 10095"/>
              <a:gd name="connsiteY6" fmla="*/ 9414 h 10000"/>
              <a:gd name="connsiteX7" fmla="*/ 4850 w 10095"/>
              <a:gd name="connsiteY7" fmla="*/ 4311 h 10000"/>
              <a:gd name="connsiteX8" fmla="*/ 4921 w 10095"/>
              <a:gd name="connsiteY8" fmla="*/ 3723 h 10000"/>
              <a:gd name="connsiteX9" fmla="*/ 8893 w 10095"/>
              <a:gd name="connsiteY9" fmla="*/ 3723 h 10000"/>
              <a:gd name="connsiteX10" fmla="*/ 8963 w 10095"/>
              <a:gd name="connsiteY10" fmla="*/ 4311 h 10000"/>
              <a:gd name="connsiteX11" fmla="*/ 8963 w 10095"/>
              <a:gd name="connsiteY11" fmla="*/ 6297 h 10000"/>
              <a:gd name="connsiteX12" fmla="*/ 9022 w 10095"/>
              <a:gd name="connsiteY12" fmla="*/ 6971 h 10000"/>
              <a:gd name="connsiteX13" fmla="*/ 10095 w 10095"/>
              <a:gd name="connsiteY13" fmla="*/ 6912 h 10000"/>
              <a:gd name="connsiteX0" fmla="*/ 0 w 10105"/>
              <a:gd name="connsiteY0" fmla="*/ 1 h 10000"/>
              <a:gd name="connsiteX1" fmla="*/ 889 w 10105"/>
              <a:gd name="connsiteY1" fmla="*/ 0 h 10000"/>
              <a:gd name="connsiteX2" fmla="*/ 958 w 10105"/>
              <a:gd name="connsiteY2" fmla="*/ 586 h 10000"/>
              <a:gd name="connsiteX3" fmla="*/ 958 w 10105"/>
              <a:gd name="connsiteY3" fmla="*/ 9414 h 10000"/>
              <a:gd name="connsiteX4" fmla="*/ 1030 w 10105"/>
              <a:gd name="connsiteY4" fmla="*/ 10000 h 10000"/>
              <a:gd name="connsiteX5" fmla="*/ 4779 w 10105"/>
              <a:gd name="connsiteY5" fmla="*/ 10000 h 10000"/>
              <a:gd name="connsiteX6" fmla="*/ 4850 w 10105"/>
              <a:gd name="connsiteY6" fmla="*/ 9414 h 10000"/>
              <a:gd name="connsiteX7" fmla="*/ 4850 w 10105"/>
              <a:gd name="connsiteY7" fmla="*/ 4311 h 10000"/>
              <a:gd name="connsiteX8" fmla="*/ 4921 w 10105"/>
              <a:gd name="connsiteY8" fmla="*/ 3723 h 10000"/>
              <a:gd name="connsiteX9" fmla="*/ 8893 w 10105"/>
              <a:gd name="connsiteY9" fmla="*/ 3723 h 10000"/>
              <a:gd name="connsiteX10" fmla="*/ 8963 w 10105"/>
              <a:gd name="connsiteY10" fmla="*/ 4311 h 10000"/>
              <a:gd name="connsiteX11" fmla="*/ 8963 w 10105"/>
              <a:gd name="connsiteY11" fmla="*/ 6297 h 10000"/>
              <a:gd name="connsiteX12" fmla="*/ 9022 w 10105"/>
              <a:gd name="connsiteY12" fmla="*/ 6971 h 10000"/>
              <a:gd name="connsiteX13" fmla="*/ 10105 w 10105"/>
              <a:gd name="connsiteY13" fmla="*/ 6978 h 10000"/>
              <a:gd name="connsiteX0" fmla="*/ 0 w 10105"/>
              <a:gd name="connsiteY0" fmla="*/ 1 h 10000"/>
              <a:gd name="connsiteX1" fmla="*/ 889 w 10105"/>
              <a:gd name="connsiteY1" fmla="*/ 0 h 10000"/>
              <a:gd name="connsiteX2" fmla="*/ 958 w 10105"/>
              <a:gd name="connsiteY2" fmla="*/ 586 h 10000"/>
              <a:gd name="connsiteX3" fmla="*/ 958 w 10105"/>
              <a:gd name="connsiteY3" fmla="*/ 9414 h 10000"/>
              <a:gd name="connsiteX4" fmla="*/ 1030 w 10105"/>
              <a:gd name="connsiteY4" fmla="*/ 10000 h 10000"/>
              <a:gd name="connsiteX5" fmla="*/ 4779 w 10105"/>
              <a:gd name="connsiteY5" fmla="*/ 10000 h 10000"/>
              <a:gd name="connsiteX6" fmla="*/ 4850 w 10105"/>
              <a:gd name="connsiteY6" fmla="*/ 9414 h 10000"/>
              <a:gd name="connsiteX7" fmla="*/ 4850 w 10105"/>
              <a:gd name="connsiteY7" fmla="*/ 4311 h 10000"/>
              <a:gd name="connsiteX8" fmla="*/ 4921 w 10105"/>
              <a:gd name="connsiteY8" fmla="*/ 3723 h 10000"/>
              <a:gd name="connsiteX9" fmla="*/ 8893 w 10105"/>
              <a:gd name="connsiteY9" fmla="*/ 3723 h 10000"/>
              <a:gd name="connsiteX10" fmla="*/ 8963 w 10105"/>
              <a:gd name="connsiteY10" fmla="*/ 4311 h 10000"/>
              <a:gd name="connsiteX11" fmla="*/ 8963 w 10105"/>
              <a:gd name="connsiteY11" fmla="*/ 6297 h 10000"/>
              <a:gd name="connsiteX12" fmla="*/ 9022 w 10105"/>
              <a:gd name="connsiteY12" fmla="*/ 6971 h 10000"/>
              <a:gd name="connsiteX13" fmla="*/ 10105 w 10105"/>
              <a:gd name="connsiteY13" fmla="*/ 6978 h 10000"/>
              <a:gd name="connsiteX0" fmla="*/ 0 w 10105"/>
              <a:gd name="connsiteY0" fmla="*/ 1 h 10000"/>
              <a:gd name="connsiteX1" fmla="*/ 889 w 10105"/>
              <a:gd name="connsiteY1" fmla="*/ 0 h 10000"/>
              <a:gd name="connsiteX2" fmla="*/ 958 w 10105"/>
              <a:gd name="connsiteY2" fmla="*/ 586 h 10000"/>
              <a:gd name="connsiteX3" fmla="*/ 958 w 10105"/>
              <a:gd name="connsiteY3" fmla="*/ 9414 h 10000"/>
              <a:gd name="connsiteX4" fmla="*/ 1030 w 10105"/>
              <a:gd name="connsiteY4" fmla="*/ 10000 h 10000"/>
              <a:gd name="connsiteX5" fmla="*/ 4779 w 10105"/>
              <a:gd name="connsiteY5" fmla="*/ 10000 h 10000"/>
              <a:gd name="connsiteX6" fmla="*/ 4850 w 10105"/>
              <a:gd name="connsiteY6" fmla="*/ 9414 h 10000"/>
              <a:gd name="connsiteX7" fmla="*/ 4850 w 10105"/>
              <a:gd name="connsiteY7" fmla="*/ 4311 h 10000"/>
              <a:gd name="connsiteX8" fmla="*/ 4921 w 10105"/>
              <a:gd name="connsiteY8" fmla="*/ 3723 h 10000"/>
              <a:gd name="connsiteX9" fmla="*/ 8893 w 10105"/>
              <a:gd name="connsiteY9" fmla="*/ 3723 h 10000"/>
              <a:gd name="connsiteX10" fmla="*/ 8963 w 10105"/>
              <a:gd name="connsiteY10" fmla="*/ 4311 h 10000"/>
              <a:gd name="connsiteX11" fmla="*/ 8963 w 10105"/>
              <a:gd name="connsiteY11" fmla="*/ 6297 h 10000"/>
              <a:gd name="connsiteX12" fmla="*/ 9022 w 10105"/>
              <a:gd name="connsiteY12" fmla="*/ 6971 h 10000"/>
              <a:gd name="connsiteX13" fmla="*/ 10105 w 10105"/>
              <a:gd name="connsiteY13" fmla="*/ 6978 h 10000"/>
              <a:gd name="connsiteX0" fmla="*/ 0 w 10131"/>
              <a:gd name="connsiteY0" fmla="*/ 1 h 10000"/>
              <a:gd name="connsiteX1" fmla="*/ 889 w 10131"/>
              <a:gd name="connsiteY1" fmla="*/ 0 h 10000"/>
              <a:gd name="connsiteX2" fmla="*/ 958 w 10131"/>
              <a:gd name="connsiteY2" fmla="*/ 586 h 10000"/>
              <a:gd name="connsiteX3" fmla="*/ 958 w 10131"/>
              <a:gd name="connsiteY3" fmla="*/ 9414 h 10000"/>
              <a:gd name="connsiteX4" fmla="*/ 1030 w 10131"/>
              <a:gd name="connsiteY4" fmla="*/ 10000 h 10000"/>
              <a:gd name="connsiteX5" fmla="*/ 4779 w 10131"/>
              <a:gd name="connsiteY5" fmla="*/ 10000 h 10000"/>
              <a:gd name="connsiteX6" fmla="*/ 4850 w 10131"/>
              <a:gd name="connsiteY6" fmla="*/ 9414 h 10000"/>
              <a:gd name="connsiteX7" fmla="*/ 4850 w 10131"/>
              <a:gd name="connsiteY7" fmla="*/ 4311 h 10000"/>
              <a:gd name="connsiteX8" fmla="*/ 4921 w 10131"/>
              <a:gd name="connsiteY8" fmla="*/ 3723 h 10000"/>
              <a:gd name="connsiteX9" fmla="*/ 8893 w 10131"/>
              <a:gd name="connsiteY9" fmla="*/ 3723 h 10000"/>
              <a:gd name="connsiteX10" fmla="*/ 8963 w 10131"/>
              <a:gd name="connsiteY10" fmla="*/ 4311 h 10000"/>
              <a:gd name="connsiteX11" fmla="*/ 8963 w 10131"/>
              <a:gd name="connsiteY11" fmla="*/ 6297 h 10000"/>
              <a:gd name="connsiteX12" fmla="*/ 9022 w 10131"/>
              <a:gd name="connsiteY12" fmla="*/ 6971 h 10000"/>
              <a:gd name="connsiteX13" fmla="*/ 10131 w 10131"/>
              <a:gd name="connsiteY13" fmla="*/ 6978 h 10000"/>
              <a:gd name="connsiteX0" fmla="*/ 0 w 9996"/>
              <a:gd name="connsiteY0" fmla="*/ 1 h 10000"/>
              <a:gd name="connsiteX1" fmla="*/ 889 w 9996"/>
              <a:gd name="connsiteY1" fmla="*/ 0 h 10000"/>
              <a:gd name="connsiteX2" fmla="*/ 958 w 9996"/>
              <a:gd name="connsiteY2" fmla="*/ 586 h 10000"/>
              <a:gd name="connsiteX3" fmla="*/ 958 w 9996"/>
              <a:gd name="connsiteY3" fmla="*/ 9414 h 10000"/>
              <a:gd name="connsiteX4" fmla="*/ 1030 w 9996"/>
              <a:gd name="connsiteY4" fmla="*/ 10000 h 10000"/>
              <a:gd name="connsiteX5" fmla="*/ 4779 w 9996"/>
              <a:gd name="connsiteY5" fmla="*/ 10000 h 10000"/>
              <a:gd name="connsiteX6" fmla="*/ 4850 w 9996"/>
              <a:gd name="connsiteY6" fmla="*/ 9414 h 10000"/>
              <a:gd name="connsiteX7" fmla="*/ 4850 w 9996"/>
              <a:gd name="connsiteY7" fmla="*/ 4311 h 10000"/>
              <a:gd name="connsiteX8" fmla="*/ 4921 w 9996"/>
              <a:gd name="connsiteY8" fmla="*/ 3723 h 10000"/>
              <a:gd name="connsiteX9" fmla="*/ 8893 w 9996"/>
              <a:gd name="connsiteY9" fmla="*/ 3723 h 10000"/>
              <a:gd name="connsiteX10" fmla="*/ 8963 w 9996"/>
              <a:gd name="connsiteY10" fmla="*/ 4311 h 10000"/>
              <a:gd name="connsiteX11" fmla="*/ 8963 w 9996"/>
              <a:gd name="connsiteY11" fmla="*/ 6297 h 10000"/>
              <a:gd name="connsiteX12" fmla="*/ 9022 w 9996"/>
              <a:gd name="connsiteY12" fmla="*/ 6971 h 10000"/>
              <a:gd name="connsiteX13" fmla="*/ 9996 w 9996"/>
              <a:gd name="connsiteY13" fmla="*/ 6978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996" h="10000">
                <a:moveTo>
                  <a:pt x="0" y="1"/>
                </a:moveTo>
                <a:lnTo>
                  <a:pt x="889" y="0"/>
                </a:lnTo>
                <a:cubicBezTo>
                  <a:pt x="924" y="0"/>
                  <a:pt x="958" y="272"/>
                  <a:pt x="958" y="586"/>
                </a:cubicBezTo>
                <a:lnTo>
                  <a:pt x="958" y="9414"/>
                </a:lnTo>
                <a:cubicBezTo>
                  <a:pt x="958" y="9750"/>
                  <a:pt x="989" y="10000"/>
                  <a:pt x="1030" y="10000"/>
                </a:cubicBezTo>
                <a:lnTo>
                  <a:pt x="4779" y="10000"/>
                </a:lnTo>
                <a:cubicBezTo>
                  <a:pt x="4818" y="10000"/>
                  <a:pt x="4850" y="9750"/>
                  <a:pt x="4850" y="9414"/>
                </a:cubicBezTo>
                <a:lnTo>
                  <a:pt x="4850" y="4311"/>
                </a:lnTo>
                <a:cubicBezTo>
                  <a:pt x="4850" y="3996"/>
                  <a:pt x="4883" y="3723"/>
                  <a:pt x="4921" y="3723"/>
                </a:cubicBezTo>
                <a:lnTo>
                  <a:pt x="8893" y="3723"/>
                </a:lnTo>
                <a:cubicBezTo>
                  <a:pt x="8932" y="3723"/>
                  <a:pt x="8963" y="3996"/>
                  <a:pt x="8963" y="4311"/>
                </a:cubicBezTo>
                <a:lnTo>
                  <a:pt x="8963" y="6297"/>
                </a:lnTo>
                <a:cubicBezTo>
                  <a:pt x="8963" y="6633"/>
                  <a:pt x="8986" y="6971"/>
                  <a:pt x="9022" y="6971"/>
                </a:cubicBezTo>
                <a:cubicBezTo>
                  <a:pt x="9669" y="6959"/>
                  <a:pt x="9686" y="6968"/>
                  <a:pt x="9996" y="6978"/>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Freeform 11"/>
          <p:cNvSpPr>
            <a:spLocks/>
          </p:cNvSpPr>
          <p:nvPr/>
        </p:nvSpPr>
        <p:spPr bwMode="gray">
          <a:xfrm>
            <a:off x="-4979" y="4336985"/>
            <a:ext cx="9147342" cy="1757619"/>
          </a:xfrm>
          <a:custGeom>
            <a:avLst/>
            <a:gdLst>
              <a:gd name="T0" fmla="*/ 0 w 8479"/>
              <a:gd name="T1" fmla="*/ 772 h 894"/>
              <a:gd name="T2" fmla="*/ 1132 w 8479"/>
              <a:gd name="T3" fmla="*/ 772 h 894"/>
              <a:gd name="T4" fmla="*/ 1160 w 8479"/>
              <a:gd name="T5" fmla="*/ 744 h 894"/>
              <a:gd name="T6" fmla="*/ 1160 w 8479"/>
              <a:gd name="T7" fmla="*/ 263 h 894"/>
              <a:gd name="T8" fmla="*/ 1188 w 8479"/>
              <a:gd name="T9" fmla="*/ 235 h 894"/>
              <a:gd name="T10" fmla="*/ 2202 w 8479"/>
              <a:gd name="T11" fmla="*/ 235 h 894"/>
              <a:gd name="T12" fmla="*/ 2230 w 8479"/>
              <a:gd name="T13" fmla="*/ 263 h 894"/>
              <a:gd name="T14" fmla="*/ 2230 w 8479"/>
              <a:gd name="T15" fmla="*/ 745 h 894"/>
              <a:gd name="T16" fmla="*/ 2258 w 8479"/>
              <a:gd name="T17" fmla="*/ 773 h 894"/>
              <a:gd name="T18" fmla="*/ 3688 w 8479"/>
              <a:gd name="T19" fmla="*/ 773 h 894"/>
              <a:gd name="T20" fmla="*/ 3716 w 8479"/>
              <a:gd name="T21" fmla="*/ 745 h 894"/>
              <a:gd name="T22" fmla="*/ 3716 w 8479"/>
              <a:gd name="T23" fmla="*/ 28 h 894"/>
              <a:gd name="T24" fmla="*/ 3744 w 8479"/>
              <a:gd name="T25" fmla="*/ 0 h 894"/>
              <a:gd name="T26" fmla="*/ 5033 w 8479"/>
              <a:gd name="T27" fmla="*/ 0 h 894"/>
              <a:gd name="T28" fmla="*/ 5061 w 8479"/>
              <a:gd name="T29" fmla="*/ 28 h 894"/>
              <a:gd name="T30" fmla="*/ 5061 w 8479"/>
              <a:gd name="T31" fmla="*/ 516 h 894"/>
              <a:gd name="T32" fmla="*/ 5089 w 8479"/>
              <a:gd name="T33" fmla="*/ 544 h 894"/>
              <a:gd name="T34" fmla="*/ 5446 w 8479"/>
              <a:gd name="T35" fmla="*/ 544 h 894"/>
              <a:gd name="T36" fmla="*/ 5474 w 8479"/>
              <a:gd name="T37" fmla="*/ 516 h 894"/>
              <a:gd name="T38" fmla="*/ 5474 w 8479"/>
              <a:gd name="T39" fmla="*/ 205 h 894"/>
              <a:gd name="T40" fmla="*/ 5502 w 8479"/>
              <a:gd name="T41" fmla="*/ 177 h 894"/>
              <a:gd name="T42" fmla="*/ 6295 w 8479"/>
              <a:gd name="T43" fmla="*/ 177 h 894"/>
              <a:gd name="T44" fmla="*/ 6323 w 8479"/>
              <a:gd name="T45" fmla="*/ 205 h 894"/>
              <a:gd name="T46" fmla="*/ 6323 w 8479"/>
              <a:gd name="T47" fmla="*/ 866 h 894"/>
              <a:gd name="T48" fmla="*/ 6351 w 8479"/>
              <a:gd name="T49" fmla="*/ 894 h 894"/>
              <a:gd name="T50" fmla="*/ 7237 w 8479"/>
              <a:gd name="T51" fmla="*/ 894 h 894"/>
              <a:gd name="T52" fmla="*/ 7265 w 8479"/>
              <a:gd name="T53" fmla="*/ 866 h 894"/>
              <a:gd name="T54" fmla="*/ 7265 w 8479"/>
              <a:gd name="T55" fmla="*/ 563 h 894"/>
              <a:gd name="T56" fmla="*/ 7293 w 8479"/>
              <a:gd name="T57" fmla="*/ 535 h 894"/>
              <a:gd name="T58" fmla="*/ 8479 w 8479"/>
              <a:gd name="T59" fmla="*/ 535 h 894"/>
              <a:gd name="connsiteX0" fmla="*/ 0 w 8665"/>
              <a:gd name="connsiteY0" fmla="*/ 8635 h 10000"/>
              <a:gd name="connsiteX1" fmla="*/ 33 w 8665"/>
              <a:gd name="connsiteY1" fmla="*/ 8322 h 10000"/>
              <a:gd name="connsiteX2" fmla="*/ 33 w 8665"/>
              <a:gd name="connsiteY2" fmla="*/ 2942 h 10000"/>
              <a:gd name="connsiteX3" fmla="*/ 66 w 8665"/>
              <a:gd name="connsiteY3" fmla="*/ 2629 h 10000"/>
              <a:gd name="connsiteX4" fmla="*/ 1262 w 8665"/>
              <a:gd name="connsiteY4" fmla="*/ 2629 h 10000"/>
              <a:gd name="connsiteX5" fmla="*/ 1295 w 8665"/>
              <a:gd name="connsiteY5" fmla="*/ 2942 h 10000"/>
              <a:gd name="connsiteX6" fmla="*/ 1295 w 8665"/>
              <a:gd name="connsiteY6" fmla="*/ 8333 h 10000"/>
              <a:gd name="connsiteX7" fmla="*/ 1328 w 8665"/>
              <a:gd name="connsiteY7" fmla="*/ 8647 h 10000"/>
              <a:gd name="connsiteX8" fmla="*/ 3015 w 8665"/>
              <a:gd name="connsiteY8" fmla="*/ 8647 h 10000"/>
              <a:gd name="connsiteX9" fmla="*/ 3048 w 8665"/>
              <a:gd name="connsiteY9" fmla="*/ 8333 h 10000"/>
              <a:gd name="connsiteX10" fmla="*/ 3048 w 8665"/>
              <a:gd name="connsiteY10" fmla="*/ 313 h 10000"/>
              <a:gd name="connsiteX11" fmla="*/ 3081 w 8665"/>
              <a:gd name="connsiteY11" fmla="*/ 0 h 10000"/>
              <a:gd name="connsiteX12" fmla="*/ 4601 w 8665"/>
              <a:gd name="connsiteY12" fmla="*/ 0 h 10000"/>
              <a:gd name="connsiteX13" fmla="*/ 4634 w 8665"/>
              <a:gd name="connsiteY13" fmla="*/ 313 h 10000"/>
              <a:gd name="connsiteX14" fmla="*/ 4634 w 8665"/>
              <a:gd name="connsiteY14" fmla="*/ 5772 h 10000"/>
              <a:gd name="connsiteX15" fmla="*/ 4667 w 8665"/>
              <a:gd name="connsiteY15" fmla="*/ 6085 h 10000"/>
              <a:gd name="connsiteX16" fmla="*/ 5088 w 8665"/>
              <a:gd name="connsiteY16" fmla="*/ 6085 h 10000"/>
              <a:gd name="connsiteX17" fmla="*/ 5121 w 8665"/>
              <a:gd name="connsiteY17" fmla="*/ 5772 h 10000"/>
              <a:gd name="connsiteX18" fmla="*/ 5121 w 8665"/>
              <a:gd name="connsiteY18" fmla="*/ 2293 h 10000"/>
              <a:gd name="connsiteX19" fmla="*/ 5154 w 8665"/>
              <a:gd name="connsiteY19" fmla="*/ 1980 h 10000"/>
              <a:gd name="connsiteX20" fmla="*/ 6089 w 8665"/>
              <a:gd name="connsiteY20" fmla="*/ 1980 h 10000"/>
              <a:gd name="connsiteX21" fmla="*/ 6122 w 8665"/>
              <a:gd name="connsiteY21" fmla="*/ 2293 h 10000"/>
              <a:gd name="connsiteX22" fmla="*/ 6122 w 8665"/>
              <a:gd name="connsiteY22" fmla="*/ 9687 h 10000"/>
              <a:gd name="connsiteX23" fmla="*/ 6155 w 8665"/>
              <a:gd name="connsiteY23" fmla="*/ 10000 h 10000"/>
              <a:gd name="connsiteX24" fmla="*/ 7200 w 8665"/>
              <a:gd name="connsiteY24" fmla="*/ 10000 h 10000"/>
              <a:gd name="connsiteX25" fmla="*/ 7233 w 8665"/>
              <a:gd name="connsiteY25" fmla="*/ 9687 h 10000"/>
              <a:gd name="connsiteX26" fmla="*/ 7233 w 8665"/>
              <a:gd name="connsiteY26" fmla="*/ 6298 h 10000"/>
              <a:gd name="connsiteX27" fmla="*/ 7266 w 8665"/>
              <a:gd name="connsiteY27" fmla="*/ 5984 h 10000"/>
              <a:gd name="connsiteX28" fmla="*/ 8665 w 8665"/>
              <a:gd name="connsiteY28" fmla="*/ 5984 h 10000"/>
              <a:gd name="connsiteX0" fmla="*/ 0 w 9962"/>
              <a:gd name="connsiteY0" fmla="*/ 8322 h 10000"/>
              <a:gd name="connsiteX1" fmla="*/ 0 w 9962"/>
              <a:gd name="connsiteY1" fmla="*/ 2942 h 10000"/>
              <a:gd name="connsiteX2" fmla="*/ 38 w 9962"/>
              <a:gd name="connsiteY2" fmla="*/ 2629 h 10000"/>
              <a:gd name="connsiteX3" fmla="*/ 1418 w 9962"/>
              <a:gd name="connsiteY3" fmla="*/ 2629 h 10000"/>
              <a:gd name="connsiteX4" fmla="*/ 1457 w 9962"/>
              <a:gd name="connsiteY4" fmla="*/ 2942 h 10000"/>
              <a:gd name="connsiteX5" fmla="*/ 1457 w 9962"/>
              <a:gd name="connsiteY5" fmla="*/ 8333 h 10000"/>
              <a:gd name="connsiteX6" fmla="*/ 1495 w 9962"/>
              <a:gd name="connsiteY6" fmla="*/ 8647 h 10000"/>
              <a:gd name="connsiteX7" fmla="*/ 3442 w 9962"/>
              <a:gd name="connsiteY7" fmla="*/ 8647 h 10000"/>
              <a:gd name="connsiteX8" fmla="*/ 3480 w 9962"/>
              <a:gd name="connsiteY8" fmla="*/ 8333 h 10000"/>
              <a:gd name="connsiteX9" fmla="*/ 3480 w 9962"/>
              <a:gd name="connsiteY9" fmla="*/ 313 h 10000"/>
              <a:gd name="connsiteX10" fmla="*/ 3518 w 9962"/>
              <a:gd name="connsiteY10" fmla="*/ 0 h 10000"/>
              <a:gd name="connsiteX11" fmla="*/ 5272 w 9962"/>
              <a:gd name="connsiteY11" fmla="*/ 0 h 10000"/>
              <a:gd name="connsiteX12" fmla="*/ 5310 w 9962"/>
              <a:gd name="connsiteY12" fmla="*/ 313 h 10000"/>
              <a:gd name="connsiteX13" fmla="*/ 5310 w 9962"/>
              <a:gd name="connsiteY13" fmla="*/ 5772 h 10000"/>
              <a:gd name="connsiteX14" fmla="*/ 5348 w 9962"/>
              <a:gd name="connsiteY14" fmla="*/ 6085 h 10000"/>
              <a:gd name="connsiteX15" fmla="*/ 5834 w 9962"/>
              <a:gd name="connsiteY15" fmla="*/ 6085 h 10000"/>
              <a:gd name="connsiteX16" fmla="*/ 5872 w 9962"/>
              <a:gd name="connsiteY16" fmla="*/ 5772 h 10000"/>
              <a:gd name="connsiteX17" fmla="*/ 5872 w 9962"/>
              <a:gd name="connsiteY17" fmla="*/ 2293 h 10000"/>
              <a:gd name="connsiteX18" fmla="*/ 5910 w 9962"/>
              <a:gd name="connsiteY18" fmla="*/ 1980 h 10000"/>
              <a:gd name="connsiteX19" fmla="*/ 6989 w 9962"/>
              <a:gd name="connsiteY19" fmla="*/ 1980 h 10000"/>
              <a:gd name="connsiteX20" fmla="*/ 7027 w 9962"/>
              <a:gd name="connsiteY20" fmla="*/ 2293 h 10000"/>
              <a:gd name="connsiteX21" fmla="*/ 7027 w 9962"/>
              <a:gd name="connsiteY21" fmla="*/ 9687 h 10000"/>
              <a:gd name="connsiteX22" fmla="*/ 7065 w 9962"/>
              <a:gd name="connsiteY22" fmla="*/ 10000 h 10000"/>
              <a:gd name="connsiteX23" fmla="*/ 8271 w 9962"/>
              <a:gd name="connsiteY23" fmla="*/ 10000 h 10000"/>
              <a:gd name="connsiteX24" fmla="*/ 8309 w 9962"/>
              <a:gd name="connsiteY24" fmla="*/ 9687 h 10000"/>
              <a:gd name="connsiteX25" fmla="*/ 8309 w 9962"/>
              <a:gd name="connsiteY25" fmla="*/ 6298 h 10000"/>
              <a:gd name="connsiteX26" fmla="*/ 8347 w 9962"/>
              <a:gd name="connsiteY26" fmla="*/ 5984 h 10000"/>
              <a:gd name="connsiteX27" fmla="*/ 9962 w 9962"/>
              <a:gd name="connsiteY27" fmla="*/ 5984 h 10000"/>
              <a:gd name="connsiteX0" fmla="*/ 0 w 10000"/>
              <a:gd name="connsiteY0" fmla="*/ 2942 h 10000"/>
              <a:gd name="connsiteX1" fmla="*/ 38 w 10000"/>
              <a:gd name="connsiteY1" fmla="*/ 2629 h 10000"/>
              <a:gd name="connsiteX2" fmla="*/ 1423 w 10000"/>
              <a:gd name="connsiteY2" fmla="*/ 2629 h 10000"/>
              <a:gd name="connsiteX3" fmla="*/ 1463 w 10000"/>
              <a:gd name="connsiteY3" fmla="*/ 2942 h 10000"/>
              <a:gd name="connsiteX4" fmla="*/ 1463 w 10000"/>
              <a:gd name="connsiteY4" fmla="*/ 8333 h 10000"/>
              <a:gd name="connsiteX5" fmla="*/ 1501 w 10000"/>
              <a:gd name="connsiteY5" fmla="*/ 8647 h 10000"/>
              <a:gd name="connsiteX6" fmla="*/ 3455 w 10000"/>
              <a:gd name="connsiteY6" fmla="*/ 8647 h 10000"/>
              <a:gd name="connsiteX7" fmla="*/ 3493 w 10000"/>
              <a:gd name="connsiteY7" fmla="*/ 8333 h 10000"/>
              <a:gd name="connsiteX8" fmla="*/ 3493 w 10000"/>
              <a:gd name="connsiteY8" fmla="*/ 313 h 10000"/>
              <a:gd name="connsiteX9" fmla="*/ 3531 w 10000"/>
              <a:gd name="connsiteY9" fmla="*/ 0 h 10000"/>
              <a:gd name="connsiteX10" fmla="*/ 5292 w 10000"/>
              <a:gd name="connsiteY10" fmla="*/ 0 h 10000"/>
              <a:gd name="connsiteX11" fmla="*/ 5330 w 10000"/>
              <a:gd name="connsiteY11" fmla="*/ 313 h 10000"/>
              <a:gd name="connsiteX12" fmla="*/ 5330 w 10000"/>
              <a:gd name="connsiteY12" fmla="*/ 5772 h 10000"/>
              <a:gd name="connsiteX13" fmla="*/ 5368 w 10000"/>
              <a:gd name="connsiteY13" fmla="*/ 6085 h 10000"/>
              <a:gd name="connsiteX14" fmla="*/ 5856 w 10000"/>
              <a:gd name="connsiteY14" fmla="*/ 6085 h 10000"/>
              <a:gd name="connsiteX15" fmla="*/ 5894 w 10000"/>
              <a:gd name="connsiteY15" fmla="*/ 5772 h 10000"/>
              <a:gd name="connsiteX16" fmla="*/ 5894 w 10000"/>
              <a:gd name="connsiteY16" fmla="*/ 2293 h 10000"/>
              <a:gd name="connsiteX17" fmla="*/ 5933 w 10000"/>
              <a:gd name="connsiteY17" fmla="*/ 1980 h 10000"/>
              <a:gd name="connsiteX18" fmla="*/ 7016 w 10000"/>
              <a:gd name="connsiteY18" fmla="*/ 1980 h 10000"/>
              <a:gd name="connsiteX19" fmla="*/ 7054 w 10000"/>
              <a:gd name="connsiteY19" fmla="*/ 2293 h 10000"/>
              <a:gd name="connsiteX20" fmla="*/ 7054 w 10000"/>
              <a:gd name="connsiteY20" fmla="*/ 9687 h 10000"/>
              <a:gd name="connsiteX21" fmla="*/ 7092 w 10000"/>
              <a:gd name="connsiteY21" fmla="*/ 10000 h 10000"/>
              <a:gd name="connsiteX22" fmla="*/ 8303 w 10000"/>
              <a:gd name="connsiteY22" fmla="*/ 10000 h 10000"/>
              <a:gd name="connsiteX23" fmla="*/ 8341 w 10000"/>
              <a:gd name="connsiteY23" fmla="*/ 9687 h 10000"/>
              <a:gd name="connsiteX24" fmla="*/ 8341 w 10000"/>
              <a:gd name="connsiteY24" fmla="*/ 6298 h 10000"/>
              <a:gd name="connsiteX25" fmla="*/ 8379 w 10000"/>
              <a:gd name="connsiteY25" fmla="*/ 5984 h 10000"/>
              <a:gd name="connsiteX26" fmla="*/ 10000 w 10000"/>
              <a:gd name="connsiteY26" fmla="*/ 5984 h 10000"/>
              <a:gd name="connsiteX0" fmla="*/ 0 w 9962"/>
              <a:gd name="connsiteY0" fmla="*/ 2629 h 10000"/>
              <a:gd name="connsiteX1" fmla="*/ 1385 w 9962"/>
              <a:gd name="connsiteY1" fmla="*/ 2629 h 10000"/>
              <a:gd name="connsiteX2" fmla="*/ 1425 w 9962"/>
              <a:gd name="connsiteY2" fmla="*/ 2942 h 10000"/>
              <a:gd name="connsiteX3" fmla="*/ 1425 w 9962"/>
              <a:gd name="connsiteY3" fmla="*/ 8333 h 10000"/>
              <a:gd name="connsiteX4" fmla="*/ 1463 w 9962"/>
              <a:gd name="connsiteY4" fmla="*/ 8647 h 10000"/>
              <a:gd name="connsiteX5" fmla="*/ 3417 w 9962"/>
              <a:gd name="connsiteY5" fmla="*/ 8647 h 10000"/>
              <a:gd name="connsiteX6" fmla="*/ 3455 w 9962"/>
              <a:gd name="connsiteY6" fmla="*/ 8333 h 10000"/>
              <a:gd name="connsiteX7" fmla="*/ 3455 w 9962"/>
              <a:gd name="connsiteY7" fmla="*/ 313 h 10000"/>
              <a:gd name="connsiteX8" fmla="*/ 3493 w 9962"/>
              <a:gd name="connsiteY8" fmla="*/ 0 h 10000"/>
              <a:gd name="connsiteX9" fmla="*/ 5254 w 9962"/>
              <a:gd name="connsiteY9" fmla="*/ 0 h 10000"/>
              <a:gd name="connsiteX10" fmla="*/ 5292 w 9962"/>
              <a:gd name="connsiteY10" fmla="*/ 313 h 10000"/>
              <a:gd name="connsiteX11" fmla="*/ 5292 w 9962"/>
              <a:gd name="connsiteY11" fmla="*/ 5772 h 10000"/>
              <a:gd name="connsiteX12" fmla="*/ 5330 w 9962"/>
              <a:gd name="connsiteY12" fmla="*/ 6085 h 10000"/>
              <a:gd name="connsiteX13" fmla="*/ 5818 w 9962"/>
              <a:gd name="connsiteY13" fmla="*/ 6085 h 10000"/>
              <a:gd name="connsiteX14" fmla="*/ 5856 w 9962"/>
              <a:gd name="connsiteY14" fmla="*/ 5772 h 10000"/>
              <a:gd name="connsiteX15" fmla="*/ 5856 w 9962"/>
              <a:gd name="connsiteY15" fmla="*/ 2293 h 10000"/>
              <a:gd name="connsiteX16" fmla="*/ 5895 w 9962"/>
              <a:gd name="connsiteY16" fmla="*/ 1980 h 10000"/>
              <a:gd name="connsiteX17" fmla="*/ 6978 w 9962"/>
              <a:gd name="connsiteY17" fmla="*/ 1980 h 10000"/>
              <a:gd name="connsiteX18" fmla="*/ 7016 w 9962"/>
              <a:gd name="connsiteY18" fmla="*/ 2293 h 10000"/>
              <a:gd name="connsiteX19" fmla="*/ 7016 w 9962"/>
              <a:gd name="connsiteY19" fmla="*/ 9687 h 10000"/>
              <a:gd name="connsiteX20" fmla="*/ 7054 w 9962"/>
              <a:gd name="connsiteY20" fmla="*/ 10000 h 10000"/>
              <a:gd name="connsiteX21" fmla="*/ 8265 w 9962"/>
              <a:gd name="connsiteY21" fmla="*/ 10000 h 10000"/>
              <a:gd name="connsiteX22" fmla="*/ 8303 w 9962"/>
              <a:gd name="connsiteY22" fmla="*/ 9687 h 10000"/>
              <a:gd name="connsiteX23" fmla="*/ 8303 w 9962"/>
              <a:gd name="connsiteY23" fmla="*/ 6298 h 10000"/>
              <a:gd name="connsiteX24" fmla="*/ 8341 w 9962"/>
              <a:gd name="connsiteY24" fmla="*/ 5984 h 10000"/>
              <a:gd name="connsiteX25" fmla="*/ 9962 w 9962"/>
              <a:gd name="connsiteY25" fmla="*/ 5984 h 10000"/>
              <a:gd name="connsiteX0" fmla="*/ 0 w 8610"/>
              <a:gd name="connsiteY0" fmla="*/ 2629 h 10000"/>
              <a:gd name="connsiteX1" fmla="*/ 40 w 8610"/>
              <a:gd name="connsiteY1" fmla="*/ 2942 h 10000"/>
              <a:gd name="connsiteX2" fmla="*/ 40 w 8610"/>
              <a:gd name="connsiteY2" fmla="*/ 8333 h 10000"/>
              <a:gd name="connsiteX3" fmla="*/ 79 w 8610"/>
              <a:gd name="connsiteY3" fmla="*/ 8647 h 10000"/>
              <a:gd name="connsiteX4" fmla="*/ 2040 w 8610"/>
              <a:gd name="connsiteY4" fmla="*/ 8647 h 10000"/>
              <a:gd name="connsiteX5" fmla="*/ 2078 w 8610"/>
              <a:gd name="connsiteY5" fmla="*/ 8333 h 10000"/>
              <a:gd name="connsiteX6" fmla="*/ 2078 w 8610"/>
              <a:gd name="connsiteY6" fmla="*/ 313 h 10000"/>
              <a:gd name="connsiteX7" fmla="*/ 2116 w 8610"/>
              <a:gd name="connsiteY7" fmla="*/ 0 h 10000"/>
              <a:gd name="connsiteX8" fmla="*/ 3884 w 8610"/>
              <a:gd name="connsiteY8" fmla="*/ 0 h 10000"/>
              <a:gd name="connsiteX9" fmla="*/ 3922 w 8610"/>
              <a:gd name="connsiteY9" fmla="*/ 313 h 10000"/>
              <a:gd name="connsiteX10" fmla="*/ 3922 w 8610"/>
              <a:gd name="connsiteY10" fmla="*/ 5772 h 10000"/>
              <a:gd name="connsiteX11" fmla="*/ 3960 w 8610"/>
              <a:gd name="connsiteY11" fmla="*/ 6085 h 10000"/>
              <a:gd name="connsiteX12" fmla="*/ 4450 w 8610"/>
              <a:gd name="connsiteY12" fmla="*/ 6085 h 10000"/>
              <a:gd name="connsiteX13" fmla="*/ 4488 w 8610"/>
              <a:gd name="connsiteY13" fmla="*/ 5772 h 10000"/>
              <a:gd name="connsiteX14" fmla="*/ 4488 w 8610"/>
              <a:gd name="connsiteY14" fmla="*/ 2293 h 10000"/>
              <a:gd name="connsiteX15" fmla="*/ 4527 w 8610"/>
              <a:gd name="connsiteY15" fmla="*/ 1980 h 10000"/>
              <a:gd name="connsiteX16" fmla="*/ 5615 w 8610"/>
              <a:gd name="connsiteY16" fmla="*/ 1980 h 10000"/>
              <a:gd name="connsiteX17" fmla="*/ 5653 w 8610"/>
              <a:gd name="connsiteY17" fmla="*/ 2293 h 10000"/>
              <a:gd name="connsiteX18" fmla="*/ 5653 w 8610"/>
              <a:gd name="connsiteY18" fmla="*/ 9687 h 10000"/>
              <a:gd name="connsiteX19" fmla="*/ 5691 w 8610"/>
              <a:gd name="connsiteY19" fmla="*/ 10000 h 10000"/>
              <a:gd name="connsiteX20" fmla="*/ 6907 w 8610"/>
              <a:gd name="connsiteY20" fmla="*/ 10000 h 10000"/>
              <a:gd name="connsiteX21" fmla="*/ 6945 w 8610"/>
              <a:gd name="connsiteY21" fmla="*/ 9687 h 10000"/>
              <a:gd name="connsiteX22" fmla="*/ 6945 w 8610"/>
              <a:gd name="connsiteY22" fmla="*/ 6298 h 10000"/>
              <a:gd name="connsiteX23" fmla="*/ 6983 w 8610"/>
              <a:gd name="connsiteY23" fmla="*/ 5984 h 10000"/>
              <a:gd name="connsiteX24" fmla="*/ 8610 w 8610"/>
              <a:gd name="connsiteY24" fmla="*/ 5984 h 10000"/>
              <a:gd name="connsiteX0" fmla="*/ 0 w 9954"/>
              <a:gd name="connsiteY0" fmla="*/ 2942 h 10000"/>
              <a:gd name="connsiteX1" fmla="*/ 0 w 9954"/>
              <a:gd name="connsiteY1" fmla="*/ 8333 h 10000"/>
              <a:gd name="connsiteX2" fmla="*/ 46 w 9954"/>
              <a:gd name="connsiteY2" fmla="*/ 8647 h 10000"/>
              <a:gd name="connsiteX3" fmla="*/ 2323 w 9954"/>
              <a:gd name="connsiteY3" fmla="*/ 8647 h 10000"/>
              <a:gd name="connsiteX4" fmla="*/ 2367 w 9954"/>
              <a:gd name="connsiteY4" fmla="*/ 8333 h 10000"/>
              <a:gd name="connsiteX5" fmla="*/ 2367 w 9954"/>
              <a:gd name="connsiteY5" fmla="*/ 313 h 10000"/>
              <a:gd name="connsiteX6" fmla="*/ 2412 w 9954"/>
              <a:gd name="connsiteY6" fmla="*/ 0 h 10000"/>
              <a:gd name="connsiteX7" fmla="*/ 4465 w 9954"/>
              <a:gd name="connsiteY7" fmla="*/ 0 h 10000"/>
              <a:gd name="connsiteX8" fmla="*/ 4509 w 9954"/>
              <a:gd name="connsiteY8" fmla="*/ 313 h 10000"/>
              <a:gd name="connsiteX9" fmla="*/ 4509 w 9954"/>
              <a:gd name="connsiteY9" fmla="*/ 5772 h 10000"/>
              <a:gd name="connsiteX10" fmla="*/ 4553 w 9954"/>
              <a:gd name="connsiteY10" fmla="*/ 6085 h 10000"/>
              <a:gd name="connsiteX11" fmla="*/ 5122 w 9954"/>
              <a:gd name="connsiteY11" fmla="*/ 6085 h 10000"/>
              <a:gd name="connsiteX12" fmla="*/ 5167 w 9954"/>
              <a:gd name="connsiteY12" fmla="*/ 5772 h 10000"/>
              <a:gd name="connsiteX13" fmla="*/ 5167 w 9954"/>
              <a:gd name="connsiteY13" fmla="*/ 2293 h 10000"/>
              <a:gd name="connsiteX14" fmla="*/ 5212 w 9954"/>
              <a:gd name="connsiteY14" fmla="*/ 1980 h 10000"/>
              <a:gd name="connsiteX15" fmla="*/ 6475 w 9954"/>
              <a:gd name="connsiteY15" fmla="*/ 1980 h 10000"/>
              <a:gd name="connsiteX16" fmla="*/ 6520 w 9954"/>
              <a:gd name="connsiteY16" fmla="*/ 2293 h 10000"/>
              <a:gd name="connsiteX17" fmla="*/ 6520 w 9954"/>
              <a:gd name="connsiteY17" fmla="*/ 9687 h 10000"/>
              <a:gd name="connsiteX18" fmla="*/ 6564 w 9954"/>
              <a:gd name="connsiteY18" fmla="*/ 10000 h 10000"/>
              <a:gd name="connsiteX19" fmla="*/ 7976 w 9954"/>
              <a:gd name="connsiteY19" fmla="*/ 10000 h 10000"/>
              <a:gd name="connsiteX20" fmla="*/ 8020 w 9954"/>
              <a:gd name="connsiteY20" fmla="*/ 9687 h 10000"/>
              <a:gd name="connsiteX21" fmla="*/ 8020 w 9954"/>
              <a:gd name="connsiteY21" fmla="*/ 6298 h 10000"/>
              <a:gd name="connsiteX22" fmla="*/ 8064 w 9954"/>
              <a:gd name="connsiteY22" fmla="*/ 5984 h 10000"/>
              <a:gd name="connsiteX23" fmla="*/ 9954 w 9954"/>
              <a:gd name="connsiteY23" fmla="*/ 5984 h 10000"/>
              <a:gd name="connsiteX0" fmla="*/ 0 w 10000"/>
              <a:gd name="connsiteY0" fmla="*/ 8333 h 10000"/>
              <a:gd name="connsiteX1" fmla="*/ 46 w 10000"/>
              <a:gd name="connsiteY1" fmla="*/ 8647 h 10000"/>
              <a:gd name="connsiteX2" fmla="*/ 2334 w 10000"/>
              <a:gd name="connsiteY2" fmla="*/ 8647 h 10000"/>
              <a:gd name="connsiteX3" fmla="*/ 2378 w 10000"/>
              <a:gd name="connsiteY3" fmla="*/ 8333 h 10000"/>
              <a:gd name="connsiteX4" fmla="*/ 2378 w 10000"/>
              <a:gd name="connsiteY4" fmla="*/ 313 h 10000"/>
              <a:gd name="connsiteX5" fmla="*/ 2423 w 10000"/>
              <a:gd name="connsiteY5" fmla="*/ 0 h 10000"/>
              <a:gd name="connsiteX6" fmla="*/ 4486 w 10000"/>
              <a:gd name="connsiteY6" fmla="*/ 0 h 10000"/>
              <a:gd name="connsiteX7" fmla="*/ 4530 w 10000"/>
              <a:gd name="connsiteY7" fmla="*/ 313 h 10000"/>
              <a:gd name="connsiteX8" fmla="*/ 4530 w 10000"/>
              <a:gd name="connsiteY8" fmla="*/ 5772 h 10000"/>
              <a:gd name="connsiteX9" fmla="*/ 4574 w 10000"/>
              <a:gd name="connsiteY9" fmla="*/ 6085 h 10000"/>
              <a:gd name="connsiteX10" fmla="*/ 5146 w 10000"/>
              <a:gd name="connsiteY10" fmla="*/ 6085 h 10000"/>
              <a:gd name="connsiteX11" fmla="*/ 5191 w 10000"/>
              <a:gd name="connsiteY11" fmla="*/ 5772 h 10000"/>
              <a:gd name="connsiteX12" fmla="*/ 5191 w 10000"/>
              <a:gd name="connsiteY12" fmla="*/ 2293 h 10000"/>
              <a:gd name="connsiteX13" fmla="*/ 5236 w 10000"/>
              <a:gd name="connsiteY13" fmla="*/ 1980 h 10000"/>
              <a:gd name="connsiteX14" fmla="*/ 6505 w 10000"/>
              <a:gd name="connsiteY14" fmla="*/ 1980 h 10000"/>
              <a:gd name="connsiteX15" fmla="*/ 6550 w 10000"/>
              <a:gd name="connsiteY15" fmla="*/ 2293 h 10000"/>
              <a:gd name="connsiteX16" fmla="*/ 6550 w 10000"/>
              <a:gd name="connsiteY16" fmla="*/ 9687 h 10000"/>
              <a:gd name="connsiteX17" fmla="*/ 6594 w 10000"/>
              <a:gd name="connsiteY17" fmla="*/ 10000 h 10000"/>
              <a:gd name="connsiteX18" fmla="*/ 8013 w 10000"/>
              <a:gd name="connsiteY18" fmla="*/ 10000 h 10000"/>
              <a:gd name="connsiteX19" fmla="*/ 8057 w 10000"/>
              <a:gd name="connsiteY19" fmla="*/ 9687 h 10000"/>
              <a:gd name="connsiteX20" fmla="*/ 8057 w 10000"/>
              <a:gd name="connsiteY20" fmla="*/ 6298 h 10000"/>
              <a:gd name="connsiteX21" fmla="*/ 8101 w 10000"/>
              <a:gd name="connsiteY21" fmla="*/ 5984 h 10000"/>
              <a:gd name="connsiteX22" fmla="*/ 10000 w 10000"/>
              <a:gd name="connsiteY22" fmla="*/ 5984 h 10000"/>
              <a:gd name="connsiteX0" fmla="*/ 0 w 8101"/>
              <a:gd name="connsiteY0" fmla="*/ 8333 h 10000"/>
              <a:gd name="connsiteX1" fmla="*/ 46 w 8101"/>
              <a:gd name="connsiteY1" fmla="*/ 8647 h 10000"/>
              <a:gd name="connsiteX2" fmla="*/ 2334 w 8101"/>
              <a:gd name="connsiteY2" fmla="*/ 8647 h 10000"/>
              <a:gd name="connsiteX3" fmla="*/ 2378 w 8101"/>
              <a:gd name="connsiteY3" fmla="*/ 8333 h 10000"/>
              <a:gd name="connsiteX4" fmla="*/ 2378 w 8101"/>
              <a:gd name="connsiteY4" fmla="*/ 313 h 10000"/>
              <a:gd name="connsiteX5" fmla="*/ 2423 w 8101"/>
              <a:gd name="connsiteY5" fmla="*/ 0 h 10000"/>
              <a:gd name="connsiteX6" fmla="*/ 4486 w 8101"/>
              <a:gd name="connsiteY6" fmla="*/ 0 h 10000"/>
              <a:gd name="connsiteX7" fmla="*/ 4530 w 8101"/>
              <a:gd name="connsiteY7" fmla="*/ 313 h 10000"/>
              <a:gd name="connsiteX8" fmla="*/ 4530 w 8101"/>
              <a:gd name="connsiteY8" fmla="*/ 5772 h 10000"/>
              <a:gd name="connsiteX9" fmla="*/ 4574 w 8101"/>
              <a:gd name="connsiteY9" fmla="*/ 6085 h 10000"/>
              <a:gd name="connsiteX10" fmla="*/ 5146 w 8101"/>
              <a:gd name="connsiteY10" fmla="*/ 6085 h 10000"/>
              <a:gd name="connsiteX11" fmla="*/ 5191 w 8101"/>
              <a:gd name="connsiteY11" fmla="*/ 5772 h 10000"/>
              <a:gd name="connsiteX12" fmla="*/ 5191 w 8101"/>
              <a:gd name="connsiteY12" fmla="*/ 2293 h 10000"/>
              <a:gd name="connsiteX13" fmla="*/ 5236 w 8101"/>
              <a:gd name="connsiteY13" fmla="*/ 1980 h 10000"/>
              <a:gd name="connsiteX14" fmla="*/ 6505 w 8101"/>
              <a:gd name="connsiteY14" fmla="*/ 1980 h 10000"/>
              <a:gd name="connsiteX15" fmla="*/ 6550 w 8101"/>
              <a:gd name="connsiteY15" fmla="*/ 2293 h 10000"/>
              <a:gd name="connsiteX16" fmla="*/ 6550 w 8101"/>
              <a:gd name="connsiteY16" fmla="*/ 9687 h 10000"/>
              <a:gd name="connsiteX17" fmla="*/ 6594 w 8101"/>
              <a:gd name="connsiteY17" fmla="*/ 10000 h 10000"/>
              <a:gd name="connsiteX18" fmla="*/ 8013 w 8101"/>
              <a:gd name="connsiteY18" fmla="*/ 10000 h 10000"/>
              <a:gd name="connsiteX19" fmla="*/ 8057 w 8101"/>
              <a:gd name="connsiteY19" fmla="*/ 9687 h 10000"/>
              <a:gd name="connsiteX20" fmla="*/ 8057 w 8101"/>
              <a:gd name="connsiteY20" fmla="*/ 6298 h 10000"/>
              <a:gd name="connsiteX21" fmla="*/ 8101 w 8101"/>
              <a:gd name="connsiteY21" fmla="*/ 5984 h 10000"/>
              <a:gd name="connsiteX0" fmla="*/ 0 w 9946"/>
              <a:gd name="connsiteY0" fmla="*/ 8333 h 10000"/>
              <a:gd name="connsiteX1" fmla="*/ 57 w 9946"/>
              <a:gd name="connsiteY1" fmla="*/ 8647 h 10000"/>
              <a:gd name="connsiteX2" fmla="*/ 2881 w 9946"/>
              <a:gd name="connsiteY2" fmla="*/ 8647 h 10000"/>
              <a:gd name="connsiteX3" fmla="*/ 2935 w 9946"/>
              <a:gd name="connsiteY3" fmla="*/ 8333 h 10000"/>
              <a:gd name="connsiteX4" fmla="*/ 2935 w 9946"/>
              <a:gd name="connsiteY4" fmla="*/ 313 h 10000"/>
              <a:gd name="connsiteX5" fmla="*/ 2991 w 9946"/>
              <a:gd name="connsiteY5" fmla="*/ 0 h 10000"/>
              <a:gd name="connsiteX6" fmla="*/ 5538 w 9946"/>
              <a:gd name="connsiteY6" fmla="*/ 0 h 10000"/>
              <a:gd name="connsiteX7" fmla="*/ 5592 w 9946"/>
              <a:gd name="connsiteY7" fmla="*/ 313 h 10000"/>
              <a:gd name="connsiteX8" fmla="*/ 5592 w 9946"/>
              <a:gd name="connsiteY8" fmla="*/ 5772 h 10000"/>
              <a:gd name="connsiteX9" fmla="*/ 5646 w 9946"/>
              <a:gd name="connsiteY9" fmla="*/ 6085 h 10000"/>
              <a:gd name="connsiteX10" fmla="*/ 6352 w 9946"/>
              <a:gd name="connsiteY10" fmla="*/ 6085 h 10000"/>
              <a:gd name="connsiteX11" fmla="*/ 6408 w 9946"/>
              <a:gd name="connsiteY11" fmla="*/ 5772 h 10000"/>
              <a:gd name="connsiteX12" fmla="*/ 6408 w 9946"/>
              <a:gd name="connsiteY12" fmla="*/ 2293 h 10000"/>
              <a:gd name="connsiteX13" fmla="*/ 6463 w 9946"/>
              <a:gd name="connsiteY13" fmla="*/ 1980 h 10000"/>
              <a:gd name="connsiteX14" fmla="*/ 8030 w 9946"/>
              <a:gd name="connsiteY14" fmla="*/ 1980 h 10000"/>
              <a:gd name="connsiteX15" fmla="*/ 8085 w 9946"/>
              <a:gd name="connsiteY15" fmla="*/ 2293 h 10000"/>
              <a:gd name="connsiteX16" fmla="*/ 8085 w 9946"/>
              <a:gd name="connsiteY16" fmla="*/ 9687 h 10000"/>
              <a:gd name="connsiteX17" fmla="*/ 8140 w 9946"/>
              <a:gd name="connsiteY17" fmla="*/ 10000 h 10000"/>
              <a:gd name="connsiteX18" fmla="*/ 9891 w 9946"/>
              <a:gd name="connsiteY18" fmla="*/ 10000 h 10000"/>
              <a:gd name="connsiteX19" fmla="*/ 9946 w 9946"/>
              <a:gd name="connsiteY19" fmla="*/ 9687 h 10000"/>
              <a:gd name="connsiteX20" fmla="*/ 9946 w 9946"/>
              <a:gd name="connsiteY20" fmla="*/ 6298 h 10000"/>
              <a:gd name="connsiteX0" fmla="*/ 0 w 10000"/>
              <a:gd name="connsiteY0" fmla="*/ 8333 h 10000"/>
              <a:gd name="connsiteX1" fmla="*/ 57 w 10000"/>
              <a:gd name="connsiteY1" fmla="*/ 8647 h 10000"/>
              <a:gd name="connsiteX2" fmla="*/ 2897 w 10000"/>
              <a:gd name="connsiteY2" fmla="*/ 8647 h 10000"/>
              <a:gd name="connsiteX3" fmla="*/ 2951 w 10000"/>
              <a:gd name="connsiteY3" fmla="*/ 8333 h 10000"/>
              <a:gd name="connsiteX4" fmla="*/ 2951 w 10000"/>
              <a:gd name="connsiteY4" fmla="*/ 313 h 10000"/>
              <a:gd name="connsiteX5" fmla="*/ 3007 w 10000"/>
              <a:gd name="connsiteY5" fmla="*/ 0 h 10000"/>
              <a:gd name="connsiteX6" fmla="*/ 5568 w 10000"/>
              <a:gd name="connsiteY6" fmla="*/ 0 h 10000"/>
              <a:gd name="connsiteX7" fmla="*/ 5622 w 10000"/>
              <a:gd name="connsiteY7" fmla="*/ 313 h 10000"/>
              <a:gd name="connsiteX8" fmla="*/ 5622 w 10000"/>
              <a:gd name="connsiteY8" fmla="*/ 5772 h 10000"/>
              <a:gd name="connsiteX9" fmla="*/ 5677 w 10000"/>
              <a:gd name="connsiteY9" fmla="*/ 6085 h 10000"/>
              <a:gd name="connsiteX10" fmla="*/ 6386 w 10000"/>
              <a:gd name="connsiteY10" fmla="*/ 6085 h 10000"/>
              <a:gd name="connsiteX11" fmla="*/ 6443 w 10000"/>
              <a:gd name="connsiteY11" fmla="*/ 5772 h 10000"/>
              <a:gd name="connsiteX12" fmla="*/ 6443 w 10000"/>
              <a:gd name="connsiteY12" fmla="*/ 2293 h 10000"/>
              <a:gd name="connsiteX13" fmla="*/ 6498 w 10000"/>
              <a:gd name="connsiteY13" fmla="*/ 1980 h 10000"/>
              <a:gd name="connsiteX14" fmla="*/ 8074 w 10000"/>
              <a:gd name="connsiteY14" fmla="*/ 1980 h 10000"/>
              <a:gd name="connsiteX15" fmla="*/ 8129 w 10000"/>
              <a:gd name="connsiteY15" fmla="*/ 2293 h 10000"/>
              <a:gd name="connsiteX16" fmla="*/ 8129 w 10000"/>
              <a:gd name="connsiteY16" fmla="*/ 9687 h 10000"/>
              <a:gd name="connsiteX17" fmla="*/ 8184 w 10000"/>
              <a:gd name="connsiteY17" fmla="*/ 10000 h 10000"/>
              <a:gd name="connsiteX18" fmla="*/ 9945 w 10000"/>
              <a:gd name="connsiteY18" fmla="*/ 10000 h 10000"/>
              <a:gd name="connsiteX19" fmla="*/ 10000 w 10000"/>
              <a:gd name="connsiteY19" fmla="*/ 9687 h 10000"/>
              <a:gd name="connsiteX0" fmla="*/ 0 w 9945"/>
              <a:gd name="connsiteY0" fmla="*/ 8333 h 10000"/>
              <a:gd name="connsiteX1" fmla="*/ 57 w 9945"/>
              <a:gd name="connsiteY1" fmla="*/ 8647 h 10000"/>
              <a:gd name="connsiteX2" fmla="*/ 2897 w 9945"/>
              <a:gd name="connsiteY2" fmla="*/ 8647 h 10000"/>
              <a:gd name="connsiteX3" fmla="*/ 2951 w 9945"/>
              <a:gd name="connsiteY3" fmla="*/ 8333 h 10000"/>
              <a:gd name="connsiteX4" fmla="*/ 2951 w 9945"/>
              <a:gd name="connsiteY4" fmla="*/ 313 h 10000"/>
              <a:gd name="connsiteX5" fmla="*/ 3007 w 9945"/>
              <a:gd name="connsiteY5" fmla="*/ 0 h 10000"/>
              <a:gd name="connsiteX6" fmla="*/ 5568 w 9945"/>
              <a:gd name="connsiteY6" fmla="*/ 0 h 10000"/>
              <a:gd name="connsiteX7" fmla="*/ 5622 w 9945"/>
              <a:gd name="connsiteY7" fmla="*/ 313 h 10000"/>
              <a:gd name="connsiteX8" fmla="*/ 5622 w 9945"/>
              <a:gd name="connsiteY8" fmla="*/ 5772 h 10000"/>
              <a:gd name="connsiteX9" fmla="*/ 5677 w 9945"/>
              <a:gd name="connsiteY9" fmla="*/ 6085 h 10000"/>
              <a:gd name="connsiteX10" fmla="*/ 6386 w 9945"/>
              <a:gd name="connsiteY10" fmla="*/ 6085 h 10000"/>
              <a:gd name="connsiteX11" fmla="*/ 6443 w 9945"/>
              <a:gd name="connsiteY11" fmla="*/ 5772 h 10000"/>
              <a:gd name="connsiteX12" fmla="*/ 6443 w 9945"/>
              <a:gd name="connsiteY12" fmla="*/ 2293 h 10000"/>
              <a:gd name="connsiteX13" fmla="*/ 6498 w 9945"/>
              <a:gd name="connsiteY13" fmla="*/ 1980 h 10000"/>
              <a:gd name="connsiteX14" fmla="*/ 8074 w 9945"/>
              <a:gd name="connsiteY14" fmla="*/ 1980 h 10000"/>
              <a:gd name="connsiteX15" fmla="*/ 8129 w 9945"/>
              <a:gd name="connsiteY15" fmla="*/ 2293 h 10000"/>
              <a:gd name="connsiteX16" fmla="*/ 8129 w 9945"/>
              <a:gd name="connsiteY16" fmla="*/ 9687 h 10000"/>
              <a:gd name="connsiteX17" fmla="*/ 8184 w 9945"/>
              <a:gd name="connsiteY17" fmla="*/ 10000 h 10000"/>
              <a:gd name="connsiteX18" fmla="*/ 9945 w 9945"/>
              <a:gd name="connsiteY18" fmla="*/ 10000 h 10000"/>
              <a:gd name="connsiteX0" fmla="*/ 0 w 8229"/>
              <a:gd name="connsiteY0" fmla="*/ 8333 h 10000"/>
              <a:gd name="connsiteX1" fmla="*/ 57 w 8229"/>
              <a:gd name="connsiteY1" fmla="*/ 8647 h 10000"/>
              <a:gd name="connsiteX2" fmla="*/ 2913 w 8229"/>
              <a:gd name="connsiteY2" fmla="*/ 8647 h 10000"/>
              <a:gd name="connsiteX3" fmla="*/ 2967 w 8229"/>
              <a:gd name="connsiteY3" fmla="*/ 8333 h 10000"/>
              <a:gd name="connsiteX4" fmla="*/ 2967 w 8229"/>
              <a:gd name="connsiteY4" fmla="*/ 313 h 10000"/>
              <a:gd name="connsiteX5" fmla="*/ 3024 w 8229"/>
              <a:gd name="connsiteY5" fmla="*/ 0 h 10000"/>
              <a:gd name="connsiteX6" fmla="*/ 5599 w 8229"/>
              <a:gd name="connsiteY6" fmla="*/ 0 h 10000"/>
              <a:gd name="connsiteX7" fmla="*/ 5653 w 8229"/>
              <a:gd name="connsiteY7" fmla="*/ 313 h 10000"/>
              <a:gd name="connsiteX8" fmla="*/ 5653 w 8229"/>
              <a:gd name="connsiteY8" fmla="*/ 5772 h 10000"/>
              <a:gd name="connsiteX9" fmla="*/ 5708 w 8229"/>
              <a:gd name="connsiteY9" fmla="*/ 6085 h 10000"/>
              <a:gd name="connsiteX10" fmla="*/ 6421 w 8229"/>
              <a:gd name="connsiteY10" fmla="*/ 6085 h 10000"/>
              <a:gd name="connsiteX11" fmla="*/ 6479 w 8229"/>
              <a:gd name="connsiteY11" fmla="*/ 5772 h 10000"/>
              <a:gd name="connsiteX12" fmla="*/ 6479 w 8229"/>
              <a:gd name="connsiteY12" fmla="*/ 2293 h 10000"/>
              <a:gd name="connsiteX13" fmla="*/ 6534 w 8229"/>
              <a:gd name="connsiteY13" fmla="*/ 1980 h 10000"/>
              <a:gd name="connsiteX14" fmla="*/ 8119 w 8229"/>
              <a:gd name="connsiteY14" fmla="*/ 1980 h 10000"/>
              <a:gd name="connsiteX15" fmla="*/ 8174 w 8229"/>
              <a:gd name="connsiteY15" fmla="*/ 2293 h 10000"/>
              <a:gd name="connsiteX16" fmla="*/ 8174 w 8229"/>
              <a:gd name="connsiteY16" fmla="*/ 9687 h 10000"/>
              <a:gd name="connsiteX17" fmla="*/ 8229 w 8229"/>
              <a:gd name="connsiteY17" fmla="*/ 10000 h 10000"/>
              <a:gd name="connsiteX0" fmla="*/ 0 w 9933"/>
              <a:gd name="connsiteY0" fmla="*/ 8333 h 9687"/>
              <a:gd name="connsiteX1" fmla="*/ 69 w 9933"/>
              <a:gd name="connsiteY1" fmla="*/ 8647 h 9687"/>
              <a:gd name="connsiteX2" fmla="*/ 3540 w 9933"/>
              <a:gd name="connsiteY2" fmla="*/ 8647 h 9687"/>
              <a:gd name="connsiteX3" fmla="*/ 3606 w 9933"/>
              <a:gd name="connsiteY3" fmla="*/ 8333 h 9687"/>
              <a:gd name="connsiteX4" fmla="*/ 3606 w 9933"/>
              <a:gd name="connsiteY4" fmla="*/ 313 h 9687"/>
              <a:gd name="connsiteX5" fmla="*/ 3675 w 9933"/>
              <a:gd name="connsiteY5" fmla="*/ 0 h 9687"/>
              <a:gd name="connsiteX6" fmla="*/ 6804 w 9933"/>
              <a:gd name="connsiteY6" fmla="*/ 0 h 9687"/>
              <a:gd name="connsiteX7" fmla="*/ 6870 w 9933"/>
              <a:gd name="connsiteY7" fmla="*/ 313 h 9687"/>
              <a:gd name="connsiteX8" fmla="*/ 6870 w 9933"/>
              <a:gd name="connsiteY8" fmla="*/ 5772 h 9687"/>
              <a:gd name="connsiteX9" fmla="*/ 6936 w 9933"/>
              <a:gd name="connsiteY9" fmla="*/ 6085 h 9687"/>
              <a:gd name="connsiteX10" fmla="*/ 7803 w 9933"/>
              <a:gd name="connsiteY10" fmla="*/ 6085 h 9687"/>
              <a:gd name="connsiteX11" fmla="*/ 7873 w 9933"/>
              <a:gd name="connsiteY11" fmla="*/ 5772 h 9687"/>
              <a:gd name="connsiteX12" fmla="*/ 7873 w 9933"/>
              <a:gd name="connsiteY12" fmla="*/ 2293 h 9687"/>
              <a:gd name="connsiteX13" fmla="*/ 7940 w 9933"/>
              <a:gd name="connsiteY13" fmla="*/ 1980 h 9687"/>
              <a:gd name="connsiteX14" fmla="*/ 9866 w 9933"/>
              <a:gd name="connsiteY14" fmla="*/ 1980 h 9687"/>
              <a:gd name="connsiteX15" fmla="*/ 9933 w 9933"/>
              <a:gd name="connsiteY15" fmla="*/ 2293 h 9687"/>
              <a:gd name="connsiteX16" fmla="*/ 9933 w 9933"/>
              <a:gd name="connsiteY16" fmla="*/ 9687 h 9687"/>
              <a:gd name="connsiteX0" fmla="*/ 0 w 10000"/>
              <a:gd name="connsiteY0" fmla="*/ 8602 h 8926"/>
              <a:gd name="connsiteX1" fmla="*/ 69 w 10000"/>
              <a:gd name="connsiteY1" fmla="*/ 8926 h 8926"/>
              <a:gd name="connsiteX2" fmla="*/ 3564 w 10000"/>
              <a:gd name="connsiteY2" fmla="*/ 8926 h 8926"/>
              <a:gd name="connsiteX3" fmla="*/ 3630 w 10000"/>
              <a:gd name="connsiteY3" fmla="*/ 8602 h 8926"/>
              <a:gd name="connsiteX4" fmla="*/ 3630 w 10000"/>
              <a:gd name="connsiteY4" fmla="*/ 323 h 8926"/>
              <a:gd name="connsiteX5" fmla="*/ 3700 w 10000"/>
              <a:gd name="connsiteY5" fmla="*/ 0 h 8926"/>
              <a:gd name="connsiteX6" fmla="*/ 6850 w 10000"/>
              <a:gd name="connsiteY6" fmla="*/ 0 h 8926"/>
              <a:gd name="connsiteX7" fmla="*/ 6916 w 10000"/>
              <a:gd name="connsiteY7" fmla="*/ 323 h 8926"/>
              <a:gd name="connsiteX8" fmla="*/ 6916 w 10000"/>
              <a:gd name="connsiteY8" fmla="*/ 5959 h 8926"/>
              <a:gd name="connsiteX9" fmla="*/ 6983 w 10000"/>
              <a:gd name="connsiteY9" fmla="*/ 6282 h 8926"/>
              <a:gd name="connsiteX10" fmla="*/ 7856 w 10000"/>
              <a:gd name="connsiteY10" fmla="*/ 6282 h 8926"/>
              <a:gd name="connsiteX11" fmla="*/ 7926 w 10000"/>
              <a:gd name="connsiteY11" fmla="*/ 5959 h 8926"/>
              <a:gd name="connsiteX12" fmla="*/ 7926 w 10000"/>
              <a:gd name="connsiteY12" fmla="*/ 2367 h 8926"/>
              <a:gd name="connsiteX13" fmla="*/ 7994 w 10000"/>
              <a:gd name="connsiteY13" fmla="*/ 2044 h 8926"/>
              <a:gd name="connsiteX14" fmla="*/ 9933 w 10000"/>
              <a:gd name="connsiteY14" fmla="*/ 2044 h 8926"/>
              <a:gd name="connsiteX15" fmla="*/ 10000 w 10000"/>
              <a:gd name="connsiteY15" fmla="*/ 2367 h 8926"/>
              <a:gd name="connsiteX0" fmla="*/ 0 w 10000"/>
              <a:gd name="connsiteY0" fmla="*/ 9637 h 10000"/>
              <a:gd name="connsiteX1" fmla="*/ 3564 w 10000"/>
              <a:gd name="connsiteY1" fmla="*/ 10000 h 10000"/>
              <a:gd name="connsiteX2" fmla="*/ 3630 w 10000"/>
              <a:gd name="connsiteY2" fmla="*/ 9637 h 10000"/>
              <a:gd name="connsiteX3" fmla="*/ 3630 w 10000"/>
              <a:gd name="connsiteY3" fmla="*/ 362 h 10000"/>
              <a:gd name="connsiteX4" fmla="*/ 3700 w 10000"/>
              <a:gd name="connsiteY4" fmla="*/ 0 h 10000"/>
              <a:gd name="connsiteX5" fmla="*/ 6850 w 10000"/>
              <a:gd name="connsiteY5" fmla="*/ 0 h 10000"/>
              <a:gd name="connsiteX6" fmla="*/ 6916 w 10000"/>
              <a:gd name="connsiteY6" fmla="*/ 362 h 10000"/>
              <a:gd name="connsiteX7" fmla="*/ 6916 w 10000"/>
              <a:gd name="connsiteY7" fmla="*/ 6676 h 10000"/>
              <a:gd name="connsiteX8" fmla="*/ 6983 w 10000"/>
              <a:gd name="connsiteY8" fmla="*/ 7038 h 10000"/>
              <a:gd name="connsiteX9" fmla="*/ 7856 w 10000"/>
              <a:gd name="connsiteY9" fmla="*/ 7038 h 10000"/>
              <a:gd name="connsiteX10" fmla="*/ 7926 w 10000"/>
              <a:gd name="connsiteY10" fmla="*/ 6676 h 10000"/>
              <a:gd name="connsiteX11" fmla="*/ 7926 w 10000"/>
              <a:gd name="connsiteY11" fmla="*/ 2652 h 10000"/>
              <a:gd name="connsiteX12" fmla="*/ 7994 w 10000"/>
              <a:gd name="connsiteY12" fmla="*/ 2290 h 10000"/>
              <a:gd name="connsiteX13" fmla="*/ 9933 w 10000"/>
              <a:gd name="connsiteY13" fmla="*/ 2290 h 10000"/>
              <a:gd name="connsiteX14" fmla="*/ 10000 w 10000"/>
              <a:gd name="connsiteY14" fmla="*/ 2652 h 10000"/>
              <a:gd name="connsiteX0" fmla="*/ 0 w 9777"/>
              <a:gd name="connsiteY0" fmla="*/ 10089 h 10109"/>
              <a:gd name="connsiteX1" fmla="*/ 3341 w 9777"/>
              <a:gd name="connsiteY1" fmla="*/ 10000 h 10109"/>
              <a:gd name="connsiteX2" fmla="*/ 3407 w 9777"/>
              <a:gd name="connsiteY2" fmla="*/ 9637 h 10109"/>
              <a:gd name="connsiteX3" fmla="*/ 3407 w 9777"/>
              <a:gd name="connsiteY3" fmla="*/ 362 h 10109"/>
              <a:gd name="connsiteX4" fmla="*/ 3477 w 9777"/>
              <a:gd name="connsiteY4" fmla="*/ 0 h 10109"/>
              <a:gd name="connsiteX5" fmla="*/ 6627 w 9777"/>
              <a:gd name="connsiteY5" fmla="*/ 0 h 10109"/>
              <a:gd name="connsiteX6" fmla="*/ 6693 w 9777"/>
              <a:gd name="connsiteY6" fmla="*/ 362 h 10109"/>
              <a:gd name="connsiteX7" fmla="*/ 6693 w 9777"/>
              <a:gd name="connsiteY7" fmla="*/ 6676 h 10109"/>
              <a:gd name="connsiteX8" fmla="*/ 6760 w 9777"/>
              <a:gd name="connsiteY8" fmla="*/ 7038 h 10109"/>
              <a:gd name="connsiteX9" fmla="*/ 7633 w 9777"/>
              <a:gd name="connsiteY9" fmla="*/ 7038 h 10109"/>
              <a:gd name="connsiteX10" fmla="*/ 7703 w 9777"/>
              <a:gd name="connsiteY10" fmla="*/ 6676 h 10109"/>
              <a:gd name="connsiteX11" fmla="*/ 7703 w 9777"/>
              <a:gd name="connsiteY11" fmla="*/ 2652 h 10109"/>
              <a:gd name="connsiteX12" fmla="*/ 7771 w 9777"/>
              <a:gd name="connsiteY12" fmla="*/ 2290 h 10109"/>
              <a:gd name="connsiteX13" fmla="*/ 9710 w 9777"/>
              <a:gd name="connsiteY13" fmla="*/ 2290 h 10109"/>
              <a:gd name="connsiteX14" fmla="*/ 9777 w 9777"/>
              <a:gd name="connsiteY14" fmla="*/ 2652 h 10109"/>
              <a:gd name="connsiteX0" fmla="*/ 0 w 10000"/>
              <a:gd name="connsiteY0" fmla="*/ 9855 h 9901"/>
              <a:gd name="connsiteX1" fmla="*/ 3417 w 10000"/>
              <a:gd name="connsiteY1" fmla="*/ 9892 h 9901"/>
              <a:gd name="connsiteX2" fmla="*/ 3485 w 10000"/>
              <a:gd name="connsiteY2" fmla="*/ 9533 h 9901"/>
              <a:gd name="connsiteX3" fmla="*/ 3485 w 10000"/>
              <a:gd name="connsiteY3" fmla="*/ 358 h 9901"/>
              <a:gd name="connsiteX4" fmla="*/ 3556 w 10000"/>
              <a:gd name="connsiteY4" fmla="*/ 0 h 9901"/>
              <a:gd name="connsiteX5" fmla="*/ 6778 w 10000"/>
              <a:gd name="connsiteY5" fmla="*/ 0 h 9901"/>
              <a:gd name="connsiteX6" fmla="*/ 6846 w 10000"/>
              <a:gd name="connsiteY6" fmla="*/ 358 h 9901"/>
              <a:gd name="connsiteX7" fmla="*/ 6846 w 10000"/>
              <a:gd name="connsiteY7" fmla="*/ 6604 h 9901"/>
              <a:gd name="connsiteX8" fmla="*/ 6914 w 10000"/>
              <a:gd name="connsiteY8" fmla="*/ 6962 h 9901"/>
              <a:gd name="connsiteX9" fmla="*/ 7807 w 10000"/>
              <a:gd name="connsiteY9" fmla="*/ 6962 h 9901"/>
              <a:gd name="connsiteX10" fmla="*/ 7879 w 10000"/>
              <a:gd name="connsiteY10" fmla="*/ 6604 h 9901"/>
              <a:gd name="connsiteX11" fmla="*/ 7879 w 10000"/>
              <a:gd name="connsiteY11" fmla="*/ 2623 h 9901"/>
              <a:gd name="connsiteX12" fmla="*/ 7948 w 10000"/>
              <a:gd name="connsiteY12" fmla="*/ 2265 h 9901"/>
              <a:gd name="connsiteX13" fmla="*/ 9931 w 10000"/>
              <a:gd name="connsiteY13" fmla="*/ 2265 h 9901"/>
              <a:gd name="connsiteX14" fmla="*/ 10000 w 10000"/>
              <a:gd name="connsiteY14" fmla="*/ 2623 h 9901"/>
              <a:gd name="connsiteX0" fmla="*/ 0 w 10000"/>
              <a:gd name="connsiteY0" fmla="*/ 9954 h 10007"/>
              <a:gd name="connsiteX1" fmla="*/ 3417 w 10000"/>
              <a:gd name="connsiteY1" fmla="*/ 9991 h 10007"/>
              <a:gd name="connsiteX2" fmla="*/ 3485 w 10000"/>
              <a:gd name="connsiteY2" fmla="*/ 9628 h 10007"/>
              <a:gd name="connsiteX3" fmla="*/ 3485 w 10000"/>
              <a:gd name="connsiteY3" fmla="*/ 362 h 10007"/>
              <a:gd name="connsiteX4" fmla="*/ 3556 w 10000"/>
              <a:gd name="connsiteY4" fmla="*/ 0 h 10007"/>
              <a:gd name="connsiteX5" fmla="*/ 6778 w 10000"/>
              <a:gd name="connsiteY5" fmla="*/ 0 h 10007"/>
              <a:gd name="connsiteX6" fmla="*/ 6846 w 10000"/>
              <a:gd name="connsiteY6" fmla="*/ 362 h 10007"/>
              <a:gd name="connsiteX7" fmla="*/ 6846 w 10000"/>
              <a:gd name="connsiteY7" fmla="*/ 6670 h 10007"/>
              <a:gd name="connsiteX8" fmla="*/ 6914 w 10000"/>
              <a:gd name="connsiteY8" fmla="*/ 7032 h 10007"/>
              <a:gd name="connsiteX9" fmla="*/ 7807 w 10000"/>
              <a:gd name="connsiteY9" fmla="*/ 7032 h 10007"/>
              <a:gd name="connsiteX10" fmla="*/ 7879 w 10000"/>
              <a:gd name="connsiteY10" fmla="*/ 6670 h 10007"/>
              <a:gd name="connsiteX11" fmla="*/ 7879 w 10000"/>
              <a:gd name="connsiteY11" fmla="*/ 2649 h 10007"/>
              <a:gd name="connsiteX12" fmla="*/ 7948 w 10000"/>
              <a:gd name="connsiteY12" fmla="*/ 2288 h 10007"/>
              <a:gd name="connsiteX13" fmla="*/ 9931 w 10000"/>
              <a:gd name="connsiteY13" fmla="*/ 2288 h 10007"/>
              <a:gd name="connsiteX14" fmla="*/ 10000 w 10000"/>
              <a:gd name="connsiteY14" fmla="*/ 2649 h 10007"/>
              <a:gd name="connsiteX0" fmla="*/ 0 w 10000"/>
              <a:gd name="connsiteY0" fmla="*/ 9954 h 10038"/>
              <a:gd name="connsiteX1" fmla="*/ 3417 w 10000"/>
              <a:gd name="connsiteY1" fmla="*/ 9991 h 10038"/>
              <a:gd name="connsiteX2" fmla="*/ 3485 w 10000"/>
              <a:gd name="connsiteY2" fmla="*/ 9628 h 10038"/>
              <a:gd name="connsiteX3" fmla="*/ 3485 w 10000"/>
              <a:gd name="connsiteY3" fmla="*/ 362 h 10038"/>
              <a:gd name="connsiteX4" fmla="*/ 3556 w 10000"/>
              <a:gd name="connsiteY4" fmla="*/ 0 h 10038"/>
              <a:gd name="connsiteX5" fmla="*/ 6778 w 10000"/>
              <a:gd name="connsiteY5" fmla="*/ 0 h 10038"/>
              <a:gd name="connsiteX6" fmla="*/ 6846 w 10000"/>
              <a:gd name="connsiteY6" fmla="*/ 362 h 10038"/>
              <a:gd name="connsiteX7" fmla="*/ 6846 w 10000"/>
              <a:gd name="connsiteY7" fmla="*/ 6670 h 10038"/>
              <a:gd name="connsiteX8" fmla="*/ 6914 w 10000"/>
              <a:gd name="connsiteY8" fmla="*/ 7032 h 10038"/>
              <a:gd name="connsiteX9" fmla="*/ 7807 w 10000"/>
              <a:gd name="connsiteY9" fmla="*/ 7032 h 10038"/>
              <a:gd name="connsiteX10" fmla="*/ 7879 w 10000"/>
              <a:gd name="connsiteY10" fmla="*/ 6670 h 10038"/>
              <a:gd name="connsiteX11" fmla="*/ 7879 w 10000"/>
              <a:gd name="connsiteY11" fmla="*/ 2649 h 10038"/>
              <a:gd name="connsiteX12" fmla="*/ 7948 w 10000"/>
              <a:gd name="connsiteY12" fmla="*/ 2288 h 10038"/>
              <a:gd name="connsiteX13" fmla="*/ 9931 w 10000"/>
              <a:gd name="connsiteY13" fmla="*/ 2288 h 10038"/>
              <a:gd name="connsiteX14" fmla="*/ 10000 w 10000"/>
              <a:gd name="connsiteY14" fmla="*/ 2649 h 10038"/>
              <a:gd name="connsiteX0" fmla="*/ 0 w 10000"/>
              <a:gd name="connsiteY0" fmla="*/ 9954 h 10007"/>
              <a:gd name="connsiteX1" fmla="*/ 3417 w 10000"/>
              <a:gd name="connsiteY1" fmla="*/ 9991 h 10007"/>
              <a:gd name="connsiteX2" fmla="*/ 3485 w 10000"/>
              <a:gd name="connsiteY2" fmla="*/ 9628 h 10007"/>
              <a:gd name="connsiteX3" fmla="*/ 3485 w 10000"/>
              <a:gd name="connsiteY3" fmla="*/ 362 h 10007"/>
              <a:gd name="connsiteX4" fmla="*/ 3556 w 10000"/>
              <a:gd name="connsiteY4" fmla="*/ 0 h 10007"/>
              <a:gd name="connsiteX5" fmla="*/ 6778 w 10000"/>
              <a:gd name="connsiteY5" fmla="*/ 0 h 10007"/>
              <a:gd name="connsiteX6" fmla="*/ 6846 w 10000"/>
              <a:gd name="connsiteY6" fmla="*/ 362 h 10007"/>
              <a:gd name="connsiteX7" fmla="*/ 6846 w 10000"/>
              <a:gd name="connsiteY7" fmla="*/ 6670 h 10007"/>
              <a:gd name="connsiteX8" fmla="*/ 6914 w 10000"/>
              <a:gd name="connsiteY8" fmla="*/ 7032 h 10007"/>
              <a:gd name="connsiteX9" fmla="*/ 7807 w 10000"/>
              <a:gd name="connsiteY9" fmla="*/ 7032 h 10007"/>
              <a:gd name="connsiteX10" fmla="*/ 7879 w 10000"/>
              <a:gd name="connsiteY10" fmla="*/ 6670 h 10007"/>
              <a:gd name="connsiteX11" fmla="*/ 7879 w 10000"/>
              <a:gd name="connsiteY11" fmla="*/ 2649 h 10007"/>
              <a:gd name="connsiteX12" fmla="*/ 7948 w 10000"/>
              <a:gd name="connsiteY12" fmla="*/ 2288 h 10007"/>
              <a:gd name="connsiteX13" fmla="*/ 9931 w 10000"/>
              <a:gd name="connsiteY13" fmla="*/ 2288 h 10007"/>
              <a:gd name="connsiteX14" fmla="*/ 10000 w 10000"/>
              <a:gd name="connsiteY14" fmla="*/ 2649 h 10007"/>
              <a:gd name="connsiteX0" fmla="*/ 0 w 10000"/>
              <a:gd name="connsiteY0" fmla="*/ 9972 h 10018"/>
              <a:gd name="connsiteX1" fmla="*/ 3417 w 10000"/>
              <a:gd name="connsiteY1" fmla="*/ 9991 h 10018"/>
              <a:gd name="connsiteX2" fmla="*/ 3485 w 10000"/>
              <a:gd name="connsiteY2" fmla="*/ 9628 h 10018"/>
              <a:gd name="connsiteX3" fmla="*/ 3485 w 10000"/>
              <a:gd name="connsiteY3" fmla="*/ 362 h 10018"/>
              <a:gd name="connsiteX4" fmla="*/ 3556 w 10000"/>
              <a:gd name="connsiteY4" fmla="*/ 0 h 10018"/>
              <a:gd name="connsiteX5" fmla="*/ 6778 w 10000"/>
              <a:gd name="connsiteY5" fmla="*/ 0 h 10018"/>
              <a:gd name="connsiteX6" fmla="*/ 6846 w 10000"/>
              <a:gd name="connsiteY6" fmla="*/ 362 h 10018"/>
              <a:gd name="connsiteX7" fmla="*/ 6846 w 10000"/>
              <a:gd name="connsiteY7" fmla="*/ 6670 h 10018"/>
              <a:gd name="connsiteX8" fmla="*/ 6914 w 10000"/>
              <a:gd name="connsiteY8" fmla="*/ 7032 h 10018"/>
              <a:gd name="connsiteX9" fmla="*/ 7807 w 10000"/>
              <a:gd name="connsiteY9" fmla="*/ 7032 h 10018"/>
              <a:gd name="connsiteX10" fmla="*/ 7879 w 10000"/>
              <a:gd name="connsiteY10" fmla="*/ 6670 h 10018"/>
              <a:gd name="connsiteX11" fmla="*/ 7879 w 10000"/>
              <a:gd name="connsiteY11" fmla="*/ 2649 h 10018"/>
              <a:gd name="connsiteX12" fmla="*/ 7948 w 10000"/>
              <a:gd name="connsiteY12" fmla="*/ 2288 h 10018"/>
              <a:gd name="connsiteX13" fmla="*/ 9931 w 10000"/>
              <a:gd name="connsiteY13" fmla="*/ 2288 h 10018"/>
              <a:gd name="connsiteX14" fmla="*/ 10000 w 10000"/>
              <a:gd name="connsiteY14" fmla="*/ 2649 h 10018"/>
              <a:gd name="connsiteX0" fmla="*/ 0 w 10000"/>
              <a:gd name="connsiteY0" fmla="*/ 9972 h 9991"/>
              <a:gd name="connsiteX1" fmla="*/ 3417 w 10000"/>
              <a:gd name="connsiteY1" fmla="*/ 9991 h 9991"/>
              <a:gd name="connsiteX2" fmla="*/ 3485 w 10000"/>
              <a:gd name="connsiteY2" fmla="*/ 9628 h 9991"/>
              <a:gd name="connsiteX3" fmla="*/ 3485 w 10000"/>
              <a:gd name="connsiteY3" fmla="*/ 362 h 9991"/>
              <a:gd name="connsiteX4" fmla="*/ 3556 w 10000"/>
              <a:gd name="connsiteY4" fmla="*/ 0 h 9991"/>
              <a:gd name="connsiteX5" fmla="*/ 6778 w 10000"/>
              <a:gd name="connsiteY5" fmla="*/ 0 h 9991"/>
              <a:gd name="connsiteX6" fmla="*/ 6846 w 10000"/>
              <a:gd name="connsiteY6" fmla="*/ 362 h 9991"/>
              <a:gd name="connsiteX7" fmla="*/ 6846 w 10000"/>
              <a:gd name="connsiteY7" fmla="*/ 6670 h 9991"/>
              <a:gd name="connsiteX8" fmla="*/ 6914 w 10000"/>
              <a:gd name="connsiteY8" fmla="*/ 7032 h 9991"/>
              <a:gd name="connsiteX9" fmla="*/ 7807 w 10000"/>
              <a:gd name="connsiteY9" fmla="*/ 7032 h 9991"/>
              <a:gd name="connsiteX10" fmla="*/ 7879 w 10000"/>
              <a:gd name="connsiteY10" fmla="*/ 6670 h 9991"/>
              <a:gd name="connsiteX11" fmla="*/ 7879 w 10000"/>
              <a:gd name="connsiteY11" fmla="*/ 2649 h 9991"/>
              <a:gd name="connsiteX12" fmla="*/ 7948 w 10000"/>
              <a:gd name="connsiteY12" fmla="*/ 2288 h 9991"/>
              <a:gd name="connsiteX13" fmla="*/ 9931 w 10000"/>
              <a:gd name="connsiteY13" fmla="*/ 2288 h 9991"/>
              <a:gd name="connsiteX14" fmla="*/ 10000 w 10000"/>
              <a:gd name="connsiteY14" fmla="*/ 2649 h 9991"/>
              <a:gd name="connsiteX0" fmla="*/ 0 w 10000"/>
              <a:gd name="connsiteY0" fmla="*/ 10008 h 10015"/>
              <a:gd name="connsiteX1" fmla="*/ 3417 w 10000"/>
              <a:gd name="connsiteY1" fmla="*/ 10000 h 10015"/>
              <a:gd name="connsiteX2" fmla="*/ 3485 w 10000"/>
              <a:gd name="connsiteY2" fmla="*/ 9637 h 10015"/>
              <a:gd name="connsiteX3" fmla="*/ 3485 w 10000"/>
              <a:gd name="connsiteY3" fmla="*/ 362 h 10015"/>
              <a:gd name="connsiteX4" fmla="*/ 3556 w 10000"/>
              <a:gd name="connsiteY4" fmla="*/ 0 h 10015"/>
              <a:gd name="connsiteX5" fmla="*/ 6778 w 10000"/>
              <a:gd name="connsiteY5" fmla="*/ 0 h 10015"/>
              <a:gd name="connsiteX6" fmla="*/ 6846 w 10000"/>
              <a:gd name="connsiteY6" fmla="*/ 362 h 10015"/>
              <a:gd name="connsiteX7" fmla="*/ 6846 w 10000"/>
              <a:gd name="connsiteY7" fmla="*/ 6676 h 10015"/>
              <a:gd name="connsiteX8" fmla="*/ 6914 w 10000"/>
              <a:gd name="connsiteY8" fmla="*/ 7038 h 10015"/>
              <a:gd name="connsiteX9" fmla="*/ 7807 w 10000"/>
              <a:gd name="connsiteY9" fmla="*/ 7038 h 10015"/>
              <a:gd name="connsiteX10" fmla="*/ 7879 w 10000"/>
              <a:gd name="connsiteY10" fmla="*/ 6676 h 10015"/>
              <a:gd name="connsiteX11" fmla="*/ 7879 w 10000"/>
              <a:gd name="connsiteY11" fmla="*/ 2651 h 10015"/>
              <a:gd name="connsiteX12" fmla="*/ 7948 w 10000"/>
              <a:gd name="connsiteY12" fmla="*/ 2290 h 10015"/>
              <a:gd name="connsiteX13" fmla="*/ 9931 w 10000"/>
              <a:gd name="connsiteY13" fmla="*/ 2290 h 10015"/>
              <a:gd name="connsiteX14" fmla="*/ 10000 w 10000"/>
              <a:gd name="connsiteY14" fmla="*/ 2651 h 10015"/>
              <a:gd name="connsiteX0" fmla="*/ 0 w 10000"/>
              <a:gd name="connsiteY0" fmla="*/ 10008 h 10008"/>
              <a:gd name="connsiteX1" fmla="*/ 3417 w 10000"/>
              <a:gd name="connsiteY1" fmla="*/ 10000 h 10008"/>
              <a:gd name="connsiteX2" fmla="*/ 3485 w 10000"/>
              <a:gd name="connsiteY2" fmla="*/ 9637 h 10008"/>
              <a:gd name="connsiteX3" fmla="*/ 3485 w 10000"/>
              <a:gd name="connsiteY3" fmla="*/ 362 h 10008"/>
              <a:gd name="connsiteX4" fmla="*/ 3556 w 10000"/>
              <a:gd name="connsiteY4" fmla="*/ 0 h 10008"/>
              <a:gd name="connsiteX5" fmla="*/ 6778 w 10000"/>
              <a:gd name="connsiteY5" fmla="*/ 0 h 10008"/>
              <a:gd name="connsiteX6" fmla="*/ 6846 w 10000"/>
              <a:gd name="connsiteY6" fmla="*/ 362 h 10008"/>
              <a:gd name="connsiteX7" fmla="*/ 6846 w 10000"/>
              <a:gd name="connsiteY7" fmla="*/ 6676 h 10008"/>
              <a:gd name="connsiteX8" fmla="*/ 6914 w 10000"/>
              <a:gd name="connsiteY8" fmla="*/ 7038 h 10008"/>
              <a:gd name="connsiteX9" fmla="*/ 7807 w 10000"/>
              <a:gd name="connsiteY9" fmla="*/ 7038 h 10008"/>
              <a:gd name="connsiteX10" fmla="*/ 7879 w 10000"/>
              <a:gd name="connsiteY10" fmla="*/ 6676 h 10008"/>
              <a:gd name="connsiteX11" fmla="*/ 7879 w 10000"/>
              <a:gd name="connsiteY11" fmla="*/ 2651 h 10008"/>
              <a:gd name="connsiteX12" fmla="*/ 7948 w 10000"/>
              <a:gd name="connsiteY12" fmla="*/ 2290 h 10008"/>
              <a:gd name="connsiteX13" fmla="*/ 9931 w 10000"/>
              <a:gd name="connsiteY13" fmla="*/ 2290 h 10008"/>
              <a:gd name="connsiteX14" fmla="*/ 10000 w 10000"/>
              <a:gd name="connsiteY14" fmla="*/ 2651 h 10008"/>
              <a:gd name="connsiteX0" fmla="*/ 0 w 10000"/>
              <a:gd name="connsiteY0" fmla="*/ 10008 h 10008"/>
              <a:gd name="connsiteX1" fmla="*/ 3417 w 10000"/>
              <a:gd name="connsiteY1" fmla="*/ 10000 h 10008"/>
              <a:gd name="connsiteX2" fmla="*/ 3485 w 10000"/>
              <a:gd name="connsiteY2" fmla="*/ 9637 h 10008"/>
              <a:gd name="connsiteX3" fmla="*/ 3485 w 10000"/>
              <a:gd name="connsiteY3" fmla="*/ 362 h 10008"/>
              <a:gd name="connsiteX4" fmla="*/ 3556 w 10000"/>
              <a:gd name="connsiteY4" fmla="*/ 0 h 10008"/>
              <a:gd name="connsiteX5" fmla="*/ 6778 w 10000"/>
              <a:gd name="connsiteY5" fmla="*/ 0 h 10008"/>
              <a:gd name="connsiteX6" fmla="*/ 6846 w 10000"/>
              <a:gd name="connsiteY6" fmla="*/ 362 h 10008"/>
              <a:gd name="connsiteX7" fmla="*/ 6846 w 10000"/>
              <a:gd name="connsiteY7" fmla="*/ 6676 h 10008"/>
              <a:gd name="connsiteX8" fmla="*/ 6914 w 10000"/>
              <a:gd name="connsiteY8" fmla="*/ 7038 h 10008"/>
              <a:gd name="connsiteX9" fmla="*/ 7807 w 10000"/>
              <a:gd name="connsiteY9" fmla="*/ 7038 h 10008"/>
              <a:gd name="connsiteX10" fmla="*/ 7879 w 10000"/>
              <a:gd name="connsiteY10" fmla="*/ 6676 h 10008"/>
              <a:gd name="connsiteX11" fmla="*/ 7879 w 10000"/>
              <a:gd name="connsiteY11" fmla="*/ 2651 h 10008"/>
              <a:gd name="connsiteX12" fmla="*/ 7948 w 10000"/>
              <a:gd name="connsiteY12" fmla="*/ 2290 h 10008"/>
              <a:gd name="connsiteX13" fmla="*/ 10000 w 10000"/>
              <a:gd name="connsiteY13" fmla="*/ 2651 h 10008"/>
              <a:gd name="connsiteX0" fmla="*/ 0 w 9969"/>
              <a:gd name="connsiteY0" fmla="*/ 10008 h 10008"/>
              <a:gd name="connsiteX1" fmla="*/ 3417 w 9969"/>
              <a:gd name="connsiteY1" fmla="*/ 10000 h 10008"/>
              <a:gd name="connsiteX2" fmla="*/ 3485 w 9969"/>
              <a:gd name="connsiteY2" fmla="*/ 9637 h 10008"/>
              <a:gd name="connsiteX3" fmla="*/ 3485 w 9969"/>
              <a:gd name="connsiteY3" fmla="*/ 362 h 10008"/>
              <a:gd name="connsiteX4" fmla="*/ 3556 w 9969"/>
              <a:gd name="connsiteY4" fmla="*/ 0 h 10008"/>
              <a:gd name="connsiteX5" fmla="*/ 6778 w 9969"/>
              <a:gd name="connsiteY5" fmla="*/ 0 h 10008"/>
              <a:gd name="connsiteX6" fmla="*/ 6846 w 9969"/>
              <a:gd name="connsiteY6" fmla="*/ 362 h 10008"/>
              <a:gd name="connsiteX7" fmla="*/ 6846 w 9969"/>
              <a:gd name="connsiteY7" fmla="*/ 6676 h 10008"/>
              <a:gd name="connsiteX8" fmla="*/ 6914 w 9969"/>
              <a:gd name="connsiteY8" fmla="*/ 7038 h 10008"/>
              <a:gd name="connsiteX9" fmla="*/ 7807 w 9969"/>
              <a:gd name="connsiteY9" fmla="*/ 7038 h 10008"/>
              <a:gd name="connsiteX10" fmla="*/ 7879 w 9969"/>
              <a:gd name="connsiteY10" fmla="*/ 6676 h 10008"/>
              <a:gd name="connsiteX11" fmla="*/ 7879 w 9969"/>
              <a:gd name="connsiteY11" fmla="*/ 2651 h 10008"/>
              <a:gd name="connsiteX12" fmla="*/ 7948 w 9969"/>
              <a:gd name="connsiteY12" fmla="*/ 2290 h 10008"/>
              <a:gd name="connsiteX13" fmla="*/ 9969 w 9969"/>
              <a:gd name="connsiteY13" fmla="*/ 2271 h 10008"/>
              <a:gd name="connsiteX0" fmla="*/ 0 w 9995"/>
              <a:gd name="connsiteY0" fmla="*/ 10000 h 10000"/>
              <a:gd name="connsiteX1" fmla="*/ 3428 w 9995"/>
              <a:gd name="connsiteY1" fmla="*/ 9992 h 10000"/>
              <a:gd name="connsiteX2" fmla="*/ 3496 w 9995"/>
              <a:gd name="connsiteY2" fmla="*/ 9629 h 10000"/>
              <a:gd name="connsiteX3" fmla="*/ 3496 w 9995"/>
              <a:gd name="connsiteY3" fmla="*/ 362 h 10000"/>
              <a:gd name="connsiteX4" fmla="*/ 3567 w 9995"/>
              <a:gd name="connsiteY4" fmla="*/ 0 h 10000"/>
              <a:gd name="connsiteX5" fmla="*/ 6799 w 9995"/>
              <a:gd name="connsiteY5" fmla="*/ 0 h 10000"/>
              <a:gd name="connsiteX6" fmla="*/ 6867 w 9995"/>
              <a:gd name="connsiteY6" fmla="*/ 362 h 10000"/>
              <a:gd name="connsiteX7" fmla="*/ 6867 w 9995"/>
              <a:gd name="connsiteY7" fmla="*/ 6671 h 10000"/>
              <a:gd name="connsiteX8" fmla="*/ 6936 w 9995"/>
              <a:gd name="connsiteY8" fmla="*/ 7032 h 10000"/>
              <a:gd name="connsiteX9" fmla="*/ 7831 w 9995"/>
              <a:gd name="connsiteY9" fmla="*/ 7032 h 10000"/>
              <a:gd name="connsiteX10" fmla="*/ 7904 w 9995"/>
              <a:gd name="connsiteY10" fmla="*/ 6671 h 10000"/>
              <a:gd name="connsiteX11" fmla="*/ 7904 w 9995"/>
              <a:gd name="connsiteY11" fmla="*/ 2649 h 10000"/>
              <a:gd name="connsiteX12" fmla="*/ 7973 w 9995"/>
              <a:gd name="connsiteY12" fmla="*/ 2288 h 10000"/>
              <a:gd name="connsiteX13" fmla="*/ 9995 w 9995"/>
              <a:gd name="connsiteY13" fmla="*/ 2377 h 10000"/>
              <a:gd name="connsiteX0" fmla="*/ 0 w 10000"/>
              <a:gd name="connsiteY0" fmla="*/ 10000 h 10000"/>
              <a:gd name="connsiteX1" fmla="*/ 3430 w 10000"/>
              <a:gd name="connsiteY1" fmla="*/ 9992 h 10000"/>
              <a:gd name="connsiteX2" fmla="*/ 3498 w 10000"/>
              <a:gd name="connsiteY2" fmla="*/ 9629 h 10000"/>
              <a:gd name="connsiteX3" fmla="*/ 3498 w 10000"/>
              <a:gd name="connsiteY3" fmla="*/ 362 h 10000"/>
              <a:gd name="connsiteX4" fmla="*/ 3569 w 10000"/>
              <a:gd name="connsiteY4" fmla="*/ 0 h 10000"/>
              <a:gd name="connsiteX5" fmla="*/ 6802 w 10000"/>
              <a:gd name="connsiteY5" fmla="*/ 0 h 10000"/>
              <a:gd name="connsiteX6" fmla="*/ 6870 w 10000"/>
              <a:gd name="connsiteY6" fmla="*/ 362 h 10000"/>
              <a:gd name="connsiteX7" fmla="*/ 6870 w 10000"/>
              <a:gd name="connsiteY7" fmla="*/ 6671 h 10000"/>
              <a:gd name="connsiteX8" fmla="*/ 6939 w 10000"/>
              <a:gd name="connsiteY8" fmla="*/ 7032 h 10000"/>
              <a:gd name="connsiteX9" fmla="*/ 7835 w 10000"/>
              <a:gd name="connsiteY9" fmla="*/ 7032 h 10000"/>
              <a:gd name="connsiteX10" fmla="*/ 7908 w 10000"/>
              <a:gd name="connsiteY10" fmla="*/ 6671 h 10000"/>
              <a:gd name="connsiteX11" fmla="*/ 7908 w 10000"/>
              <a:gd name="connsiteY11" fmla="*/ 2649 h 10000"/>
              <a:gd name="connsiteX12" fmla="*/ 7977 w 10000"/>
              <a:gd name="connsiteY12" fmla="*/ 2288 h 10000"/>
              <a:gd name="connsiteX13" fmla="*/ 10000 w 10000"/>
              <a:gd name="connsiteY13" fmla="*/ 2296 h 10000"/>
              <a:gd name="connsiteX0" fmla="*/ 0 w 10049"/>
              <a:gd name="connsiteY0" fmla="*/ 10000 h 10000"/>
              <a:gd name="connsiteX1" fmla="*/ 3479 w 10049"/>
              <a:gd name="connsiteY1" fmla="*/ 9992 h 10000"/>
              <a:gd name="connsiteX2" fmla="*/ 3547 w 10049"/>
              <a:gd name="connsiteY2" fmla="*/ 9629 h 10000"/>
              <a:gd name="connsiteX3" fmla="*/ 3547 w 10049"/>
              <a:gd name="connsiteY3" fmla="*/ 362 h 10000"/>
              <a:gd name="connsiteX4" fmla="*/ 3618 w 10049"/>
              <a:gd name="connsiteY4" fmla="*/ 0 h 10000"/>
              <a:gd name="connsiteX5" fmla="*/ 6851 w 10049"/>
              <a:gd name="connsiteY5" fmla="*/ 0 h 10000"/>
              <a:gd name="connsiteX6" fmla="*/ 6919 w 10049"/>
              <a:gd name="connsiteY6" fmla="*/ 362 h 10000"/>
              <a:gd name="connsiteX7" fmla="*/ 6919 w 10049"/>
              <a:gd name="connsiteY7" fmla="*/ 6671 h 10000"/>
              <a:gd name="connsiteX8" fmla="*/ 6988 w 10049"/>
              <a:gd name="connsiteY8" fmla="*/ 7032 h 10000"/>
              <a:gd name="connsiteX9" fmla="*/ 7884 w 10049"/>
              <a:gd name="connsiteY9" fmla="*/ 7032 h 10000"/>
              <a:gd name="connsiteX10" fmla="*/ 7957 w 10049"/>
              <a:gd name="connsiteY10" fmla="*/ 6671 h 10000"/>
              <a:gd name="connsiteX11" fmla="*/ 7957 w 10049"/>
              <a:gd name="connsiteY11" fmla="*/ 2649 h 10000"/>
              <a:gd name="connsiteX12" fmla="*/ 8026 w 10049"/>
              <a:gd name="connsiteY12" fmla="*/ 2288 h 10000"/>
              <a:gd name="connsiteX13" fmla="*/ 10049 w 10049"/>
              <a:gd name="connsiteY13" fmla="*/ 2296 h 10000"/>
              <a:gd name="connsiteX0" fmla="*/ 0 w 10007"/>
              <a:gd name="connsiteY0" fmla="*/ 10000 h 10000"/>
              <a:gd name="connsiteX1" fmla="*/ 3437 w 10007"/>
              <a:gd name="connsiteY1" fmla="*/ 9992 h 10000"/>
              <a:gd name="connsiteX2" fmla="*/ 3505 w 10007"/>
              <a:gd name="connsiteY2" fmla="*/ 9629 h 10000"/>
              <a:gd name="connsiteX3" fmla="*/ 3505 w 10007"/>
              <a:gd name="connsiteY3" fmla="*/ 362 h 10000"/>
              <a:gd name="connsiteX4" fmla="*/ 3576 w 10007"/>
              <a:gd name="connsiteY4" fmla="*/ 0 h 10000"/>
              <a:gd name="connsiteX5" fmla="*/ 6809 w 10007"/>
              <a:gd name="connsiteY5" fmla="*/ 0 h 10000"/>
              <a:gd name="connsiteX6" fmla="*/ 6877 w 10007"/>
              <a:gd name="connsiteY6" fmla="*/ 362 h 10000"/>
              <a:gd name="connsiteX7" fmla="*/ 6877 w 10007"/>
              <a:gd name="connsiteY7" fmla="*/ 6671 h 10000"/>
              <a:gd name="connsiteX8" fmla="*/ 6946 w 10007"/>
              <a:gd name="connsiteY8" fmla="*/ 7032 h 10000"/>
              <a:gd name="connsiteX9" fmla="*/ 7842 w 10007"/>
              <a:gd name="connsiteY9" fmla="*/ 7032 h 10000"/>
              <a:gd name="connsiteX10" fmla="*/ 7915 w 10007"/>
              <a:gd name="connsiteY10" fmla="*/ 6671 h 10000"/>
              <a:gd name="connsiteX11" fmla="*/ 7915 w 10007"/>
              <a:gd name="connsiteY11" fmla="*/ 2649 h 10000"/>
              <a:gd name="connsiteX12" fmla="*/ 7984 w 10007"/>
              <a:gd name="connsiteY12" fmla="*/ 2288 h 10000"/>
              <a:gd name="connsiteX13" fmla="*/ 10007 w 10007"/>
              <a:gd name="connsiteY13" fmla="*/ 2296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007" h="10000">
                <a:moveTo>
                  <a:pt x="0" y="10000"/>
                </a:moveTo>
                <a:lnTo>
                  <a:pt x="3437" y="9992"/>
                </a:lnTo>
                <a:cubicBezTo>
                  <a:pt x="3474" y="9992"/>
                  <a:pt x="3505" y="9824"/>
                  <a:pt x="3505" y="9629"/>
                </a:cubicBezTo>
                <a:lnTo>
                  <a:pt x="3505" y="362"/>
                </a:lnTo>
                <a:cubicBezTo>
                  <a:pt x="3505" y="168"/>
                  <a:pt x="3536" y="0"/>
                  <a:pt x="3576" y="0"/>
                </a:cubicBezTo>
                <a:lnTo>
                  <a:pt x="6809" y="0"/>
                </a:lnTo>
                <a:cubicBezTo>
                  <a:pt x="6845" y="0"/>
                  <a:pt x="6877" y="168"/>
                  <a:pt x="6877" y="362"/>
                </a:cubicBezTo>
                <a:lnTo>
                  <a:pt x="6877" y="6671"/>
                </a:lnTo>
                <a:cubicBezTo>
                  <a:pt x="6877" y="6865"/>
                  <a:pt x="6906" y="7032"/>
                  <a:pt x="6946" y="7032"/>
                </a:cubicBezTo>
                <a:lnTo>
                  <a:pt x="7842" y="7032"/>
                </a:lnTo>
                <a:cubicBezTo>
                  <a:pt x="7883" y="7032"/>
                  <a:pt x="7915" y="6865"/>
                  <a:pt x="7915" y="6671"/>
                </a:cubicBezTo>
                <a:lnTo>
                  <a:pt x="7915" y="2649"/>
                </a:lnTo>
                <a:cubicBezTo>
                  <a:pt x="7915" y="2443"/>
                  <a:pt x="7943" y="2288"/>
                  <a:pt x="7984" y="2288"/>
                </a:cubicBezTo>
                <a:lnTo>
                  <a:pt x="10007" y="2296"/>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 name="Freeform 8"/>
          <p:cNvSpPr>
            <a:spLocks/>
          </p:cNvSpPr>
          <p:nvPr/>
        </p:nvSpPr>
        <p:spPr bwMode="gray">
          <a:xfrm>
            <a:off x="-10278" y="5966252"/>
            <a:ext cx="9157459" cy="323466"/>
          </a:xfrm>
          <a:custGeom>
            <a:avLst/>
            <a:gdLst>
              <a:gd name="T0" fmla="*/ 0 w 8480"/>
              <a:gd name="T1" fmla="*/ 0 h 144"/>
              <a:gd name="T2" fmla="*/ 776 w 8480"/>
              <a:gd name="T3" fmla="*/ 0 h 144"/>
              <a:gd name="T4" fmla="*/ 804 w 8480"/>
              <a:gd name="T5" fmla="*/ 28 h 144"/>
              <a:gd name="T6" fmla="*/ 804 w 8480"/>
              <a:gd name="T7" fmla="*/ 114 h 144"/>
              <a:gd name="T8" fmla="*/ 831 w 8480"/>
              <a:gd name="T9" fmla="*/ 142 h 144"/>
              <a:gd name="T10" fmla="*/ 2854 w 8480"/>
              <a:gd name="T11" fmla="*/ 142 h 144"/>
              <a:gd name="T12" fmla="*/ 2882 w 8480"/>
              <a:gd name="T13" fmla="*/ 114 h 144"/>
              <a:gd name="T14" fmla="*/ 2882 w 8480"/>
              <a:gd name="T15" fmla="*/ 28 h 144"/>
              <a:gd name="T16" fmla="*/ 2910 w 8480"/>
              <a:gd name="T17" fmla="*/ 0 h 144"/>
              <a:gd name="T18" fmla="*/ 6767 w 8480"/>
              <a:gd name="T19" fmla="*/ 0 h 144"/>
              <a:gd name="T20" fmla="*/ 6795 w 8480"/>
              <a:gd name="T21" fmla="*/ 28 h 144"/>
              <a:gd name="T22" fmla="*/ 6795 w 8480"/>
              <a:gd name="T23" fmla="*/ 116 h 144"/>
              <a:gd name="T24" fmla="*/ 6823 w 8480"/>
              <a:gd name="T25" fmla="*/ 144 h 144"/>
              <a:gd name="T26" fmla="*/ 8480 w 8480"/>
              <a:gd name="T27" fmla="*/ 144 h 144"/>
              <a:gd name="connsiteX0" fmla="*/ 0 w 9085"/>
              <a:gd name="connsiteY0" fmla="*/ 0 h 10000"/>
              <a:gd name="connsiteX1" fmla="*/ 33 w 9085"/>
              <a:gd name="connsiteY1" fmla="*/ 1944 h 10000"/>
              <a:gd name="connsiteX2" fmla="*/ 33 w 9085"/>
              <a:gd name="connsiteY2" fmla="*/ 7917 h 10000"/>
              <a:gd name="connsiteX3" fmla="*/ 65 w 9085"/>
              <a:gd name="connsiteY3" fmla="*/ 9861 h 10000"/>
              <a:gd name="connsiteX4" fmla="*/ 2451 w 9085"/>
              <a:gd name="connsiteY4" fmla="*/ 9861 h 10000"/>
              <a:gd name="connsiteX5" fmla="*/ 2484 w 9085"/>
              <a:gd name="connsiteY5" fmla="*/ 7917 h 10000"/>
              <a:gd name="connsiteX6" fmla="*/ 2484 w 9085"/>
              <a:gd name="connsiteY6" fmla="*/ 1944 h 10000"/>
              <a:gd name="connsiteX7" fmla="*/ 2517 w 9085"/>
              <a:gd name="connsiteY7" fmla="*/ 0 h 10000"/>
              <a:gd name="connsiteX8" fmla="*/ 7065 w 9085"/>
              <a:gd name="connsiteY8" fmla="*/ 0 h 10000"/>
              <a:gd name="connsiteX9" fmla="*/ 7098 w 9085"/>
              <a:gd name="connsiteY9" fmla="*/ 1944 h 10000"/>
              <a:gd name="connsiteX10" fmla="*/ 7098 w 9085"/>
              <a:gd name="connsiteY10" fmla="*/ 8056 h 10000"/>
              <a:gd name="connsiteX11" fmla="*/ 7131 w 9085"/>
              <a:gd name="connsiteY11" fmla="*/ 10000 h 10000"/>
              <a:gd name="connsiteX12" fmla="*/ 9085 w 9085"/>
              <a:gd name="connsiteY12" fmla="*/ 10000 h 10000"/>
              <a:gd name="connsiteX0" fmla="*/ 0 w 9964"/>
              <a:gd name="connsiteY0" fmla="*/ 1944 h 10000"/>
              <a:gd name="connsiteX1" fmla="*/ 0 w 9964"/>
              <a:gd name="connsiteY1" fmla="*/ 7917 h 10000"/>
              <a:gd name="connsiteX2" fmla="*/ 36 w 9964"/>
              <a:gd name="connsiteY2" fmla="*/ 9861 h 10000"/>
              <a:gd name="connsiteX3" fmla="*/ 2662 w 9964"/>
              <a:gd name="connsiteY3" fmla="*/ 9861 h 10000"/>
              <a:gd name="connsiteX4" fmla="*/ 2698 w 9964"/>
              <a:gd name="connsiteY4" fmla="*/ 7917 h 10000"/>
              <a:gd name="connsiteX5" fmla="*/ 2698 w 9964"/>
              <a:gd name="connsiteY5" fmla="*/ 1944 h 10000"/>
              <a:gd name="connsiteX6" fmla="*/ 2735 w 9964"/>
              <a:gd name="connsiteY6" fmla="*/ 0 h 10000"/>
              <a:gd name="connsiteX7" fmla="*/ 7741 w 9964"/>
              <a:gd name="connsiteY7" fmla="*/ 0 h 10000"/>
              <a:gd name="connsiteX8" fmla="*/ 7777 w 9964"/>
              <a:gd name="connsiteY8" fmla="*/ 1944 h 10000"/>
              <a:gd name="connsiteX9" fmla="*/ 7777 w 9964"/>
              <a:gd name="connsiteY9" fmla="*/ 8056 h 10000"/>
              <a:gd name="connsiteX10" fmla="*/ 7813 w 9964"/>
              <a:gd name="connsiteY10" fmla="*/ 10000 h 10000"/>
              <a:gd name="connsiteX11" fmla="*/ 9964 w 9964"/>
              <a:gd name="connsiteY11" fmla="*/ 10000 h 10000"/>
              <a:gd name="connsiteX0" fmla="*/ 0 w 10000"/>
              <a:gd name="connsiteY0" fmla="*/ 7917 h 10000"/>
              <a:gd name="connsiteX1" fmla="*/ 36 w 10000"/>
              <a:gd name="connsiteY1" fmla="*/ 9861 h 10000"/>
              <a:gd name="connsiteX2" fmla="*/ 2672 w 10000"/>
              <a:gd name="connsiteY2" fmla="*/ 9861 h 10000"/>
              <a:gd name="connsiteX3" fmla="*/ 2708 w 10000"/>
              <a:gd name="connsiteY3" fmla="*/ 7917 h 10000"/>
              <a:gd name="connsiteX4" fmla="*/ 2708 w 10000"/>
              <a:gd name="connsiteY4" fmla="*/ 1944 h 10000"/>
              <a:gd name="connsiteX5" fmla="*/ 2745 w 10000"/>
              <a:gd name="connsiteY5" fmla="*/ 0 h 10000"/>
              <a:gd name="connsiteX6" fmla="*/ 7769 w 10000"/>
              <a:gd name="connsiteY6" fmla="*/ 0 h 10000"/>
              <a:gd name="connsiteX7" fmla="*/ 7805 w 10000"/>
              <a:gd name="connsiteY7" fmla="*/ 1944 h 10000"/>
              <a:gd name="connsiteX8" fmla="*/ 7805 w 10000"/>
              <a:gd name="connsiteY8" fmla="*/ 8056 h 10000"/>
              <a:gd name="connsiteX9" fmla="*/ 7841 w 10000"/>
              <a:gd name="connsiteY9" fmla="*/ 10000 h 10000"/>
              <a:gd name="connsiteX10" fmla="*/ 10000 w 10000"/>
              <a:gd name="connsiteY10" fmla="*/ 10000 h 10000"/>
              <a:gd name="connsiteX0" fmla="*/ 0 w 9964"/>
              <a:gd name="connsiteY0" fmla="*/ 9861 h 10000"/>
              <a:gd name="connsiteX1" fmla="*/ 2636 w 9964"/>
              <a:gd name="connsiteY1" fmla="*/ 9861 h 10000"/>
              <a:gd name="connsiteX2" fmla="*/ 2672 w 9964"/>
              <a:gd name="connsiteY2" fmla="*/ 7917 h 10000"/>
              <a:gd name="connsiteX3" fmla="*/ 2672 w 9964"/>
              <a:gd name="connsiteY3" fmla="*/ 1944 h 10000"/>
              <a:gd name="connsiteX4" fmla="*/ 2709 w 9964"/>
              <a:gd name="connsiteY4" fmla="*/ 0 h 10000"/>
              <a:gd name="connsiteX5" fmla="*/ 7733 w 9964"/>
              <a:gd name="connsiteY5" fmla="*/ 0 h 10000"/>
              <a:gd name="connsiteX6" fmla="*/ 7769 w 9964"/>
              <a:gd name="connsiteY6" fmla="*/ 1944 h 10000"/>
              <a:gd name="connsiteX7" fmla="*/ 7769 w 9964"/>
              <a:gd name="connsiteY7" fmla="*/ 8056 h 10000"/>
              <a:gd name="connsiteX8" fmla="*/ 7805 w 9964"/>
              <a:gd name="connsiteY8" fmla="*/ 10000 h 10000"/>
              <a:gd name="connsiteX9" fmla="*/ 9964 w 9964"/>
              <a:gd name="connsiteY9" fmla="*/ 10000 h 10000"/>
              <a:gd name="connsiteX0" fmla="*/ 0 w 7833"/>
              <a:gd name="connsiteY0" fmla="*/ 9861 h 10000"/>
              <a:gd name="connsiteX1" fmla="*/ 2646 w 7833"/>
              <a:gd name="connsiteY1" fmla="*/ 9861 h 10000"/>
              <a:gd name="connsiteX2" fmla="*/ 2682 w 7833"/>
              <a:gd name="connsiteY2" fmla="*/ 7917 h 10000"/>
              <a:gd name="connsiteX3" fmla="*/ 2682 w 7833"/>
              <a:gd name="connsiteY3" fmla="*/ 1944 h 10000"/>
              <a:gd name="connsiteX4" fmla="*/ 2719 w 7833"/>
              <a:gd name="connsiteY4" fmla="*/ 0 h 10000"/>
              <a:gd name="connsiteX5" fmla="*/ 7761 w 7833"/>
              <a:gd name="connsiteY5" fmla="*/ 0 h 10000"/>
              <a:gd name="connsiteX6" fmla="*/ 7797 w 7833"/>
              <a:gd name="connsiteY6" fmla="*/ 1944 h 10000"/>
              <a:gd name="connsiteX7" fmla="*/ 7797 w 7833"/>
              <a:gd name="connsiteY7" fmla="*/ 8056 h 10000"/>
              <a:gd name="connsiteX8" fmla="*/ 7833 w 7833"/>
              <a:gd name="connsiteY8" fmla="*/ 10000 h 10000"/>
              <a:gd name="connsiteX0" fmla="*/ 0 w 9954"/>
              <a:gd name="connsiteY0" fmla="*/ 9861 h 9861"/>
              <a:gd name="connsiteX1" fmla="*/ 3378 w 9954"/>
              <a:gd name="connsiteY1" fmla="*/ 9861 h 9861"/>
              <a:gd name="connsiteX2" fmla="*/ 3424 w 9954"/>
              <a:gd name="connsiteY2" fmla="*/ 7917 h 9861"/>
              <a:gd name="connsiteX3" fmla="*/ 3424 w 9954"/>
              <a:gd name="connsiteY3" fmla="*/ 1944 h 9861"/>
              <a:gd name="connsiteX4" fmla="*/ 3471 w 9954"/>
              <a:gd name="connsiteY4" fmla="*/ 0 h 9861"/>
              <a:gd name="connsiteX5" fmla="*/ 9908 w 9954"/>
              <a:gd name="connsiteY5" fmla="*/ 0 h 9861"/>
              <a:gd name="connsiteX6" fmla="*/ 9954 w 9954"/>
              <a:gd name="connsiteY6" fmla="*/ 1944 h 9861"/>
              <a:gd name="connsiteX7" fmla="*/ 9954 w 9954"/>
              <a:gd name="connsiteY7" fmla="*/ 8056 h 9861"/>
              <a:gd name="connsiteX0" fmla="*/ 0 w 10000"/>
              <a:gd name="connsiteY0" fmla="*/ 10000 h 10000"/>
              <a:gd name="connsiteX1" fmla="*/ 3394 w 10000"/>
              <a:gd name="connsiteY1" fmla="*/ 10000 h 10000"/>
              <a:gd name="connsiteX2" fmla="*/ 3440 w 10000"/>
              <a:gd name="connsiteY2" fmla="*/ 8029 h 10000"/>
              <a:gd name="connsiteX3" fmla="*/ 3440 w 10000"/>
              <a:gd name="connsiteY3" fmla="*/ 1971 h 10000"/>
              <a:gd name="connsiteX4" fmla="*/ 3487 w 10000"/>
              <a:gd name="connsiteY4" fmla="*/ 0 h 10000"/>
              <a:gd name="connsiteX5" fmla="*/ 9954 w 10000"/>
              <a:gd name="connsiteY5" fmla="*/ 0 h 10000"/>
              <a:gd name="connsiteX6" fmla="*/ 10000 w 10000"/>
              <a:gd name="connsiteY6" fmla="*/ 1971 h 10000"/>
              <a:gd name="connsiteX0" fmla="*/ 0 w 7965"/>
              <a:gd name="connsiteY0" fmla="*/ 9803 h 10000"/>
              <a:gd name="connsiteX1" fmla="*/ 1359 w 7965"/>
              <a:gd name="connsiteY1" fmla="*/ 10000 h 10000"/>
              <a:gd name="connsiteX2" fmla="*/ 1405 w 7965"/>
              <a:gd name="connsiteY2" fmla="*/ 8029 h 10000"/>
              <a:gd name="connsiteX3" fmla="*/ 1405 w 7965"/>
              <a:gd name="connsiteY3" fmla="*/ 1971 h 10000"/>
              <a:gd name="connsiteX4" fmla="*/ 1452 w 7965"/>
              <a:gd name="connsiteY4" fmla="*/ 0 h 10000"/>
              <a:gd name="connsiteX5" fmla="*/ 7919 w 7965"/>
              <a:gd name="connsiteY5" fmla="*/ 0 h 10000"/>
              <a:gd name="connsiteX6" fmla="*/ 7965 w 7965"/>
              <a:gd name="connsiteY6" fmla="*/ 1971 h 10000"/>
              <a:gd name="connsiteX0" fmla="*/ 0 w 10000"/>
              <a:gd name="connsiteY0" fmla="*/ 9803 h 10000"/>
              <a:gd name="connsiteX1" fmla="*/ 1706 w 10000"/>
              <a:gd name="connsiteY1" fmla="*/ 10000 h 10000"/>
              <a:gd name="connsiteX2" fmla="*/ 1764 w 10000"/>
              <a:gd name="connsiteY2" fmla="*/ 8029 h 10000"/>
              <a:gd name="connsiteX3" fmla="*/ 1764 w 10000"/>
              <a:gd name="connsiteY3" fmla="*/ 1971 h 10000"/>
              <a:gd name="connsiteX4" fmla="*/ 1823 w 10000"/>
              <a:gd name="connsiteY4" fmla="*/ 0 h 10000"/>
              <a:gd name="connsiteX5" fmla="*/ 9942 w 10000"/>
              <a:gd name="connsiteY5" fmla="*/ 0 h 10000"/>
              <a:gd name="connsiteX6" fmla="*/ 10000 w 10000"/>
              <a:gd name="connsiteY6" fmla="*/ 1971 h 10000"/>
              <a:gd name="connsiteX0" fmla="*/ 0 w 9295"/>
              <a:gd name="connsiteY0" fmla="*/ 9803 h 10000"/>
              <a:gd name="connsiteX1" fmla="*/ 1001 w 9295"/>
              <a:gd name="connsiteY1" fmla="*/ 10000 h 10000"/>
              <a:gd name="connsiteX2" fmla="*/ 1059 w 9295"/>
              <a:gd name="connsiteY2" fmla="*/ 8029 h 10000"/>
              <a:gd name="connsiteX3" fmla="*/ 1059 w 9295"/>
              <a:gd name="connsiteY3" fmla="*/ 1971 h 10000"/>
              <a:gd name="connsiteX4" fmla="*/ 1118 w 9295"/>
              <a:gd name="connsiteY4" fmla="*/ 0 h 10000"/>
              <a:gd name="connsiteX5" fmla="*/ 9237 w 9295"/>
              <a:gd name="connsiteY5" fmla="*/ 0 h 10000"/>
              <a:gd name="connsiteX6" fmla="*/ 9295 w 9295"/>
              <a:gd name="connsiteY6" fmla="*/ 1971 h 10000"/>
              <a:gd name="connsiteX0" fmla="*/ 0 w 10000"/>
              <a:gd name="connsiteY0" fmla="*/ 10246 h 10246"/>
              <a:gd name="connsiteX1" fmla="*/ 1077 w 10000"/>
              <a:gd name="connsiteY1" fmla="*/ 10000 h 10246"/>
              <a:gd name="connsiteX2" fmla="*/ 1139 w 10000"/>
              <a:gd name="connsiteY2" fmla="*/ 8029 h 10246"/>
              <a:gd name="connsiteX3" fmla="*/ 1139 w 10000"/>
              <a:gd name="connsiteY3" fmla="*/ 1971 h 10246"/>
              <a:gd name="connsiteX4" fmla="*/ 1203 w 10000"/>
              <a:gd name="connsiteY4" fmla="*/ 0 h 10246"/>
              <a:gd name="connsiteX5" fmla="*/ 9938 w 10000"/>
              <a:gd name="connsiteY5" fmla="*/ 0 h 10246"/>
              <a:gd name="connsiteX6" fmla="*/ 10000 w 10000"/>
              <a:gd name="connsiteY6" fmla="*/ 1971 h 10246"/>
              <a:gd name="connsiteX0" fmla="*/ 0 w 10000"/>
              <a:gd name="connsiteY0" fmla="*/ 9951 h 10000"/>
              <a:gd name="connsiteX1" fmla="*/ 1077 w 10000"/>
              <a:gd name="connsiteY1" fmla="*/ 10000 h 10000"/>
              <a:gd name="connsiteX2" fmla="*/ 1139 w 10000"/>
              <a:gd name="connsiteY2" fmla="*/ 8029 h 10000"/>
              <a:gd name="connsiteX3" fmla="*/ 1139 w 10000"/>
              <a:gd name="connsiteY3" fmla="*/ 1971 h 10000"/>
              <a:gd name="connsiteX4" fmla="*/ 1203 w 10000"/>
              <a:gd name="connsiteY4" fmla="*/ 0 h 10000"/>
              <a:gd name="connsiteX5" fmla="*/ 9938 w 10000"/>
              <a:gd name="connsiteY5" fmla="*/ 0 h 10000"/>
              <a:gd name="connsiteX6" fmla="*/ 10000 w 10000"/>
              <a:gd name="connsiteY6" fmla="*/ 1971 h 10000"/>
              <a:gd name="connsiteX0" fmla="*/ 0 w 10000"/>
              <a:gd name="connsiteY0" fmla="*/ 9951 h 10000"/>
              <a:gd name="connsiteX1" fmla="*/ 1077 w 10000"/>
              <a:gd name="connsiteY1" fmla="*/ 10000 h 10000"/>
              <a:gd name="connsiteX2" fmla="*/ 1139 w 10000"/>
              <a:gd name="connsiteY2" fmla="*/ 8029 h 10000"/>
              <a:gd name="connsiteX3" fmla="*/ 1139 w 10000"/>
              <a:gd name="connsiteY3" fmla="*/ 1971 h 10000"/>
              <a:gd name="connsiteX4" fmla="*/ 1203 w 10000"/>
              <a:gd name="connsiteY4" fmla="*/ 0 h 10000"/>
              <a:gd name="connsiteX5" fmla="*/ 10000 w 10000"/>
              <a:gd name="connsiteY5" fmla="*/ 1971 h 10000"/>
              <a:gd name="connsiteX0" fmla="*/ 0 w 8215"/>
              <a:gd name="connsiteY0" fmla="*/ 12209 h 12258"/>
              <a:gd name="connsiteX1" fmla="*/ 1077 w 8215"/>
              <a:gd name="connsiteY1" fmla="*/ 12258 h 12258"/>
              <a:gd name="connsiteX2" fmla="*/ 1139 w 8215"/>
              <a:gd name="connsiteY2" fmla="*/ 10287 h 12258"/>
              <a:gd name="connsiteX3" fmla="*/ 1139 w 8215"/>
              <a:gd name="connsiteY3" fmla="*/ 4229 h 12258"/>
              <a:gd name="connsiteX4" fmla="*/ 1203 w 8215"/>
              <a:gd name="connsiteY4" fmla="*/ 2258 h 12258"/>
              <a:gd name="connsiteX5" fmla="*/ 8215 w 8215"/>
              <a:gd name="connsiteY5" fmla="*/ 0 h 12258"/>
              <a:gd name="connsiteX0" fmla="*/ 0 w 10000"/>
              <a:gd name="connsiteY0" fmla="*/ 8195 h 8235"/>
              <a:gd name="connsiteX1" fmla="*/ 1311 w 10000"/>
              <a:gd name="connsiteY1" fmla="*/ 8235 h 8235"/>
              <a:gd name="connsiteX2" fmla="*/ 1386 w 10000"/>
              <a:gd name="connsiteY2" fmla="*/ 6627 h 8235"/>
              <a:gd name="connsiteX3" fmla="*/ 1386 w 10000"/>
              <a:gd name="connsiteY3" fmla="*/ 1685 h 8235"/>
              <a:gd name="connsiteX4" fmla="*/ 1464 w 10000"/>
              <a:gd name="connsiteY4" fmla="*/ 77 h 8235"/>
              <a:gd name="connsiteX5" fmla="*/ 10000 w 10000"/>
              <a:gd name="connsiteY5" fmla="*/ 0 h 8235"/>
              <a:gd name="connsiteX0" fmla="*/ 0 w 10000"/>
              <a:gd name="connsiteY0" fmla="*/ 9951 h 10000"/>
              <a:gd name="connsiteX1" fmla="*/ 1311 w 10000"/>
              <a:gd name="connsiteY1" fmla="*/ 10000 h 10000"/>
              <a:gd name="connsiteX2" fmla="*/ 1386 w 10000"/>
              <a:gd name="connsiteY2" fmla="*/ 8047 h 10000"/>
              <a:gd name="connsiteX3" fmla="*/ 1386 w 10000"/>
              <a:gd name="connsiteY3" fmla="*/ 2046 h 10000"/>
              <a:gd name="connsiteX4" fmla="*/ 1464 w 10000"/>
              <a:gd name="connsiteY4" fmla="*/ 94 h 10000"/>
              <a:gd name="connsiteX5" fmla="*/ 10000 w 10000"/>
              <a:gd name="connsiteY5" fmla="*/ 0 h 10000"/>
              <a:gd name="connsiteX0" fmla="*/ 0 w 9993"/>
              <a:gd name="connsiteY0" fmla="*/ 9857 h 9906"/>
              <a:gd name="connsiteX1" fmla="*/ 1311 w 9993"/>
              <a:gd name="connsiteY1" fmla="*/ 9906 h 9906"/>
              <a:gd name="connsiteX2" fmla="*/ 1386 w 9993"/>
              <a:gd name="connsiteY2" fmla="*/ 7953 h 9906"/>
              <a:gd name="connsiteX3" fmla="*/ 1386 w 9993"/>
              <a:gd name="connsiteY3" fmla="*/ 1952 h 9906"/>
              <a:gd name="connsiteX4" fmla="*/ 1464 w 9993"/>
              <a:gd name="connsiteY4" fmla="*/ 0 h 9906"/>
              <a:gd name="connsiteX5" fmla="*/ 9993 w 9993"/>
              <a:gd name="connsiteY5" fmla="*/ 101 h 9906"/>
              <a:gd name="connsiteX0" fmla="*/ 0 w 10007"/>
              <a:gd name="connsiteY0" fmla="*/ 10439 h 10488"/>
              <a:gd name="connsiteX1" fmla="*/ 1312 w 10007"/>
              <a:gd name="connsiteY1" fmla="*/ 10488 h 10488"/>
              <a:gd name="connsiteX2" fmla="*/ 1387 w 10007"/>
              <a:gd name="connsiteY2" fmla="*/ 8516 h 10488"/>
              <a:gd name="connsiteX3" fmla="*/ 1387 w 10007"/>
              <a:gd name="connsiteY3" fmla="*/ 2459 h 10488"/>
              <a:gd name="connsiteX4" fmla="*/ 1465 w 10007"/>
              <a:gd name="connsiteY4" fmla="*/ 488 h 10488"/>
              <a:gd name="connsiteX5" fmla="*/ 10007 w 10007"/>
              <a:gd name="connsiteY5" fmla="*/ 0 h 10488"/>
              <a:gd name="connsiteX0" fmla="*/ 0 w 10007"/>
              <a:gd name="connsiteY0" fmla="*/ 9951 h 10000"/>
              <a:gd name="connsiteX1" fmla="*/ 1312 w 10007"/>
              <a:gd name="connsiteY1" fmla="*/ 10000 h 10000"/>
              <a:gd name="connsiteX2" fmla="*/ 1387 w 10007"/>
              <a:gd name="connsiteY2" fmla="*/ 8028 h 10000"/>
              <a:gd name="connsiteX3" fmla="*/ 1387 w 10007"/>
              <a:gd name="connsiteY3" fmla="*/ 1971 h 10000"/>
              <a:gd name="connsiteX4" fmla="*/ 1465 w 10007"/>
              <a:gd name="connsiteY4" fmla="*/ 0 h 10000"/>
              <a:gd name="connsiteX5" fmla="*/ 10007 w 10007"/>
              <a:gd name="connsiteY5" fmla="*/ 496 h 10000"/>
              <a:gd name="connsiteX0" fmla="*/ 0 w 10007"/>
              <a:gd name="connsiteY0" fmla="*/ 9951 h 10000"/>
              <a:gd name="connsiteX1" fmla="*/ 1312 w 10007"/>
              <a:gd name="connsiteY1" fmla="*/ 10000 h 10000"/>
              <a:gd name="connsiteX2" fmla="*/ 1387 w 10007"/>
              <a:gd name="connsiteY2" fmla="*/ 8028 h 10000"/>
              <a:gd name="connsiteX3" fmla="*/ 1387 w 10007"/>
              <a:gd name="connsiteY3" fmla="*/ 1971 h 10000"/>
              <a:gd name="connsiteX4" fmla="*/ 1465 w 10007"/>
              <a:gd name="connsiteY4" fmla="*/ 0 h 10000"/>
              <a:gd name="connsiteX5" fmla="*/ 10007 w 10007"/>
              <a:gd name="connsiteY5" fmla="*/ 1480 h 10000"/>
              <a:gd name="connsiteX0" fmla="*/ 0 w 10007"/>
              <a:gd name="connsiteY0" fmla="*/ 9951 h 10000"/>
              <a:gd name="connsiteX1" fmla="*/ 1312 w 10007"/>
              <a:gd name="connsiteY1" fmla="*/ 10000 h 10000"/>
              <a:gd name="connsiteX2" fmla="*/ 1387 w 10007"/>
              <a:gd name="connsiteY2" fmla="*/ 8028 h 10000"/>
              <a:gd name="connsiteX3" fmla="*/ 1387 w 10007"/>
              <a:gd name="connsiteY3" fmla="*/ 1971 h 10000"/>
              <a:gd name="connsiteX4" fmla="*/ 1465 w 10007"/>
              <a:gd name="connsiteY4" fmla="*/ 0 h 10000"/>
              <a:gd name="connsiteX5" fmla="*/ 10007 w 10007"/>
              <a:gd name="connsiteY5" fmla="*/ 496 h 10000"/>
              <a:gd name="connsiteX0" fmla="*/ 0 w 10021"/>
              <a:gd name="connsiteY0" fmla="*/ 10045 h 10094"/>
              <a:gd name="connsiteX1" fmla="*/ 1312 w 10021"/>
              <a:gd name="connsiteY1" fmla="*/ 10094 h 10094"/>
              <a:gd name="connsiteX2" fmla="*/ 1387 w 10021"/>
              <a:gd name="connsiteY2" fmla="*/ 8122 h 10094"/>
              <a:gd name="connsiteX3" fmla="*/ 1387 w 10021"/>
              <a:gd name="connsiteY3" fmla="*/ 2065 h 10094"/>
              <a:gd name="connsiteX4" fmla="*/ 1465 w 10021"/>
              <a:gd name="connsiteY4" fmla="*/ 94 h 10094"/>
              <a:gd name="connsiteX5" fmla="*/ 10021 w 10021"/>
              <a:gd name="connsiteY5" fmla="*/ 0 h 10094"/>
              <a:gd name="connsiteX0" fmla="*/ 0 w 10021"/>
              <a:gd name="connsiteY0" fmla="*/ 10438 h 10487"/>
              <a:gd name="connsiteX1" fmla="*/ 1312 w 10021"/>
              <a:gd name="connsiteY1" fmla="*/ 10487 h 10487"/>
              <a:gd name="connsiteX2" fmla="*/ 1387 w 10021"/>
              <a:gd name="connsiteY2" fmla="*/ 8515 h 10487"/>
              <a:gd name="connsiteX3" fmla="*/ 1387 w 10021"/>
              <a:gd name="connsiteY3" fmla="*/ 2458 h 10487"/>
              <a:gd name="connsiteX4" fmla="*/ 1465 w 10021"/>
              <a:gd name="connsiteY4" fmla="*/ 487 h 10487"/>
              <a:gd name="connsiteX5" fmla="*/ 10021 w 10021"/>
              <a:gd name="connsiteY5" fmla="*/ 0 h 10487"/>
              <a:gd name="connsiteX0" fmla="*/ 0 w 10021"/>
              <a:gd name="connsiteY0" fmla="*/ 9951 h 10000"/>
              <a:gd name="connsiteX1" fmla="*/ 1312 w 10021"/>
              <a:gd name="connsiteY1" fmla="*/ 10000 h 10000"/>
              <a:gd name="connsiteX2" fmla="*/ 1387 w 10021"/>
              <a:gd name="connsiteY2" fmla="*/ 8028 h 10000"/>
              <a:gd name="connsiteX3" fmla="*/ 1387 w 10021"/>
              <a:gd name="connsiteY3" fmla="*/ 1971 h 10000"/>
              <a:gd name="connsiteX4" fmla="*/ 1465 w 10021"/>
              <a:gd name="connsiteY4" fmla="*/ 0 h 10000"/>
              <a:gd name="connsiteX5" fmla="*/ 10021 w 10021"/>
              <a:gd name="connsiteY5" fmla="*/ 300 h 10000"/>
              <a:gd name="connsiteX0" fmla="*/ 0 w 10021"/>
              <a:gd name="connsiteY0" fmla="*/ 10241 h 10290"/>
              <a:gd name="connsiteX1" fmla="*/ 1312 w 10021"/>
              <a:gd name="connsiteY1" fmla="*/ 10290 h 10290"/>
              <a:gd name="connsiteX2" fmla="*/ 1387 w 10021"/>
              <a:gd name="connsiteY2" fmla="*/ 8318 h 10290"/>
              <a:gd name="connsiteX3" fmla="*/ 1387 w 10021"/>
              <a:gd name="connsiteY3" fmla="*/ 2261 h 10290"/>
              <a:gd name="connsiteX4" fmla="*/ 1465 w 10021"/>
              <a:gd name="connsiteY4" fmla="*/ 290 h 10290"/>
              <a:gd name="connsiteX5" fmla="*/ 10021 w 10021"/>
              <a:gd name="connsiteY5" fmla="*/ 0 h 10290"/>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217"/>
              <a:gd name="connsiteX1" fmla="*/ 1312 w 10018"/>
              <a:gd name="connsiteY1" fmla="*/ 10217 h 10217"/>
              <a:gd name="connsiteX2" fmla="*/ 1387 w 10018"/>
              <a:gd name="connsiteY2" fmla="*/ 8097 h 10217"/>
              <a:gd name="connsiteX3" fmla="*/ 1387 w 10018"/>
              <a:gd name="connsiteY3" fmla="*/ 2040 h 10217"/>
              <a:gd name="connsiteX4" fmla="*/ 1465 w 10018"/>
              <a:gd name="connsiteY4" fmla="*/ 69 h 10217"/>
              <a:gd name="connsiteX5" fmla="*/ 10018 w 10018"/>
              <a:gd name="connsiteY5" fmla="*/ 0 h 10217"/>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12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12 w 10018"/>
              <a:gd name="connsiteY1" fmla="*/ 9921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309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69"/>
              <a:gd name="connsiteX1" fmla="*/ 1309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09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9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9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304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04 w 10018"/>
              <a:gd name="connsiteY1" fmla="*/ 9921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142"/>
              <a:gd name="connsiteX1" fmla="*/ 1304 w 10018"/>
              <a:gd name="connsiteY1" fmla="*/ 10142 h 10142"/>
              <a:gd name="connsiteX2" fmla="*/ 1387 w 10018"/>
              <a:gd name="connsiteY2" fmla="*/ 8097 h 10142"/>
              <a:gd name="connsiteX3" fmla="*/ 1387 w 10018"/>
              <a:gd name="connsiteY3" fmla="*/ 2040 h 10142"/>
              <a:gd name="connsiteX4" fmla="*/ 1465 w 10018"/>
              <a:gd name="connsiteY4" fmla="*/ 69 h 10142"/>
              <a:gd name="connsiteX5" fmla="*/ 10018 w 10018"/>
              <a:gd name="connsiteY5" fmla="*/ 0 h 10142"/>
              <a:gd name="connsiteX0" fmla="*/ 0 w 10018"/>
              <a:gd name="connsiteY0" fmla="*/ 10020 h 10142"/>
              <a:gd name="connsiteX1" fmla="*/ 1309 w 10018"/>
              <a:gd name="connsiteY1" fmla="*/ 10142 h 10142"/>
              <a:gd name="connsiteX2" fmla="*/ 1387 w 10018"/>
              <a:gd name="connsiteY2" fmla="*/ 8097 h 10142"/>
              <a:gd name="connsiteX3" fmla="*/ 1387 w 10018"/>
              <a:gd name="connsiteY3" fmla="*/ 2040 h 10142"/>
              <a:gd name="connsiteX4" fmla="*/ 1465 w 10018"/>
              <a:gd name="connsiteY4" fmla="*/ 69 h 10142"/>
              <a:gd name="connsiteX5" fmla="*/ 10018 w 10018"/>
              <a:gd name="connsiteY5" fmla="*/ 0 h 10142"/>
              <a:gd name="connsiteX0" fmla="*/ 0 w 10018"/>
              <a:gd name="connsiteY0" fmla="*/ 10020 h 10020"/>
              <a:gd name="connsiteX1" fmla="*/ 1309 w 10018"/>
              <a:gd name="connsiteY1" fmla="*/ 9921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298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290"/>
              <a:gd name="connsiteX1" fmla="*/ 1301 w 10018"/>
              <a:gd name="connsiteY1" fmla="*/ 10290 h 10290"/>
              <a:gd name="connsiteX2" fmla="*/ 1387 w 10018"/>
              <a:gd name="connsiteY2" fmla="*/ 8097 h 10290"/>
              <a:gd name="connsiteX3" fmla="*/ 1387 w 10018"/>
              <a:gd name="connsiteY3" fmla="*/ 2040 h 10290"/>
              <a:gd name="connsiteX4" fmla="*/ 1465 w 10018"/>
              <a:gd name="connsiteY4" fmla="*/ 69 h 10290"/>
              <a:gd name="connsiteX5" fmla="*/ 10018 w 10018"/>
              <a:gd name="connsiteY5" fmla="*/ 0 h 10290"/>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301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73"/>
              <a:gd name="connsiteX1" fmla="*/ 1301 w 10018"/>
              <a:gd name="connsiteY1" fmla="*/ 10069 h 10073"/>
              <a:gd name="connsiteX2" fmla="*/ 1387 w 10018"/>
              <a:gd name="connsiteY2" fmla="*/ 8097 h 10073"/>
              <a:gd name="connsiteX3" fmla="*/ 1387 w 10018"/>
              <a:gd name="connsiteY3" fmla="*/ 2040 h 10073"/>
              <a:gd name="connsiteX4" fmla="*/ 1465 w 10018"/>
              <a:gd name="connsiteY4" fmla="*/ 69 h 10073"/>
              <a:gd name="connsiteX5" fmla="*/ 10018 w 10018"/>
              <a:gd name="connsiteY5" fmla="*/ 0 h 10073"/>
              <a:gd name="connsiteX0" fmla="*/ 70 w 10088"/>
              <a:gd name="connsiteY0" fmla="*/ 10020 h 10069"/>
              <a:gd name="connsiteX1" fmla="*/ 1371 w 10088"/>
              <a:gd name="connsiteY1" fmla="*/ 10069 h 10069"/>
              <a:gd name="connsiteX2" fmla="*/ 1457 w 10088"/>
              <a:gd name="connsiteY2" fmla="*/ 8097 h 10069"/>
              <a:gd name="connsiteX3" fmla="*/ 1457 w 10088"/>
              <a:gd name="connsiteY3" fmla="*/ 2040 h 10069"/>
              <a:gd name="connsiteX4" fmla="*/ 1535 w 10088"/>
              <a:gd name="connsiteY4" fmla="*/ 69 h 10069"/>
              <a:gd name="connsiteX5" fmla="*/ 10088 w 10088"/>
              <a:gd name="connsiteY5" fmla="*/ 0 h 10069"/>
              <a:gd name="connsiteX0" fmla="*/ 46 w 10064"/>
              <a:gd name="connsiteY0" fmla="*/ 10020 h 10230"/>
              <a:gd name="connsiteX1" fmla="*/ 1347 w 10064"/>
              <a:gd name="connsiteY1" fmla="*/ 10069 h 10230"/>
              <a:gd name="connsiteX2" fmla="*/ 1433 w 10064"/>
              <a:gd name="connsiteY2" fmla="*/ 8097 h 10230"/>
              <a:gd name="connsiteX3" fmla="*/ 1433 w 10064"/>
              <a:gd name="connsiteY3" fmla="*/ 2040 h 10230"/>
              <a:gd name="connsiteX4" fmla="*/ 1511 w 10064"/>
              <a:gd name="connsiteY4" fmla="*/ 69 h 10230"/>
              <a:gd name="connsiteX5" fmla="*/ 10064 w 10064"/>
              <a:gd name="connsiteY5" fmla="*/ 0 h 10230"/>
              <a:gd name="connsiteX0" fmla="*/ 50 w 10068"/>
              <a:gd name="connsiteY0" fmla="*/ 10020 h 10133"/>
              <a:gd name="connsiteX1" fmla="*/ 1351 w 10068"/>
              <a:gd name="connsiteY1" fmla="*/ 10069 h 10133"/>
              <a:gd name="connsiteX2" fmla="*/ 1437 w 10068"/>
              <a:gd name="connsiteY2" fmla="*/ 8097 h 10133"/>
              <a:gd name="connsiteX3" fmla="*/ 1437 w 10068"/>
              <a:gd name="connsiteY3" fmla="*/ 2040 h 10133"/>
              <a:gd name="connsiteX4" fmla="*/ 1515 w 10068"/>
              <a:gd name="connsiteY4" fmla="*/ 69 h 10133"/>
              <a:gd name="connsiteX5" fmla="*/ 10068 w 10068"/>
              <a:gd name="connsiteY5" fmla="*/ 0 h 10133"/>
              <a:gd name="connsiteX0" fmla="*/ 0 w 10018"/>
              <a:gd name="connsiteY0" fmla="*/ 10020 h 10073"/>
              <a:gd name="connsiteX1" fmla="*/ 1301 w 10018"/>
              <a:gd name="connsiteY1" fmla="*/ 10069 h 10073"/>
              <a:gd name="connsiteX2" fmla="*/ 1387 w 10018"/>
              <a:gd name="connsiteY2" fmla="*/ 8097 h 10073"/>
              <a:gd name="connsiteX3" fmla="*/ 1387 w 10018"/>
              <a:gd name="connsiteY3" fmla="*/ 2040 h 10073"/>
              <a:gd name="connsiteX4" fmla="*/ 1465 w 10018"/>
              <a:gd name="connsiteY4" fmla="*/ 69 h 10073"/>
              <a:gd name="connsiteX5" fmla="*/ 10018 w 10018"/>
              <a:gd name="connsiteY5" fmla="*/ 0 h 10073"/>
              <a:gd name="connsiteX0" fmla="*/ 0 w 10018"/>
              <a:gd name="connsiteY0" fmla="*/ 10020 h 10073"/>
              <a:gd name="connsiteX1" fmla="*/ 1301 w 10018"/>
              <a:gd name="connsiteY1" fmla="*/ 10069 h 10073"/>
              <a:gd name="connsiteX2" fmla="*/ 1387 w 10018"/>
              <a:gd name="connsiteY2" fmla="*/ 8097 h 10073"/>
              <a:gd name="connsiteX3" fmla="*/ 1387 w 10018"/>
              <a:gd name="connsiteY3" fmla="*/ 2040 h 10073"/>
              <a:gd name="connsiteX4" fmla="*/ 1465 w 10018"/>
              <a:gd name="connsiteY4" fmla="*/ 69 h 10073"/>
              <a:gd name="connsiteX5" fmla="*/ 10018 w 10018"/>
              <a:gd name="connsiteY5" fmla="*/ 0 h 10073"/>
              <a:gd name="connsiteX0" fmla="*/ 3 w 10021"/>
              <a:gd name="connsiteY0" fmla="*/ 10020 h 10069"/>
              <a:gd name="connsiteX1" fmla="*/ 1304 w 10021"/>
              <a:gd name="connsiteY1" fmla="*/ 10069 h 10069"/>
              <a:gd name="connsiteX2" fmla="*/ 1390 w 10021"/>
              <a:gd name="connsiteY2" fmla="*/ 8097 h 10069"/>
              <a:gd name="connsiteX3" fmla="*/ 1390 w 10021"/>
              <a:gd name="connsiteY3" fmla="*/ 2040 h 10069"/>
              <a:gd name="connsiteX4" fmla="*/ 1468 w 10021"/>
              <a:gd name="connsiteY4" fmla="*/ 69 h 10069"/>
              <a:gd name="connsiteX5" fmla="*/ 10021 w 10021"/>
              <a:gd name="connsiteY5" fmla="*/ 0 h 10069"/>
              <a:gd name="connsiteX0" fmla="*/ 3 w 10021"/>
              <a:gd name="connsiteY0" fmla="*/ 10020 h 10217"/>
              <a:gd name="connsiteX1" fmla="*/ 1304 w 10021"/>
              <a:gd name="connsiteY1" fmla="*/ 10217 h 10217"/>
              <a:gd name="connsiteX2" fmla="*/ 1390 w 10021"/>
              <a:gd name="connsiteY2" fmla="*/ 8097 h 10217"/>
              <a:gd name="connsiteX3" fmla="*/ 1390 w 10021"/>
              <a:gd name="connsiteY3" fmla="*/ 2040 h 10217"/>
              <a:gd name="connsiteX4" fmla="*/ 1468 w 10021"/>
              <a:gd name="connsiteY4" fmla="*/ 69 h 10217"/>
              <a:gd name="connsiteX5" fmla="*/ 10021 w 10021"/>
              <a:gd name="connsiteY5" fmla="*/ 0 h 10217"/>
              <a:gd name="connsiteX0" fmla="*/ 3 w 10021"/>
              <a:gd name="connsiteY0" fmla="*/ 10020 h 10020"/>
              <a:gd name="connsiteX1" fmla="*/ 1304 w 10021"/>
              <a:gd name="connsiteY1" fmla="*/ 9996 h 10020"/>
              <a:gd name="connsiteX2" fmla="*/ 1390 w 10021"/>
              <a:gd name="connsiteY2" fmla="*/ 8097 h 10020"/>
              <a:gd name="connsiteX3" fmla="*/ 1390 w 10021"/>
              <a:gd name="connsiteY3" fmla="*/ 2040 h 10020"/>
              <a:gd name="connsiteX4" fmla="*/ 1468 w 10021"/>
              <a:gd name="connsiteY4" fmla="*/ 69 h 10020"/>
              <a:gd name="connsiteX5" fmla="*/ 10021 w 10021"/>
              <a:gd name="connsiteY5" fmla="*/ 0 h 10020"/>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4"/>
              <a:gd name="connsiteX1" fmla="*/ 1301 w 10018"/>
              <a:gd name="connsiteY1" fmla="*/ 9996 h 10064"/>
              <a:gd name="connsiteX2" fmla="*/ 1387 w 10018"/>
              <a:gd name="connsiteY2" fmla="*/ 8097 h 10064"/>
              <a:gd name="connsiteX3" fmla="*/ 1387 w 10018"/>
              <a:gd name="connsiteY3" fmla="*/ 2040 h 10064"/>
              <a:gd name="connsiteX4" fmla="*/ 1465 w 10018"/>
              <a:gd name="connsiteY4" fmla="*/ 69 h 10064"/>
              <a:gd name="connsiteX5" fmla="*/ 10018 w 10018"/>
              <a:gd name="connsiteY5" fmla="*/ 0 h 10064"/>
              <a:gd name="connsiteX0" fmla="*/ 0 w 10018"/>
              <a:gd name="connsiteY0" fmla="*/ 10020 h 10047"/>
              <a:gd name="connsiteX1" fmla="*/ 1301 w 10018"/>
              <a:gd name="connsiteY1" fmla="*/ 9996 h 10047"/>
              <a:gd name="connsiteX2" fmla="*/ 1387 w 10018"/>
              <a:gd name="connsiteY2" fmla="*/ 8097 h 10047"/>
              <a:gd name="connsiteX3" fmla="*/ 1387 w 10018"/>
              <a:gd name="connsiteY3" fmla="*/ 2040 h 10047"/>
              <a:gd name="connsiteX4" fmla="*/ 1465 w 10018"/>
              <a:gd name="connsiteY4" fmla="*/ 69 h 10047"/>
              <a:gd name="connsiteX5" fmla="*/ 10018 w 10018"/>
              <a:gd name="connsiteY5" fmla="*/ 0 h 10047"/>
              <a:gd name="connsiteX0" fmla="*/ 0 w 10018"/>
              <a:gd name="connsiteY0" fmla="*/ 10020 h 10047"/>
              <a:gd name="connsiteX1" fmla="*/ 1301 w 10018"/>
              <a:gd name="connsiteY1" fmla="*/ 9996 h 10047"/>
              <a:gd name="connsiteX2" fmla="*/ 1387 w 10018"/>
              <a:gd name="connsiteY2" fmla="*/ 8097 h 10047"/>
              <a:gd name="connsiteX3" fmla="*/ 1387 w 10018"/>
              <a:gd name="connsiteY3" fmla="*/ 2040 h 10047"/>
              <a:gd name="connsiteX4" fmla="*/ 1465 w 10018"/>
              <a:gd name="connsiteY4" fmla="*/ 69 h 10047"/>
              <a:gd name="connsiteX5" fmla="*/ 10018 w 10018"/>
              <a:gd name="connsiteY5" fmla="*/ 0 h 10047"/>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8"/>
              <a:gd name="connsiteX1" fmla="*/ 1301 w 10018"/>
              <a:gd name="connsiteY1" fmla="*/ 9996 h 10068"/>
              <a:gd name="connsiteX2" fmla="*/ 1387 w 10018"/>
              <a:gd name="connsiteY2" fmla="*/ 8097 h 10068"/>
              <a:gd name="connsiteX3" fmla="*/ 1387 w 10018"/>
              <a:gd name="connsiteY3" fmla="*/ 2040 h 10068"/>
              <a:gd name="connsiteX4" fmla="*/ 1465 w 10018"/>
              <a:gd name="connsiteY4" fmla="*/ 69 h 10068"/>
              <a:gd name="connsiteX5" fmla="*/ 10018 w 10018"/>
              <a:gd name="connsiteY5" fmla="*/ 0 h 10068"/>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8" h="10020">
                <a:moveTo>
                  <a:pt x="0" y="10020"/>
                </a:moveTo>
                <a:cubicBezTo>
                  <a:pt x="522" y="10020"/>
                  <a:pt x="1266" y="9996"/>
                  <a:pt x="1301" y="9996"/>
                </a:cubicBezTo>
                <a:cubicBezTo>
                  <a:pt x="1344" y="9996"/>
                  <a:pt x="1387" y="9224"/>
                  <a:pt x="1387" y="8097"/>
                </a:cubicBezTo>
                <a:lnTo>
                  <a:pt x="1387" y="2040"/>
                </a:lnTo>
                <a:cubicBezTo>
                  <a:pt x="1387" y="913"/>
                  <a:pt x="1424" y="69"/>
                  <a:pt x="1465" y="69"/>
                </a:cubicBezTo>
                <a:lnTo>
                  <a:pt x="10018" y="0"/>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 name="textruta 5"/>
          <p:cNvSpPr txBox="1"/>
          <p:nvPr/>
        </p:nvSpPr>
        <p:spPr>
          <a:xfrm>
            <a:off x="7103422" y="263482"/>
            <a:ext cx="1779654" cy="430887"/>
          </a:xfrm>
          <a:prstGeom prst="rect">
            <a:avLst/>
          </a:prstGeom>
          <a:noFill/>
        </p:spPr>
        <p:txBody>
          <a:bodyPr wrap="none" rtlCol="0">
            <a:spAutoFit/>
          </a:bodyPr>
          <a:lstStyle/>
          <a:p>
            <a:r>
              <a:rPr lang="sv-SE" sz="1100" b="1" dirty="0"/>
              <a:t>KTH ROYAL INSTITUTE</a:t>
            </a:r>
            <a:br>
              <a:rPr lang="sv-SE" sz="1100" b="1" dirty="0"/>
            </a:br>
            <a:r>
              <a:rPr lang="sv-SE" sz="1100" b="1" dirty="0"/>
              <a:t>OF</a:t>
            </a:r>
            <a:r>
              <a:rPr lang="sv-SE" sz="1100" b="1" baseline="0" dirty="0"/>
              <a:t> TECHNOLOGY</a:t>
            </a:r>
            <a:endParaRPr lang="sv-SE" sz="1100" b="1" dirty="0"/>
          </a:p>
        </p:txBody>
      </p:sp>
    </p:spTree>
    <p:extLst>
      <p:ext uri="{BB962C8B-B14F-4D97-AF65-F5344CB8AC3E}">
        <p14:creationId xmlns:p14="http://schemas.microsoft.com/office/powerpoint/2010/main" val="345684669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Custom Layout">
    <p:spTree>
      <p:nvGrpSpPr>
        <p:cNvPr id="1" name=""/>
        <p:cNvGrpSpPr/>
        <p:nvPr/>
      </p:nvGrpSpPr>
      <p:grpSpPr>
        <a:xfrm>
          <a:off x="0" y="0"/>
          <a:ext cx="0" cy="0"/>
          <a:chOff x="0" y="0"/>
          <a:chExt cx="0" cy="0"/>
        </a:xfrm>
      </p:grpSpPr>
      <p:pic>
        <p:nvPicPr>
          <p:cNvPr id="6"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38964" y="344488"/>
            <a:ext cx="662749" cy="6627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Platshållare för innehåll 2"/>
          <p:cNvSpPr>
            <a:spLocks noGrp="1"/>
          </p:cNvSpPr>
          <p:nvPr>
            <p:ph idx="1"/>
          </p:nvPr>
        </p:nvSpPr>
        <p:spPr>
          <a:xfrm>
            <a:off x="1619250" y="1582739"/>
            <a:ext cx="6935788" cy="407828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Rubrik 1"/>
          <p:cNvSpPr>
            <a:spLocks noGrp="1"/>
          </p:cNvSpPr>
          <p:nvPr>
            <p:ph type="title"/>
          </p:nvPr>
        </p:nvSpPr>
        <p:spPr>
          <a:xfrm>
            <a:off x="1619250" y="404870"/>
            <a:ext cx="6935788" cy="668338"/>
          </a:xfrm>
        </p:spPr>
        <p:txBody>
          <a:bodyPr/>
          <a:lstStyle/>
          <a:p>
            <a:r>
              <a:rPr lang="en-US"/>
              <a:t>Click to edit Master title style</a:t>
            </a:r>
            <a:endParaRPr lang="en-GB" dirty="0"/>
          </a:p>
        </p:txBody>
      </p:sp>
      <p:sp>
        <p:nvSpPr>
          <p:cNvPr id="9" name="Platshållare för datum 3"/>
          <p:cNvSpPr>
            <a:spLocks noGrp="1"/>
          </p:cNvSpPr>
          <p:nvPr>
            <p:ph type="dt" sz="half" idx="10"/>
          </p:nvPr>
        </p:nvSpPr>
        <p:spPr>
          <a:xfrm>
            <a:off x="5580112" y="6288509"/>
            <a:ext cx="2133600" cy="365125"/>
          </a:xfrm>
        </p:spPr>
        <p:txBody>
          <a:bodyPr/>
          <a:lstStyle>
            <a:lvl1pPr>
              <a:defRPr sz="1100">
                <a:solidFill>
                  <a:schemeClr val="tx1"/>
                </a:solidFill>
              </a:defRPr>
            </a:lvl1pPr>
          </a:lstStyle>
          <a:p>
            <a:r>
              <a:rPr lang="sv-SE"/>
              <a:t>2016-11-20</a:t>
            </a:r>
          </a:p>
        </p:txBody>
      </p:sp>
      <p:sp>
        <p:nvSpPr>
          <p:cNvPr id="14" name="Platshållare för bildnummer 5"/>
          <p:cNvSpPr>
            <a:spLocks noGrp="1"/>
          </p:cNvSpPr>
          <p:nvPr>
            <p:ph type="sldNum" sz="quarter" idx="12"/>
          </p:nvPr>
        </p:nvSpPr>
        <p:spPr>
          <a:xfrm>
            <a:off x="8172399" y="6301410"/>
            <a:ext cx="531863" cy="365125"/>
          </a:xfrm>
        </p:spPr>
        <p:txBody>
          <a:bodyPr/>
          <a:lstStyle>
            <a:lvl1pPr>
              <a:defRPr sz="1100">
                <a:solidFill>
                  <a:schemeClr val="tx1"/>
                </a:solidFill>
              </a:defRPr>
            </a:lvl1pPr>
          </a:lstStyle>
          <a:p>
            <a:fld id="{227F0B53-9592-4779-891F-997228E46E01}" type="slidenum">
              <a:rPr lang="sv-SE" smtClean="0"/>
              <a:t>‹#›</a:t>
            </a:fld>
            <a:endParaRPr lang="sv-SE"/>
          </a:p>
        </p:txBody>
      </p:sp>
      <p:sp>
        <p:nvSpPr>
          <p:cNvPr id="15"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tx1"/>
                </a:solidFill>
              </a:defRPr>
            </a:lvl1pPr>
          </a:lstStyle>
          <a:p>
            <a:r>
              <a:rPr lang="sv-SE"/>
              <a:t>OpenIPSL Tutorial</a:t>
            </a:r>
          </a:p>
        </p:txBody>
      </p:sp>
    </p:spTree>
    <p:extLst>
      <p:ext uri="{BB962C8B-B14F-4D97-AF65-F5344CB8AC3E}">
        <p14:creationId xmlns:p14="http://schemas.microsoft.com/office/powerpoint/2010/main" val="15178114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a:xfrm>
            <a:off x="1619251" y="982459"/>
            <a:ext cx="6935788" cy="668338"/>
          </a:xfrm>
        </p:spPr>
        <p:txBody>
          <a:bodyPr/>
          <a:lstStyle/>
          <a:p>
            <a:r>
              <a:rPr lang="en-US"/>
              <a:t>Click to edit Master title style</a:t>
            </a:r>
            <a:endParaRPr lang="en-GB" dirty="0"/>
          </a:p>
        </p:txBody>
      </p:sp>
      <p:sp>
        <p:nvSpPr>
          <p:cNvPr id="3" name="Platshållare för innehåll 2"/>
          <p:cNvSpPr>
            <a:spLocks noGrp="1"/>
          </p:cNvSpPr>
          <p:nvPr>
            <p:ph idx="1"/>
          </p:nvPr>
        </p:nvSpPr>
        <p:spPr>
          <a:xfrm>
            <a:off x="1619251" y="2057412"/>
            <a:ext cx="6935788" cy="36036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Platshållare för datum 3"/>
          <p:cNvSpPr>
            <a:spLocks noGrp="1"/>
          </p:cNvSpPr>
          <p:nvPr>
            <p:ph type="dt" sz="half" idx="10"/>
          </p:nvPr>
        </p:nvSpPr>
        <p:spPr/>
        <p:txBody>
          <a:bodyPr/>
          <a:lstStyle/>
          <a:p>
            <a:r>
              <a:rPr lang="sv-SE"/>
              <a:t>2016-11-20</a:t>
            </a:r>
          </a:p>
        </p:txBody>
      </p:sp>
      <p:sp>
        <p:nvSpPr>
          <p:cNvPr id="6" name="Platshållare för bildnummer 5"/>
          <p:cNvSpPr>
            <a:spLocks noGrp="1"/>
          </p:cNvSpPr>
          <p:nvPr>
            <p:ph type="sldNum" sz="quarter" idx="12"/>
          </p:nvPr>
        </p:nvSpPr>
        <p:spPr/>
        <p:txBody>
          <a:bodyPr/>
          <a:lstStyle/>
          <a:p>
            <a:fld id="{227F0B53-9592-4779-891F-997228E46E01}" type="slidenum">
              <a:rPr lang="sv-SE" smtClean="0"/>
              <a:t>‹#›</a:t>
            </a:fld>
            <a:endParaRPr lang="sv-SE"/>
          </a:p>
        </p:txBody>
      </p:sp>
      <p:sp>
        <p:nvSpPr>
          <p:cNvPr id="5" name="Platshållare för sidfot 4"/>
          <p:cNvSpPr>
            <a:spLocks noGrp="1"/>
          </p:cNvSpPr>
          <p:nvPr>
            <p:ph type="ftr" sz="quarter" idx="11"/>
          </p:nvPr>
        </p:nvSpPr>
        <p:spPr>
          <a:xfrm>
            <a:off x="1619251" y="6308738"/>
            <a:ext cx="2895600" cy="365125"/>
          </a:xfrm>
        </p:spPr>
        <p:txBody>
          <a:bodyPr lIns="0" tIns="0" rIns="0" bIns="0" anchor="t"/>
          <a:lstStyle>
            <a:lvl1pPr algn="l">
              <a:lnSpc>
                <a:spcPts val="899"/>
              </a:lnSpc>
              <a:defRPr sz="700" b="1" cap="all" baseline="0">
                <a:solidFill>
                  <a:schemeClr val="bg1"/>
                </a:solidFill>
              </a:defRPr>
            </a:lvl1pPr>
          </a:lstStyle>
          <a:p>
            <a:r>
              <a:rPr lang="sv-SE"/>
              <a:t>OpenIPSL Tutorial</a:t>
            </a:r>
            <a:endParaRPr lang="sv-SE" dirty="0"/>
          </a:p>
        </p:txBody>
      </p:sp>
    </p:spTree>
    <p:extLst>
      <p:ext uri="{BB962C8B-B14F-4D97-AF65-F5344CB8AC3E}">
        <p14:creationId xmlns:p14="http://schemas.microsoft.com/office/powerpoint/2010/main" val="79686654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le slide_en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61" name="think-cell Slide" r:id="rId4" imgW="270" imgH="270" progId="TCLayout.ActiveDocument.1">
                  <p:embed/>
                </p:oleObj>
              </mc:Choice>
              <mc:Fallback>
                <p:oleObj name="think-cell Slide" r:id="rId4" imgW="270" imgH="270" progId="TCLayout.ActiveDocument.1">
                  <p:embed/>
                  <p:pic>
                    <p:nvPicPr>
                      <p:cNvPr id="5" name="Objek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4" name="Rektangel 13"/>
          <p:cNvSpPr/>
          <p:nvPr/>
        </p:nvSpPr>
        <p:spPr bwMode="gray">
          <a:xfrm>
            <a:off x="0" y="3613150"/>
            <a:ext cx="9144000" cy="32448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Rubrik 1"/>
          <p:cNvSpPr>
            <a:spLocks noGrp="1"/>
          </p:cNvSpPr>
          <p:nvPr>
            <p:ph type="ctrTitle"/>
          </p:nvPr>
        </p:nvSpPr>
        <p:spPr bwMode="gray">
          <a:xfrm>
            <a:off x="1568185" y="1161181"/>
            <a:ext cx="6984337" cy="1043684"/>
          </a:xfrm>
        </p:spPr>
        <p:txBody>
          <a:bodyPr>
            <a:normAutofit/>
          </a:bodyPr>
          <a:lstStyle>
            <a:lvl1pPr algn="l">
              <a:lnSpc>
                <a:spcPts val="3800"/>
              </a:lnSpc>
              <a:defRPr sz="3600" b="1"/>
            </a:lvl1pPr>
          </a:lstStyle>
          <a:p>
            <a:r>
              <a:rPr lang="en-US"/>
              <a:t>Click to edit Master title style</a:t>
            </a:r>
            <a:endParaRPr lang="en-GB" dirty="0"/>
          </a:p>
        </p:txBody>
      </p:sp>
      <p:sp>
        <p:nvSpPr>
          <p:cNvPr id="3" name="Underrubrik 2"/>
          <p:cNvSpPr>
            <a:spLocks noGrp="1"/>
          </p:cNvSpPr>
          <p:nvPr>
            <p:ph type="subTitle" idx="1"/>
          </p:nvPr>
        </p:nvSpPr>
        <p:spPr bwMode="gray">
          <a:xfrm>
            <a:off x="1567963" y="2276872"/>
            <a:ext cx="6987075" cy="936104"/>
          </a:xfrm>
        </p:spPr>
        <p:txBody>
          <a:bodyPr>
            <a:normAutofit/>
          </a:bodyPr>
          <a:lstStyle>
            <a:lvl1pPr marL="0" indent="0" algn="l">
              <a:lnSpc>
                <a:spcPts val="2800"/>
              </a:lnSpc>
              <a:spcBef>
                <a:spcPts val="0"/>
              </a:spcBef>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dirty="0"/>
          </a:p>
        </p:txBody>
      </p:sp>
      <p:pic>
        <p:nvPicPr>
          <p:cNvPr id="1026" name="Picture 2" descr="http://intra.kth.se/polopoly_fs/1.383275!/image/KTH_pngs.pn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r="36469" b="7207"/>
          <a:stretch/>
        </p:blipFill>
        <p:spPr bwMode="gray">
          <a:xfrm>
            <a:off x="347663" y="344488"/>
            <a:ext cx="803938" cy="803275"/>
          </a:xfrm>
          <a:prstGeom prst="rect">
            <a:avLst/>
          </a:prstGeom>
          <a:noFill/>
          <a:extLst>
            <a:ext uri="{909E8E84-426E-40DD-AFC4-6F175D3DCCD1}">
              <a14:hiddenFill xmlns:a14="http://schemas.microsoft.com/office/drawing/2010/main">
                <a:solidFill>
                  <a:srgbClr val="FFFFFF"/>
                </a:solidFill>
              </a14:hiddenFill>
            </a:ext>
          </a:extLst>
        </p:spPr>
      </p:pic>
      <p:sp>
        <p:nvSpPr>
          <p:cNvPr id="8" name="Line 6"/>
          <p:cNvSpPr>
            <a:spLocks noChangeShapeType="1"/>
          </p:cNvSpPr>
          <p:nvPr/>
        </p:nvSpPr>
        <p:spPr bwMode="gray">
          <a:xfrm>
            <a:off x="-1375645" y="5596697"/>
            <a:ext cx="0" cy="0"/>
          </a:xfrm>
          <a:prstGeom prst="line">
            <a:avLst/>
          </a:prstGeom>
          <a:noFill/>
          <a:ln w="3"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 name="Freeform 7"/>
          <p:cNvSpPr>
            <a:spLocks/>
          </p:cNvSpPr>
          <p:nvPr/>
        </p:nvSpPr>
        <p:spPr bwMode="gray">
          <a:xfrm>
            <a:off x="-3236" y="4049403"/>
            <a:ext cx="9150869" cy="1215998"/>
          </a:xfrm>
          <a:custGeom>
            <a:avLst/>
            <a:gdLst>
              <a:gd name="T0" fmla="*/ 0 w 8479"/>
              <a:gd name="T1" fmla="*/ 356 h 535"/>
              <a:gd name="T2" fmla="*/ 597 w 8479"/>
              <a:gd name="T3" fmla="*/ 356 h 535"/>
              <a:gd name="T4" fmla="*/ 625 w 8479"/>
              <a:gd name="T5" fmla="*/ 328 h 535"/>
              <a:gd name="T6" fmla="*/ 625 w 8479"/>
              <a:gd name="T7" fmla="*/ 28 h 535"/>
              <a:gd name="T8" fmla="*/ 653 w 8479"/>
              <a:gd name="T9" fmla="*/ 0 h 535"/>
              <a:gd name="T10" fmla="*/ 954 w 8479"/>
              <a:gd name="T11" fmla="*/ 0 h 535"/>
              <a:gd name="T12" fmla="*/ 982 w 8479"/>
              <a:gd name="T13" fmla="*/ 28 h 535"/>
              <a:gd name="T14" fmla="*/ 982 w 8479"/>
              <a:gd name="T15" fmla="*/ 507 h 535"/>
              <a:gd name="T16" fmla="*/ 1010 w 8479"/>
              <a:gd name="T17" fmla="*/ 535 h 535"/>
              <a:gd name="T18" fmla="*/ 1545 w 8479"/>
              <a:gd name="T19" fmla="*/ 535 h 535"/>
              <a:gd name="T20" fmla="*/ 1573 w 8479"/>
              <a:gd name="T21" fmla="*/ 507 h 535"/>
              <a:gd name="T22" fmla="*/ 1573 w 8479"/>
              <a:gd name="T23" fmla="*/ 328 h 535"/>
              <a:gd name="T24" fmla="*/ 1601 w 8479"/>
              <a:gd name="T25" fmla="*/ 300 h 535"/>
              <a:gd name="T26" fmla="*/ 2497 w 8479"/>
              <a:gd name="T27" fmla="*/ 300 h 535"/>
              <a:gd name="T28" fmla="*/ 2524 w 8479"/>
              <a:gd name="T29" fmla="*/ 328 h 535"/>
              <a:gd name="T30" fmla="*/ 2524 w 8479"/>
              <a:gd name="T31" fmla="*/ 507 h 535"/>
              <a:gd name="T32" fmla="*/ 2552 w 8479"/>
              <a:gd name="T33" fmla="*/ 535 h 535"/>
              <a:gd name="T34" fmla="*/ 2797 w 8479"/>
              <a:gd name="T35" fmla="*/ 535 h 535"/>
              <a:gd name="T36" fmla="*/ 2825 w 8479"/>
              <a:gd name="T37" fmla="*/ 507 h 535"/>
              <a:gd name="T38" fmla="*/ 2825 w 8479"/>
              <a:gd name="T39" fmla="*/ 384 h 535"/>
              <a:gd name="T40" fmla="*/ 2852 w 8479"/>
              <a:gd name="T41" fmla="*/ 356 h 535"/>
              <a:gd name="T42" fmla="*/ 3153 w 8479"/>
              <a:gd name="T43" fmla="*/ 356 h 535"/>
              <a:gd name="T44" fmla="*/ 3181 w 8479"/>
              <a:gd name="T45" fmla="*/ 384 h 535"/>
              <a:gd name="T46" fmla="*/ 3181 w 8479"/>
              <a:gd name="T47" fmla="*/ 450 h 535"/>
              <a:gd name="T48" fmla="*/ 3209 w 8479"/>
              <a:gd name="T49" fmla="*/ 478 h 535"/>
              <a:gd name="T50" fmla="*/ 5290 w 8479"/>
              <a:gd name="T51" fmla="*/ 478 h 535"/>
              <a:gd name="T52" fmla="*/ 5317 w 8479"/>
              <a:gd name="T53" fmla="*/ 450 h 535"/>
              <a:gd name="T54" fmla="*/ 5317 w 8479"/>
              <a:gd name="T55" fmla="*/ 28 h 535"/>
              <a:gd name="T56" fmla="*/ 5345 w 8479"/>
              <a:gd name="T57" fmla="*/ 0 h 535"/>
              <a:gd name="T58" fmla="*/ 6031 w 8479"/>
              <a:gd name="T59" fmla="*/ 0 h 535"/>
              <a:gd name="T60" fmla="*/ 6059 w 8479"/>
              <a:gd name="T61" fmla="*/ 28 h 535"/>
              <a:gd name="T62" fmla="*/ 6059 w 8479"/>
              <a:gd name="T63" fmla="*/ 383 h 535"/>
              <a:gd name="T64" fmla="*/ 6087 w 8479"/>
              <a:gd name="T65" fmla="*/ 411 h 535"/>
              <a:gd name="T66" fmla="*/ 7130 w 8479"/>
              <a:gd name="T67" fmla="*/ 411 h 535"/>
              <a:gd name="T68" fmla="*/ 7158 w 8479"/>
              <a:gd name="T69" fmla="*/ 383 h 535"/>
              <a:gd name="T70" fmla="*/ 7158 w 8479"/>
              <a:gd name="T71" fmla="*/ 111 h 535"/>
              <a:gd name="T72" fmla="*/ 7186 w 8479"/>
              <a:gd name="T73" fmla="*/ 83 h 535"/>
              <a:gd name="T74" fmla="*/ 8479 w 8479"/>
              <a:gd name="T75" fmla="*/ 83 h 535"/>
              <a:gd name="connsiteX0" fmla="*/ 0 w 9296"/>
              <a:gd name="connsiteY0" fmla="*/ 6654 h 10000"/>
              <a:gd name="connsiteX1" fmla="*/ 33 w 9296"/>
              <a:gd name="connsiteY1" fmla="*/ 6131 h 10000"/>
              <a:gd name="connsiteX2" fmla="*/ 33 w 9296"/>
              <a:gd name="connsiteY2" fmla="*/ 523 h 10000"/>
              <a:gd name="connsiteX3" fmla="*/ 66 w 9296"/>
              <a:gd name="connsiteY3" fmla="*/ 0 h 10000"/>
              <a:gd name="connsiteX4" fmla="*/ 421 w 9296"/>
              <a:gd name="connsiteY4" fmla="*/ 0 h 10000"/>
              <a:gd name="connsiteX5" fmla="*/ 454 w 9296"/>
              <a:gd name="connsiteY5" fmla="*/ 523 h 10000"/>
              <a:gd name="connsiteX6" fmla="*/ 454 w 9296"/>
              <a:gd name="connsiteY6" fmla="*/ 9477 h 10000"/>
              <a:gd name="connsiteX7" fmla="*/ 487 w 9296"/>
              <a:gd name="connsiteY7" fmla="*/ 10000 h 10000"/>
              <a:gd name="connsiteX8" fmla="*/ 1118 w 9296"/>
              <a:gd name="connsiteY8" fmla="*/ 10000 h 10000"/>
              <a:gd name="connsiteX9" fmla="*/ 1151 w 9296"/>
              <a:gd name="connsiteY9" fmla="*/ 9477 h 10000"/>
              <a:gd name="connsiteX10" fmla="*/ 1151 w 9296"/>
              <a:gd name="connsiteY10" fmla="*/ 6131 h 10000"/>
              <a:gd name="connsiteX11" fmla="*/ 1184 w 9296"/>
              <a:gd name="connsiteY11" fmla="*/ 5607 h 10000"/>
              <a:gd name="connsiteX12" fmla="*/ 2241 w 9296"/>
              <a:gd name="connsiteY12" fmla="*/ 5607 h 10000"/>
              <a:gd name="connsiteX13" fmla="*/ 2273 w 9296"/>
              <a:gd name="connsiteY13" fmla="*/ 6131 h 10000"/>
              <a:gd name="connsiteX14" fmla="*/ 2273 w 9296"/>
              <a:gd name="connsiteY14" fmla="*/ 9477 h 10000"/>
              <a:gd name="connsiteX15" fmla="*/ 2306 w 9296"/>
              <a:gd name="connsiteY15" fmla="*/ 10000 h 10000"/>
              <a:gd name="connsiteX16" fmla="*/ 2595 w 9296"/>
              <a:gd name="connsiteY16" fmla="*/ 10000 h 10000"/>
              <a:gd name="connsiteX17" fmla="*/ 2628 w 9296"/>
              <a:gd name="connsiteY17" fmla="*/ 9477 h 10000"/>
              <a:gd name="connsiteX18" fmla="*/ 2628 w 9296"/>
              <a:gd name="connsiteY18" fmla="*/ 7178 h 10000"/>
              <a:gd name="connsiteX19" fmla="*/ 2660 w 9296"/>
              <a:gd name="connsiteY19" fmla="*/ 6654 h 10000"/>
              <a:gd name="connsiteX20" fmla="*/ 3015 w 9296"/>
              <a:gd name="connsiteY20" fmla="*/ 6654 h 10000"/>
              <a:gd name="connsiteX21" fmla="*/ 3048 w 9296"/>
              <a:gd name="connsiteY21" fmla="*/ 7178 h 10000"/>
              <a:gd name="connsiteX22" fmla="*/ 3048 w 9296"/>
              <a:gd name="connsiteY22" fmla="*/ 8411 h 10000"/>
              <a:gd name="connsiteX23" fmla="*/ 3081 w 9296"/>
              <a:gd name="connsiteY23" fmla="*/ 8935 h 10000"/>
              <a:gd name="connsiteX24" fmla="*/ 5535 w 9296"/>
              <a:gd name="connsiteY24" fmla="*/ 8935 h 10000"/>
              <a:gd name="connsiteX25" fmla="*/ 5567 w 9296"/>
              <a:gd name="connsiteY25" fmla="*/ 8411 h 10000"/>
              <a:gd name="connsiteX26" fmla="*/ 5567 w 9296"/>
              <a:gd name="connsiteY26" fmla="*/ 523 h 10000"/>
              <a:gd name="connsiteX27" fmla="*/ 5600 w 9296"/>
              <a:gd name="connsiteY27" fmla="*/ 0 h 10000"/>
              <a:gd name="connsiteX28" fmla="*/ 6409 w 9296"/>
              <a:gd name="connsiteY28" fmla="*/ 0 h 10000"/>
              <a:gd name="connsiteX29" fmla="*/ 6442 w 9296"/>
              <a:gd name="connsiteY29" fmla="*/ 523 h 10000"/>
              <a:gd name="connsiteX30" fmla="*/ 6442 w 9296"/>
              <a:gd name="connsiteY30" fmla="*/ 7159 h 10000"/>
              <a:gd name="connsiteX31" fmla="*/ 6475 w 9296"/>
              <a:gd name="connsiteY31" fmla="*/ 7682 h 10000"/>
              <a:gd name="connsiteX32" fmla="*/ 7705 w 9296"/>
              <a:gd name="connsiteY32" fmla="*/ 7682 h 10000"/>
              <a:gd name="connsiteX33" fmla="*/ 7738 w 9296"/>
              <a:gd name="connsiteY33" fmla="*/ 7159 h 10000"/>
              <a:gd name="connsiteX34" fmla="*/ 7738 w 9296"/>
              <a:gd name="connsiteY34" fmla="*/ 2075 h 10000"/>
              <a:gd name="connsiteX35" fmla="*/ 7771 w 9296"/>
              <a:gd name="connsiteY35" fmla="*/ 1551 h 10000"/>
              <a:gd name="connsiteX36" fmla="*/ 9296 w 9296"/>
              <a:gd name="connsiteY36" fmla="*/ 1551 h 10000"/>
              <a:gd name="connsiteX0" fmla="*/ 0 w 9965"/>
              <a:gd name="connsiteY0" fmla="*/ 6131 h 10000"/>
              <a:gd name="connsiteX1" fmla="*/ 0 w 9965"/>
              <a:gd name="connsiteY1" fmla="*/ 523 h 10000"/>
              <a:gd name="connsiteX2" fmla="*/ 36 w 9965"/>
              <a:gd name="connsiteY2" fmla="*/ 0 h 10000"/>
              <a:gd name="connsiteX3" fmla="*/ 418 w 9965"/>
              <a:gd name="connsiteY3" fmla="*/ 0 h 10000"/>
              <a:gd name="connsiteX4" fmla="*/ 453 w 9965"/>
              <a:gd name="connsiteY4" fmla="*/ 523 h 10000"/>
              <a:gd name="connsiteX5" fmla="*/ 453 w 9965"/>
              <a:gd name="connsiteY5" fmla="*/ 9477 h 10000"/>
              <a:gd name="connsiteX6" fmla="*/ 489 w 9965"/>
              <a:gd name="connsiteY6" fmla="*/ 10000 h 10000"/>
              <a:gd name="connsiteX7" fmla="*/ 1168 w 9965"/>
              <a:gd name="connsiteY7" fmla="*/ 10000 h 10000"/>
              <a:gd name="connsiteX8" fmla="*/ 1203 w 9965"/>
              <a:gd name="connsiteY8" fmla="*/ 9477 h 10000"/>
              <a:gd name="connsiteX9" fmla="*/ 1203 w 9965"/>
              <a:gd name="connsiteY9" fmla="*/ 6131 h 10000"/>
              <a:gd name="connsiteX10" fmla="*/ 1239 w 9965"/>
              <a:gd name="connsiteY10" fmla="*/ 5607 h 10000"/>
              <a:gd name="connsiteX11" fmla="*/ 2376 w 9965"/>
              <a:gd name="connsiteY11" fmla="*/ 5607 h 10000"/>
              <a:gd name="connsiteX12" fmla="*/ 2410 w 9965"/>
              <a:gd name="connsiteY12" fmla="*/ 6131 h 10000"/>
              <a:gd name="connsiteX13" fmla="*/ 2410 w 9965"/>
              <a:gd name="connsiteY13" fmla="*/ 9477 h 10000"/>
              <a:gd name="connsiteX14" fmla="*/ 2446 w 9965"/>
              <a:gd name="connsiteY14" fmla="*/ 10000 h 10000"/>
              <a:gd name="connsiteX15" fmla="*/ 2757 w 9965"/>
              <a:gd name="connsiteY15" fmla="*/ 10000 h 10000"/>
              <a:gd name="connsiteX16" fmla="*/ 2792 w 9965"/>
              <a:gd name="connsiteY16" fmla="*/ 9477 h 10000"/>
              <a:gd name="connsiteX17" fmla="*/ 2792 w 9965"/>
              <a:gd name="connsiteY17" fmla="*/ 7178 h 10000"/>
              <a:gd name="connsiteX18" fmla="*/ 2826 w 9965"/>
              <a:gd name="connsiteY18" fmla="*/ 6654 h 10000"/>
              <a:gd name="connsiteX19" fmla="*/ 3208 w 9965"/>
              <a:gd name="connsiteY19" fmla="*/ 6654 h 10000"/>
              <a:gd name="connsiteX20" fmla="*/ 3244 w 9965"/>
              <a:gd name="connsiteY20" fmla="*/ 7178 h 10000"/>
              <a:gd name="connsiteX21" fmla="*/ 3244 w 9965"/>
              <a:gd name="connsiteY21" fmla="*/ 8411 h 10000"/>
              <a:gd name="connsiteX22" fmla="*/ 3279 w 9965"/>
              <a:gd name="connsiteY22" fmla="*/ 8935 h 10000"/>
              <a:gd name="connsiteX23" fmla="*/ 5919 w 9965"/>
              <a:gd name="connsiteY23" fmla="*/ 8935 h 10000"/>
              <a:gd name="connsiteX24" fmla="*/ 5954 w 9965"/>
              <a:gd name="connsiteY24" fmla="*/ 8411 h 10000"/>
              <a:gd name="connsiteX25" fmla="*/ 5954 w 9965"/>
              <a:gd name="connsiteY25" fmla="*/ 523 h 10000"/>
              <a:gd name="connsiteX26" fmla="*/ 5989 w 9965"/>
              <a:gd name="connsiteY26" fmla="*/ 0 h 10000"/>
              <a:gd name="connsiteX27" fmla="*/ 6859 w 9965"/>
              <a:gd name="connsiteY27" fmla="*/ 0 h 10000"/>
              <a:gd name="connsiteX28" fmla="*/ 6895 w 9965"/>
              <a:gd name="connsiteY28" fmla="*/ 523 h 10000"/>
              <a:gd name="connsiteX29" fmla="*/ 6895 w 9965"/>
              <a:gd name="connsiteY29" fmla="*/ 7159 h 10000"/>
              <a:gd name="connsiteX30" fmla="*/ 6930 w 9965"/>
              <a:gd name="connsiteY30" fmla="*/ 7682 h 10000"/>
              <a:gd name="connsiteX31" fmla="*/ 8254 w 9965"/>
              <a:gd name="connsiteY31" fmla="*/ 7682 h 10000"/>
              <a:gd name="connsiteX32" fmla="*/ 8289 w 9965"/>
              <a:gd name="connsiteY32" fmla="*/ 7159 h 10000"/>
              <a:gd name="connsiteX33" fmla="*/ 8289 w 9965"/>
              <a:gd name="connsiteY33" fmla="*/ 2075 h 10000"/>
              <a:gd name="connsiteX34" fmla="*/ 8325 w 9965"/>
              <a:gd name="connsiteY34" fmla="*/ 1551 h 10000"/>
              <a:gd name="connsiteX35" fmla="*/ 9965 w 9965"/>
              <a:gd name="connsiteY35" fmla="*/ 1551 h 10000"/>
              <a:gd name="connsiteX0" fmla="*/ 0 w 10000"/>
              <a:gd name="connsiteY0" fmla="*/ 523 h 10000"/>
              <a:gd name="connsiteX1" fmla="*/ 36 w 10000"/>
              <a:gd name="connsiteY1" fmla="*/ 0 h 10000"/>
              <a:gd name="connsiteX2" fmla="*/ 419 w 10000"/>
              <a:gd name="connsiteY2" fmla="*/ 0 h 10000"/>
              <a:gd name="connsiteX3" fmla="*/ 455 w 10000"/>
              <a:gd name="connsiteY3" fmla="*/ 523 h 10000"/>
              <a:gd name="connsiteX4" fmla="*/ 455 w 10000"/>
              <a:gd name="connsiteY4" fmla="*/ 9477 h 10000"/>
              <a:gd name="connsiteX5" fmla="*/ 491 w 10000"/>
              <a:gd name="connsiteY5" fmla="*/ 10000 h 10000"/>
              <a:gd name="connsiteX6" fmla="*/ 1172 w 10000"/>
              <a:gd name="connsiteY6" fmla="*/ 10000 h 10000"/>
              <a:gd name="connsiteX7" fmla="*/ 1207 w 10000"/>
              <a:gd name="connsiteY7" fmla="*/ 9477 h 10000"/>
              <a:gd name="connsiteX8" fmla="*/ 1207 w 10000"/>
              <a:gd name="connsiteY8" fmla="*/ 6131 h 10000"/>
              <a:gd name="connsiteX9" fmla="*/ 1243 w 10000"/>
              <a:gd name="connsiteY9" fmla="*/ 5607 h 10000"/>
              <a:gd name="connsiteX10" fmla="*/ 2384 w 10000"/>
              <a:gd name="connsiteY10" fmla="*/ 5607 h 10000"/>
              <a:gd name="connsiteX11" fmla="*/ 2418 w 10000"/>
              <a:gd name="connsiteY11" fmla="*/ 6131 h 10000"/>
              <a:gd name="connsiteX12" fmla="*/ 2418 w 10000"/>
              <a:gd name="connsiteY12" fmla="*/ 9477 h 10000"/>
              <a:gd name="connsiteX13" fmla="*/ 2455 w 10000"/>
              <a:gd name="connsiteY13" fmla="*/ 10000 h 10000"/>
              <a:gd name="connsiteX14" fmla="*/ 2767 w 10000"/>
              <a:gd name="connsiteY14" fmla="*/ 10000 h 10000"/>
              <a:gd name="connsiteX15" fmla="*/ 2802 w 10000"/>
              <a:gd name="connsiteY15" fmla="*/ 9477 h 10000"/>
              <a:gd name="connsiteX16" fmla="*/ 2802 w 10000"/>
              <a:gd name="connsiteY16" fmla="*/ 7178 h 10000"/>
              <a:gd name="connsiteX17" fmla="*/ 2836 w 10000"/>
              <a:gd name="connsiteY17" fmla="*/ 6654 h 10000"/>
              <a:gd name="connsiteX18" fmla="*/ 3219 w 10000"/>
              <a:gd name="connsiteY18" fmla="*/ 6654 h 10000"/>
              <a:gd name="connsiteX19" fmla="*/ 3255 w 10000"/>
              <a:gd name="connsiteY19" fmla="*/ 7178 h 10000"/>
              <a:gd name="connsiteX20" fmla="*/ 3255 w 10000"/>
              <a:gd name="connsiteY20" fmla="*/ 8411 h 10000"/>
              <a:gd name="connsiteX21" fmla="*/ 3291 w 10000"/>
              <a:gd name="connsiteY21" fmla="*/ 8935 h 10000"/>
              <a:gd name="connsiteX22" fmla="*/ 5940 w 10000"/>
              <a:gd name="connsiteY22" fmla="*/ 8935 h 10000"/>
              <a:gd name="connsiteX23" fmla="*/ 5975 w 10000"/>
              <a:gd name="connsiteY23" fmla="*/ 8411 h 10000"/>
              <a:gd name="connsiteX24" fmla="*/ 5975 w 10000"/>
              <a:gd name="connsiteY24" fmla="*/ 523 h 10000"/>
              <a:gd name="connsiteX25" fmla="*/ 6010 w 10000"/>
              <a:gd name="connsiteY25" fmla="*/ 0 h 10000"/>
              <a:gd name="connsiteX26" fmla="*/ 6883 w 10000"/>
              <a:gd name="connsiteY26" fmla="*/ 0 h 10000"/>
              <a:gd name="connsiteX27" fmla="*/ 6919 w 10000"/>
              <a:gd name="connsiteY27" fmla="*/ 523 h 10000"/>
              <a:gd name="connsiteX28" fmla="*/ 6919 w 10000"/>
              <a:gd name="connsiteY28" fmla="*/ 7159 h 10000"/>
              <a:gd name="connsiteX29" fmla="*/ 6954 w 10000"/>
              <a:gd name="connsiteY29" fmla="*/ 7682 h 10000"/>
              <a:gd name="connsiteX30" fmla="*/ 8283 w 10000"/>
              <a:gd name="connsiteY30" fmla="*/ 7682 h 10000"/>
              <a:gd name="connsiteX31" fmla="*/ 8318 w 10000"/>
              <a:gd name="connsiteY31" fmla="*/ 7159 h 10000"/>
              <a:gd name="connsiteX32" fmla="*/ 8318 w 10000"/>
              <a:gd name="connsiteY32" fmla="*/ 2075 h 10000"/>
              <a:gd name="connsiteX33" fmla="*/ 8354 w 10000"/>
              <a:gd name="connsiteY33" fmla="*/ 1551 h 10000"/>
              <a:gd name="connsiteX34" fmla="*/ 10000 w 10000"/>
              <a:gd name="connsiteY34" fmla="*/ 1551 h 10000"/>
              <a:gd name="connsiteX0" fmla="*/ 0 w 9964"/>
              <a:gd name="connsiteY0" fmla="*/ 0 h 10000"/>
              <a:gd name="connsiteX1" fmla="*/ 383 w 9964"/>
              <a:gd name="connsiteY1" fmla="*/ 0 h 10000"/>
              <a:gd name="connsiteX2" fmla="*/ 419 w 9964"/>
              <a:gd name="connsiteY2" fmla="*/ 523 h 10000"/>
              <a:gd name="connsiteX3" fmla="*/ 419 w 9964"/>
              <a:gd name="connsiteY3" fmla="*/ 9477 h 10000"/>
              <a:gd name="connsiteX4" fmla="*/ 455 w 9964"/>
              <a:gd name="connsiteY4" fmla="*/ 10000 h 10000"/>
              <a:gd name="connsiteX5" fmla="*/ 1136 w 9964"/>
              <a:gd name="connsiteY5" fmla="*/ 10000 h 10000"/>
              <a:gd name="connsiteX6" fmla="*/ 1171 w 9964"/>
              <a:gd name="connsiteY6" fmla="*/ 9477 h 10000"/>
              <a:gd name="connsiteX7" fmla="*/ 1171 w 9964"/>
              <a:gd name="connsiteY7" fmla="*/ 6131 h 10000"/>
              <a:gd name="connsiteX8" fmla="*/ 1207 w 9964"/>
              <a:gd name="connsiteY8" fmla="*/ 5607 h 10000"/>
              <a:gd name="connsiteX9" fmla="*/ 2348 w 9964"/>
              <a:gd name="connsiteY9" fmla="*/ 5607 h 10000"/>
              <a:gd name="connsiteX10" fmla="*/ 2382 w 9964"/>
              <a:gd name="connsiteY10" fmla="*/ 6131 h 10000"/>
              <a:gd name="connsiteX11" fmla="*/ 2382 w 9964"/>
              <a:gd name="connsiteY11" fmla="*/ 9477 h 10000"/>
              <a:gd name="connsiteX12" fmla="*/ 2419 w 9964"/>
              <a:gd name="connsiteY12" fmla="*/ 10000 h 10000"/>
              <a:gd name="connsiteX13" fmla="*/ 2731 w 9964"/>
              <a:gd name="connsiteY13" fmla="*/ 10000 h 10000"/>
              <a:gd name="connsiteX14" fmla="*/ 2766 w 9964"/>
              <a:gd name="connsiteY14" fmla="*/ 9477 h 10000"/>
              <a:gd name="connsiteX15" fmla="*/ 2766 w 9964"/>
              <a:gd name="connsiteY15" fmla="*/ 7178 h 10000"/>
              <a:gd name="connsiteX16" fmla="*/ 2800 w 9964"/>
              <a:gd name="connsiteY16" fmla="*/ 6654 h 10000"/>
              <a:gd name="connsiteX17" fmla="*/ 3183 w 9964"/>
              <a:gd name="connsiteY17" fmla="*/ 6654 h 10000"/>
              <a:gd name="connsiteX18" fmla="*/ 3219 w 9964"/>
              <a:gd name="connsiteY18" fmla="*/ 7178 h 10000"/>
              <a:gd name="connsiteX19" fmla="*/ 3219 w 9964"/>
              <a:gd name="connsiteY19" fmla="*/ 8411 h 10000"/>
              <a:gd name="connsiteX20" fmla="*/ 3255 w 9964"/>
              <a:gd name="connsiteY20" fmla="*/ 8935 h 10000"/>
              <a:gd name="connsiteX21" fmla="*/ 5904 w 9964"/>
              <a:gd name="connsiteY21" fmla="*/ 8935 h 10000"/>
              <a:gd name="connsiteX22" fmla="*/ 5939 w 9964"/>
              <a:gd name="connsiteY22" fmla="*/ 8411 h 10000"/>
              <a:gd name="connsiteX23" fmla="*/ 5939 w 9964"/>
              <a:gd name="connsiteY23" fmla="*/ 523 h 10000"/>
              <a:gd name="connsiteX24" fmla="*/ 5974 w 9964"/>
              <a:gd name="connsiteY24" fmla="*/ 0 h 10000"/>
              <a:gd name="connsiteX25" fmla="*/ 6847 w 9964"/>
              <a:gd name="connsiteY25" fmla="*/ 0 h 10000"/>
              <a:gd name="connsiteX26" fmla="*/ 6883 w 9964"/>
              <a:gd name="connsiteY26" fmla="*/ 523 h 10000"/>
              <a:gd name="connsiteX27" fmla="*/ 6883 w 9964"/>
              <a:gd name="connsiteY27" fmla="*/ 7159 h 10000"/>
              <a:gd name="connsiteX28" fmla="*/ 6918 w 9964"/>
              <a:gd name="connsiteY28" fmla="*/ 7682 h 10000"/>
              <a:gd name="connsiteX29" fmla="*/ 8247 w 9964"/>
              <a:gd name="connsiteY29" fmla="*/ 7682 h 10000"/>
              <a:gd name="connsiteX30" fmla="*/ 8282 w 9964"/>
              <a:gd name="connsiteY30" fmla="*/ 7159 h 10000"/>
              <a:gd name="connsiteX31" fmla="*/ 8282 w 9964"/>
              <a:gd name="connsiteY31" fmla="*/ 2075 h 10000"/>
              <a:gd name="connsiteX32" fmla="*/ 8318 w 9964"/>
              <a:gd name="connsiteY32" fmla="*/ 1551 h 10000"/>
              <a:gd name="connsiteX33" fmla="*/ 9964 w 9964"/>
              <a:gd name="connsiteY33" fmla="*/ 1551 h 10000"/>
              <a:gd name="connsiteX0" fmla="*/ 0 w 9616"/>
              <a:gd name="connsiteY0" fmla="*/ 0 h 10000"/>
              <a:gd name="connsiteX1" fmla="*/ 37 w 9616"/>
              <a:gd name="connsiteY1" fmla="*/ 523 h 10000"/>
              <a:gd name="connsiteX2" fmla="*/ 37 w 9616"/>
              <a:gd name="connsiteY2" fmla="*/ 9477 h 10000"/>
              <a:gd name="connsiteX3" fmla="*/ 73 w 9616"/>
              <a:gd name="connsiteY3" fmla="*/ 10000 h 10000"/>
              <a:gd name="connsiteX4" fmla="*/ 756 w 9616"/>
              <a:gd name="connsiteY4" fmla="*/ 10000 h 10000"/>
              <a:gd name="connsiteX5" fmla="*/ 791 w 9616"/>
              <a:gd name="connsiteY5" fmla="*/ 9477 h 10000"/>
              <a:gd name="connsiteX6" fmla="*/ 791 w 9616"/>
              <a:gd name="connsiteY6" fmla="*/ 6131 h 10000"/>
              <a:gd name="connsiteX7" fmla="*/ 827 w 9616"/>
              <a:gd name="connsiteY7" fmla="*/ 5607 h 10000"/>
              <a:gd name="connsiteX8" fmla="*/ 1972 w 9616"/>
              <a:gd name="connsiteY8" fmla="*/ 5607 h 10000"/>
              <a:gd name="connsiteX9" fmla="*/ 2007 w 9616"/>
              <a:gd name="connsiteY9" fmla="*/ 6131 h 10000"/>
              <a:gd name="connsiteX10" fmla="*/ 2007 w 9616"/>
              <a:gd name="connsiteY10" fmla="*/ 9477 h 10000"/>
              <a:gd name="connsiteX11" fmla="*/ 2044 w 9616"/>
              <a:gd name="connsiteY11" fmla="*/ 10000 h 10000"/>
              <a:gd name="connsiteX12" fmla="*/ 2357 w 9616"/>
              <a:gd name="connsiteY12" fmla="*/ 10000 h 10000"/>
              <a:gd name="connsiteX13" fmla="*/ 2392 w 9616"/>
              <a:gd name="connsiteY13" fmla="*/ 9477 h 10000"/>
              <a:gd name="connsiteX14" fmla="*/ 2392 w 9616"/>
              <a:gd name="connsiteY14" fmla="*/ 7178 h 10000"/>
              <a:gd name="connsiteX15" fmla="*/ 2426 w 9616"/>
              <a:gd name="connsiteY15" fmla="*/ 6654 h 10000"/>
              <a:gd name="connsiteX16" fmla="*/ 2811 w 9616"/>
              <a:gd name="connsiteY16" fmla="*/ 6654 h 10000"/>
              <a:gd name="connsiteX17" fmla="*/ 2847 w 9616"/>
              <a:gd name="connsiteY17" fmla="*/ 7178 h 10000"/>
              <a:gd name="connsiteX18" fmla="*/ 2847 w 9616"/>
              <a:gd name="connsiteY18" fmla="*/ 8411 h 10000"/>
              <a:gd name="connsiteX19" fmla="*/ 2883 w 9616"/>
              <a:gd name="connsiteY19" fmla="*/ 8935 h 10000"/>
              <a:gd name="connsiteX20" fmla="*/ 5541 w 9616"/>
              <a:gd name="connsiteY20" fmla="*/ 8935 h 10000"/>
              <a:gd name="connsiteX21" fmla="*/ 5576 w 9616"/>
              <a:gd name="connsiteY21" fmla="*/ 8411 h 10000"/>
              <a:gd name="connsiteX22" fmla="*/ 5576 w 9616"/>
              <a:gd name="connsiteY22" fmla="*/ 523 h 10000"/>
              <a:gd name="connsiteX23" fmla="*/ 5612 w 9616"/>
              <a:gd name="connsiteY23" fmla="*/ 0 h 10000"/>
              <a:gd name="connsiteX24" fmla="*/ 6488 w 9616"/>
              <a:gd name="connsiteY24" fmla="*/ 0 h 10000"/>
              <a:gd name="connsiteX25" fmla="*/ 6524 w 9616"/>
              <a:gd name="connsiteY25" fmla="*/ 523 h 10000"/>
              <a:gd name="connsiteX26" fmla="*/ 6524 w 9616"/>
              <a:gd name="connsiteY26" fmla="*/ 7159 h 10000"/>
              <a:gd name="connsiteX27" fmla="*/ 6559 w 9616"/>
              <a:gd name="connsiteY27" fmla="*/ 7682 h 10000"/>
              <a:gd name="connsiteX28" fmla="*/ 7893 w 9616"/>
              <a:gd name="connsiteY28" fmla="*/ 7682 h 10000"/>
              <a:gd name="connsiteX29" fmla="*/ 7928 w 9616"/>
              <a:gd name="connsiteY29" fmla="*/ 7159 h 10000"/>
              <a:gd name="connsiteX30" fmla="*/ 7928 w 9616"/>
              <a:gd name="connsiteY30" fmla="*/ 2075 h 10000"/>
              <a:gd name="connsiteX31" fmla="*/ 7964 w 9616"/>
              <a:gd name="connsiteY31" fmla="*/ 1551 h 10000"/>
              <a:gd name="connsiteX32" fmla="*/ 9616 w 9616"/>
              <a:gd name="connsiteY32" fmla="*/ 1551 h 10000"/>
              <a:gd name="connsiteX0" fmla="*/ 0 w 9962"/>
              <a:gd name="connsiteY0" fmla="*/ 523 h 10000"/>
              <a:gd name="connsiteX1" fmla="*/ 0 w 9962"/>
              <a:gd name="connsiteY1" fmla="*/ 9477 h 10000"/>
              <a:gd name="connsiteX2" fmla="*/ 38 w 9962"/>
              <a:gd name="connsiteY2" fmla="*/ 10000 h 10000"/>
              <a:gd name="connsiteX3" fmla="*/ 748 w 9962"/>
              <a:gd name="connsiteY3" fmla="*/ 10000 h 10000"/>
              <a:gd name="connsiteX4" fmla="*/ 785 w 9962"/>
              <a:gd name="connsiteY4" fmla="*/ 9477 h 10000"/>
              <a:gd name="connsiteX5" fmla="*/ 785 w 9962"/>
              <a:gd name="connsiteY5" fmla="*/ 6131 h 10000"/>
              <a:gd name="connsiteX6" fmla="*/ 822 w 9962"/>
              <a:gd name="connsiteY6" fmla="*/ 5607 h 10000"/>
              <a:gd name="connsiteX7" fmla="*/ 2013 w 9962"/>
              <a:gd name="connsiteY7" fmla="*/ 5607 h 10000"/>
              <a:gd name="connsiteX8" fmla="*/ 2049 w 9962"/>
              <a:gd name="connsiteY8" fmla="*/ 6131 h 10000"/>
              <a:gd name="connsiteX9" fmla="*/ 2049 w 9962"/>
              <a:gd name="connsiteY9" fmla="*/ 9477 h 10000"/>
              <a:gd name="connsiteX10" fmla="*/ 2088 w 9962"/>
              <a:gd name="connsiteY10" fmla="*/ 10000 h 10000"/>
              <a:gd name="connsiteX11" fmla="*/ 2413 w 9962"/>
              <a:gd name="connsiteY11" fmla="*/ 10000 h 10000"/>
              <a:gd name="connsiteX12" fmla="*/ 2450 w 9962"/>
              <a:gd name="connsiteY12" fmla="*/ 9477 h 10000"/>
              <a:gd name="connsiteX13" fmla="*/ 2450 w 9962"/>
              <a:gd name="connsiteY13" fmla="*/ 7178 h 10000"/>
              <a:gd name="connsiteX14" fmla="*/ 2485 w 9962"/>
              <a:gd name="connsiteY14" fmla="*/ 6654 h 10000"/>
              <a:gd name="connsiteX15" fmla="*/ 2885 w 9962"/>
              <a:gd name="connsiteY15" fmla="*/ 6654 h 10000"/>
              <a:gd name="connsiteX16" fmla="*/ 2923 w 9962"/>
              <a:gd name="connsiteY16" fmla="*/ 7178 h 10000"/>
              <a:gd name="connsiteX17" fmla="*/ 2923 w 9962"/>
              <a:gd name="connsiteY17" fmla="*/ 8411 h 10000"/>
              <a:gd name="connsiteX18" fmla="*/ 2960 w 9962"/>
              <a:gd name="connsiteY18" fmla="*/ 8935 h 10000"/>
              <a:gd name="connsiteX19" fmla="*/ 5724 w 9962"/>
              <a:gd name="connsiteY19" fmla="*/ 8935 h 10000"/>
              <a:gd name="connsiteX20" fmla="*/ 5761 w 9962"/>
              <a:gd name="connsiteY20" fmla="*/ 8411 h 10000"/>
              <a:gd name="connsiteX21" fmla="*/ 5761 w 9962"/>
              <a:gd name="connsiteY21" fmla="*/ 523 h 10000"/>
              <a:gd name="connsiteX22" fmla="*/ 5798 w 9962"/>
              <a:gd name="connsiteY22" fmla="*/ 0 h 10000"/>
              <a:gd name="connsiteX23" fmla="*/ 6709 w 9962"/>
              <a:gd name="connsiteY23" fmla="*/ 0 h 10000"/>
              <a:gd name="connsiteX24" fmla="*/ 6747 w 9962"/>
              <a:gd name="connsiteY24" fmla="*/ 523 h 10000"/>
              <a:gd name="connsiteX25" fmla="*/ 6747 w 9962"/>
              <a:gd name="connsiteY25" fmla="*/ 7159 h 10000"/>
              <a:gd name="connsiteX26" fmla="*/ 6783 w 9962"/>
              <a:gd name="connsiteY26" fmla="*/ 7682 h 10000"/>
              <a:gd name="connsiteX27" fmla="*/ 8170 w 9962"/>
              <a:gd name="connsiteY27" fmla="*/ 7682 h 10000"/>
              <a:gd name="connsiteX28" fmla="*/ 8207 w 9962"/>
              <a:gd name="connsiteY28" fmla="*/ 7159 h 10000"/>
              <a:gd name="connsiteX29" fmla="*/ 8207 w 9962"/>
              <a:gd name="connsiteY29" fmla="*/ 2075 h 10000"/>
              <a:gd name="connsiteX30" fmla="*/ 8244 w 9962"/>
              <a:gd name="connsiteY30" fmla="*/ 1551 h 10000"/>
              <a:gd name="connsiteX31" fmla="*/ 9962 w 9962"/>
              <a:gd name="connsiteY31" fmla="*/ 1551 h 10000"/>
              <a:gd name="connsiteX0" fmla="*/ 0 w 10000"/>
              <a:gd name="connsiteY0" fmla="*/ 9477 h 10000"/>
              <a:gd name="connsiteX1" fmla="*/ 38 w 10000"/>
              <a:gd name="connsiteY1" fmla="*/ 10000 h 10000"/>
              <a:gd name="connsiteX2" fmla="*/ 751 w 10000"/>
              <a:gd name="connsiteY2" fmla="*/ 10000 h 10000"/>
              <a:gd name="connsiteX3" fmla="*/ 788 w 10000"/>
              <a:gd name="connsiteY3" fmla="*/ 9477 h 10000"/>
              <a:gd name="connsiteX4" fmla="*/ 788 w 10000"/>
              <a:gd name="connsiteY4" fmla="*/ 6131 h 10000"/>
              <a:gd name="connsiteX5" fmla="*/ 825 w 10000"/>
              <a:gd name="connsiteY5" fmla="*/ 5607 h 10000"/>
              <a:gd name="connsiteX6" fmla="*/ 2021 w 10000"/>
              <a:gd name="connsiteY6" fmla="*/ 5607 h 10000"/>
              <a:gd name="connsiteX7" fmla="*/ 2057 w 10000"/>
              <a:gd name="connsiteY7" fmla="*/ 6131 h 10000"/>
              <a:gd name="connsiteX8" fmla="*/ 2057 w 10000"/>
              <a:gd name="connsiteY8" fmla="*/ 9477 h 10000"/>
              <a:gd name="connsiteX9" fmla="*/ 2096 w 10000"/>
              <a:gd name="connsiteY9" fmla="*/ 10000 h 10000"/>
              <a:gd name="connsiteX10" fmla="*/ 2422 w 10000"/>
              <a:gd name="connsiteY10" fmla="*/ 10000 h 10000"/>
              <a:gd name="connsiteX11" fmla="*/ 2459 w 10000"/>
              <a:gd name="connsiteY11" fmla="*/ 9477 h 10000"/>
              <a:gd name="connsiteX12" fmla="*/ 2459 w 10000"/>
              <a:gd name="connsiteY12" fmla="*/ 7178 h 10000"/>
              <a:gd name="connsiteX13" fmla="*/ 2494 w 10000"/>
              <a:gd name="connsiteY13" fmla="*/ 6654 h 10000"/>
              <a:gd name="connsiteX14" fmla="*/ 2896 w 10000"/>
              <a:gd name="connsiteY14" fmla="*/ 6654 h 10000"/>
              <a:gd name="connsiteX15" fmla="*/ 2934 w 10000"/>
              <a:gd name="connsiteY15" fmla="*/ 7178 h 10000"/>
              <a:gd name="connsiteX16" fmla="*/ 2934 w 10000"/>
              <a:gd name="connsiteY16" fmla="*/ 8411 h 10000"/>
              <a:gd name="connsiteX17" fmla="*/ 2971 w 10000"/>
              <a:gd name="connsiteY17" fmla="*/ 8935 h 10000"/>
              <a:gd name="connsiteX18" fmla="*/ 5746 w 10000"/>
              <a:gd name="connsiteY18" fmla="*/ 8935 h 10000"/>
              <a:gd name="connsiteX19" fmla="*/ 5783 w 10000"/>
              <a:gd name="connsiteY19" fmla="*/ 8411 h 10000"/>
              <a:gd name="connsiteX20" fmla="*/ 5783 w 10000"/>
              <a:gd name="connsiteY20" fmla="*/ 523 h 10000"/>
              <a:gd name="connsiteX21" fmla="*/ 5820 w 10000"/>
              <a:gd name="connsiteY21" fmla="*/ 0 h 10000"/>
              <a:gd name="connsiteX22" fmla="*/ 6735 w 10000"/>
              <a:gd name="connsiteY22" fmla="*/ 0 h 10000"/>
              <a:gd name="connsiteX23" fmla="*/ 6773 w 10000"/>
              <a:gd name="connsiteY23" fmla="*/ 523 h 10000"/>
              <a:gd name="connsiteX24" fmla="*/ 6773 w 10000"/>
              <a:gd name="connsiteY24" fmla="*/ 7159 h 10000"/>
              <a:gd name="connsiteX25" fmla="*/ 6809 w 10000"/>
              <a:gd name="connsiteY25" fmla="*/ 7682 h 10000"/>
              <a:gd name="connsiteX26" fmla="*/ 8201 w 10000"/>
              <a:gd name="connsiteY26" fmla="*/ 7682 h 10000"/>
              <a:gd name="connsiteX27" fmla="*/ 8238 w 10000"/>
              <a:gd name="connsiteY27" fmla="*/ 7159 h 10000"/>
              <a:gd name="connsiteX28" fmla="*/ 8238 w 10000"/>
              <a:gd name="connsiteY28" fmla="*/ 2075 h 10000"/>
              <a:gd name="connsiteX29" fmla="*/ 8275 w 10000"/>
              <a:gd name="connsiteY29" fmla="*/ 1551 h 10000"/>
              <a:gd name="connsiteX30" fmla="*/ 10000 w 10000"/>
              <a:gd name="connsiteY30" fmla="*/ 1551 h 10000"/>
              <a:gd name="connsiteX0" fmla="*/ 0 w 9962"/>
              <a:gd name="connsiteY0" fmla="*/ 10000 h 10000"/>
              <a:gd name="connsiteX1" fmla="*/ 713 w 9962"/>
              <a:gd name="connsiteY1" fmla="*/ 10000 h 10000"/>
              <a:gd name="connsiteX2" fmla="*/ 750 w 9962"/>
              <a:gd name="connsiteY2" fmla="*/ 9477 h 10000"/>
              <a:gd name="connsiteX3" fmla="*/ 750 w 9962"/>
              <a:gd name="connsiteY3" fmla="*/ 6131 h 10000"/>
              <a:gd name="connsiteX4" fmla="*/ 787 w 9962"/>
              <a:gd name="connsiteY4" fmla="*/ 5607 h 10000"/>
              <a:gd name="connsiteX5" fmla="*/ 1983 w 9962"/>
              <a:gd name="connsiteY5" fmla="*/ 5607 h 10000"/>
              <a:gd name="connsiteX6" fmla="*/ 2019 w 9962"/>
              <a:gd name="connsiteY6" fmla="*/ 6131 h 10000"/>
              <a:gd name="connsiteX7" fmla="*/ 2019 w 9962"/>
              <a:gd name="connsiteY7" fmla="*/ 9477 h 10000"/>
              <a:gd name="connsiteX8" fmla="*/ 2058 w 9962"/>
              <a:gd name="connsiteY8" fmla="*/ 10000 h 10000"/>
              <a:gd name="connsiteX9" fmla="*/ 2384 w 9962"/>
              <a:gd name="connsiteY9" fmla="*/ 10000 h 10000"/>
              <a:gd name="connsiteX10" fmla="*/ 2421 w 9962"/>
              <a:gd name="connsiteY10" fmla="*/ 9477 h 10000"/>
              <a:gd name="connsiteX11" fmla="*/ 2421 w 9962"/>
              <a:gd name="connsiteY11" fmla="*/ 7178 h 10000"/>
              <a:gd name="connsiteX12" fmla="*/ 2456 w 9962"/>
              <a:gd name="connsiteY12" fmla="*/ 6654 h 10000"/>
              <a:gd name="connsiteX13" fmla="*/ 2858 w 9962"/>
              <a:gd name="connsiteY13" fmla="*/ 6654 h 10000"/>
              <a:gd name="connsiteX14" fmla="*/ 2896 w 9962"/>
              <a:gd name="connsiteY14" fmla="*/ 7178 h 10000"/>
              <a:gd name="connsiteX15" fmla="*/ 2896 w 9962"/>
              <a:gd name="connsiteY15" fmla="*/ 8411 h 10000"/>
              <a:gd name="connsiteX16" fmla="*/ 2933 w 9962"/>
              <a:gd name="connsiteY16" fmla="*/ 8935 h 10000"/>
              <a:gd name="connsiteX17" fmla="*/ 5708 w 9962"/>
              <a:gd name="connsiteY17" fmla="*/ 8935 h 10000"/>
              <a:gd name="connsiteX18" fmla="*/ 5745 w 9962"/>
              <a:gd name="connsiteY18" fmla="*/ 8411 h 10000"/>
              <a:gd name="connsiteX19" fmla="*/ 5745 w 9962"/>
              <a:gd name="connsiteY19" fmla="*/ 523 h 10000"/>
              <a:gd name="connsiteX20" fmla="*/ 5782 w 9962"/>
              <a:gd name="connsiteY20" fmla="*/ 0 h 10000"/>
              <a:gd name="connsiteX21" fmla="*/ 6697 w 9962"/>
              <a:gd name="connsiteY21" fmla="*/ 0 h 10000"/>
              <a:gd name="connsiteX22" fmla="*/ 6735 w 9962"/>
              <a:gd name="connsiteY22" fmla="*/ 523 h 10000"/>
              <a:gd name="connsiteX23" fmla="*/ 6735 w 9962"/>
              <a:gd name="connsiteY23" fmla="*/ 7159 h 10000"/>
              <a:gd name="connsiteX24" fmla="*/ 6771 w 9962"/>
              <a:gd name="connsiteY24" fmla="*/ 7682 h 10000"/>
              <a:gd name="connsiteX25" fmla="*/ 8163 w 9962"/>
              <a:gd name="connsiteY25" fmla="*/ 7682 h 10000"/>
              <a:gd name="connsiteX26" fmla="*/ 8200 w 9962"/>
              <a:gd name="connsiteY26" fmla="*/ 7159 h 10000"/>
              <a:gd name="connsiteX27" fmla="*/ 8200 w 9962"/>
              <a:gd name="connsiteY27" fmla="*/ 2075 h 10000"/>
              <a:gd name="connsiteX28" fmla="*/ 8237 w 9962"/>
              <a:gd name="connsiteY28" fmla="*/ 1551 h 10000"/>
              <a:gd name="connsiteX29" fmla="*/ 9962 w 9962"/>
              <a:gd name="connsiteY29" fmla="*/ 1551 h 10000"/>
              <a:gd name="connsiteX0" fmla="*/ 0 w 9284"/>
              <a:gd name="connsiteY0" fmla="*/ 10000 h 10000"/>
              <a:gd name="connsiteX1" fmla="*/ 37 w 9284"/>
              <a:gd name="connsiteY1" fmla="*/ 9477 h 10000"/>
              <a:gd name="connsiteX2" fmla="*/ 37 w 9284"/>
              <a:gd name="connsiteY2" fmla="*/ 6131 h 10000"/>
              <a:gd name="connsiteX3" fmla="*/ 74 w 9284"/>
              <a:gd name="connsiteY3" fmla="*/ 5607 h 10000"/>
              <a:gd name="connsiteX4" fmla="*/ 1275 w 9284"/>
              <a:gd name="connsiteY4" fmla="*/ 5607 h 10000"/>
              <a:gd name="connsiteX5" fmla="*/ 1311 w 9284"/>
              <a:gd name="connsiteY5" fmla="*/ 6131 h 10000"/>
              <a:gd name="connsiteX6" fmla="*/ 1311 w 9284"/>
              <a:gd name="connsiteY6" fmla="*/ 9477 h 10000"/>
              <a:gd name="connsiteX7" fmla="*/ 1350 w 9284"/>
              <a:gd name="connsiteY7" fmla="*/ 10000 h 10000"/>
              <a:gd name="connsiteX8" fmla="*/ 1677 w 9284"/>
              <a:gd name="connsiteY8" fmla="*/ 10000 h 10000"/>
              <a:gd name="connsiteX9" fmla="*/ 1714 w 9284"/>
              <a:gd name="connsiteY9" fmla="*/ 9477 h 10000"/>
              <a:gd name="connsiteX10" fmla="*/ 1714 w 9284"/>
              <a:gd name="connsiteY10" fmla="*/ 7178 h 10000"/>
              <a:gd name="connsiteX11" fmla="*/ 1749 w 9284"/>
              <a:gd name="connsiteY11" fmla="*/ 6654 h 10000"/>
              <a:gd name="connsiteX12" fmla="*/ 2153 w 9284"/>
              <a:gd name="connsiteY12" fmla="*/ 6654 h 10000"/>
              <a:gd name="connsiteX13" fmla="*/ 2191 w 9284"/>
              <a:gd name="connsiteY13" fmla="*/ 7178 h 10000"/>
              <a:gd name="connsiteX14" fmla="*/ 2191 w 9284"/>
              <a:gd name="connsiteY14" fmla="*/ 8411 h 10000"/>
              <a:gd name="connsiteX15" fmla="*/ 2228 w 9284"/>
              <a:gd name="connsiteY15" fmla="*/ 8935 h 10000"/>
              <a:gd name="connsiteX16" fmla="*/ 5014 w 9284"/>
              <a:gd name="connsiteY16" fmla="*/ 8935 h 10000"/>
              <a:gd name="connsiteX17" fmla="*/ 5051 w 9284"/>
              <a:gd name="connsiteY17" fmla="*/ 8411 h 10000"/>
              <a:gd name="connsiteX18" fmla="*/ 5051 w 9284"/>
              <a:gd name="connsiteY18" fmla="*/ 523 h 10000"/>
              <a:gd name="connsiteX19" fmla="*/ 5088 w 9284"/>
              <a:gd name="connsiteY19" fmla="*/ 0 h 10000"/>
              <a:gd name="connsiteX20" fmla="*/ 6007 w 9284"/>
              <a:gd name="connsiteY20" fmla="*/ 0 h 10000"/>
              <a:gd name="connsiteX21" fmla="*/ 6045 w 9284"/>
              <a:gd name="connsiteY21" fmla="*/ 523 h 10000"/>
              <a:gd name="connsiteX22" fmla="*/ 6045 w 9284"/>
              <a:gd name="connsiteY22" fmla="*/ 7159 h 10000"/>
              <a:gd name="connsiteX23" fmla="*/ 6081 w 9284"/>
              <a:gd name="connsiteY23" fmla="*/ 7682 h 10000"/>
              <a:gd name="connsiteX24" fmla="*/ 7478 w 9284"/>
              <a:gd name="connsiteY24" fmla="*/ 7682 h 10000"/>
              <a:gd name="connsiteX25" fmla="*/ 7515 w 9284"/>
              <a:gd name="connsiteY25" fmla="*/ 7159 h 10000"/>
              <a:gd name="connsiteX26" fmla="*/ 7515 w 9284"/>
              <a:gd name="connsiteY26" fmla="*/ 2075 h 10000"/>
              <a:gd name="connsiteX27" fmla="*/ 7552 w 9284"/>
              <a:gd name="connsiteY27" fmla="*/ 1551 h 10000"/>
              <a:gd name="connsiteX28" fmla="*/ 9284 w 9284"/>
              <a:gd name="connsiteY28" fmla="*/ 1551 h 10000"/>
              <a:gd name="connsiteX0" fmla="*/ 0 w 9960"/>
              <a:gd name="connsiteY0" fmla="*/ 9477 h 10000"/>
              <a:gd name="connsiteX1" fmla="*/ 0 w 9960"/>
              <a:gd name="connsiteY1" fmla="*/ 6131 h 10000"/>
              <a:gd name="connsiteX2" fmla="*/ 40 w 9960"/>
              <a:gd name="connsiteY2" fmla="*/ 5607 h 10000"/>
              <a:gd name="connsiteX3" fmla="*/ 1333 w 9960"/>
              <a:gd name="connsiteY3" fmla="*/ 5607 h 10000"/>
              <a:gd name="connsiteX4" fmla="*/ 1372 w 9960"/>
              <a:gd name="connsiteY4" fmla="*/ 6131 h 10000"/>
              <a:gd name="connsiteX5" fmla="*/ 1372 w 9960"/>
              <a:gd name="connsiteY5" fmla="*/ 9477 h 10000"/>
              <a:gd name="connsiteX6" fmla="*/ 1414 w 9960"/>
              <a:gd name="connsiteY6" fmla="*/ 10000 h 10000"/>
              <a:gd name="connsiteX7" fmla="*/ 1766 w 9960"/>
              <a:gd name="connsiteY7" fmla="*/ 10000 h 10000"/>
              <a:gd name="connsiteX8" fmla="*/ 1806 w 9960"/>
              <a:gd name="connsiteY8" fmla="*/ 9477 h 10000"/>
              <a:gd name="connsiteX9" fmla="*/ 1806 w 9960"/>
              <a:gd name="connsiteY9" fmla="*/ 7178 h 10000"/>
              <a:gd name="connsiteX10" fmla="*/ 1844 w 9960"/>
              <a:gd name="connsiteY10" fmla="*/ 6654 h 10000"/>
              <a:gd name="connsiteX11" fmla="*/ 2279 w 9960"/>
              <a:gd name="connsiteY11" fmla="*/ 6654 h 10000"/>
              <a:gd name="connsiteX12" fmla="*/ 2320 w 9960"/>
              <a:gd name="connsiteY12" fmla="*/ 7178 h 10000"/>
              <a:gd name="connsiteX13" fmla="*/ 2320 w 9960"/>
              <a:gd name="connsiteY13" fmla="*/ 8411 h 10000"/>
              <a:gd name="connsiteX14" fmla="*/ 2360 w 9960"/>
              <a:gd name="connsiteY14" fmla="*/ 8935 h 10000"/>
              <a:gd name="connsiteX15" fmla="*/ 5361 w 9960"/>
              <a:gd name="connsiteY15" fmla="*/ 8935 h 10000"/>
              <a:gd name="connsiteX16" fmla="*/ 5401 w 9960"/>
              <a:gd name="connsiteY16" fmla="*/ 8411 h 10000"/>
              <a:gd name="connsiteX17" fmla="*/ 5401 w 9960"/>
              <a:gd name="connsiteY17" fmla="*/ 523 h 10000"/>
              <a:gd name="connsiteX18" fmla="*/ 5440 w 9960"/>
              <a:gd name="connsiteY18" fmla="*/ 0 h 10000"/>
              <a:gd name="connsiteX19" fmla="*/ 6430 w 9960"/>
              <a:gd name="connsiteY19" fmla="*/ 0 h 10000"/>
              <a:gd name="connsiteX20" fmla="*/ 6471 w 9960"/>
              <a:gd name="connsiteY20" fmla="*/ 523 h 10000"/>
              <a:gd name="connsiteX21" fmla="*/ 6471 w 9960"/>
              <a:gd name="connsiteY21" fmla="*/ 7159 h 10000"/>
              <a:gd name="connsiteX22" fmla="*/ 6510 w 9960"/>
              <a:gd name="connsiteY22" fmla="*/ 7682 h 10000"/>
              <a:gd name="connsiteX23" fmla="*/ 8015 w 9960"/>
              <a:gd name="connsiteY23" fmla="*/ 7682 h 10000"/>
              <a:gd name="connsiteX24" fmla="*/ 8055 w 9960"/>
              <a:gd name="connsiteY24" fmla="*/ 7159 h 10000"/>
              <a:gd name="connsiteX25" fmla="*/ 8055 w 9960"/>
              <a:gd name="connsiteY25" fmla="*/ 2075 h 10000"/>
              <a:gd name="connsiteX26" fmla="*/ 8094 w 9960"/>
              <a:gd name="connsiteY26" fmla="*/ 1551 h 10000"/>
              <a:gd name="connsiteX27" fmla="*/ 9960 w 9960"/>
              <a:gd name="connsiteY27" fmla="*/ 1551 h 10000"/>
              <a:gd name="connsiteX0" fmla="*/ 0 w 10000"/>
              <a:gd name="connsiteY0" fmla="*/ 6131 h 10000"/>
              <a:gd name="connsiteX1" fmla="*/ 40 w 10000"/>
              <a:gd name="connsiteY1" fmla="*/ 5607 h 10000"/>
              <a:gd name="connsiteX2" fmla="*/ 1338 w 10000"/>
              <a:gd name="connsiteY2" fmla="*/ 5607 h 10000"/>
              <a:gd name="connsiteX3" fmla="*/ 1378 w 10000"/>
              <a:gd name="connsiteY3" fmla="*/ 6131 h 10000"/>
              <a:gd name="connsiteX4" fmla="*/ 1378 w 10000"/>
              <a:gd name="connsiteY4" fmla="*/ 9477 h 10000"/>
              <a:gd name="connsiteX5" fmla="*/ 1420 w 10000"/>
              <a:gd name="connsiteY5" fmla="*/ 10000 h 10000"/>
              <a:gd name="connsiteX6" fmla="*/ 1773 w 10000"/>
              <a:gd name="connsiteY6" fmla="*/ 10000 h 10000"/>
              <a:gd name="connsiteX7" fmla="*/ 1813 w 10000"/>
              <a:gd name="connsiteY7" fmla="*/ 9477 h 10000"/>
              <a:gd name="connsiteX8" fmla="*/ 1813 w 10000"/>
              <a:gd name="connsiteY8" fmla="*/ 7178 h 10000"/>
              <a:gd name="connsiteX9" fmla="*/ 1851 w 10000"/>
              <a:gd name="connsiteY9" fmla="*/ 6654 h 10000"/>
              <a:gd name="connsiteX10" fmla="*/ 2288 w 10000"/>
              <a:gd name="connsiteY10" fmla="*/ 6654 h 10000"/>
              <a:gd name="connsiteX11" fmla="*/ 2329 w 10000"/>
              <a:gd name="connsiteY11" fmla="*/ 7178 h 10000"/>
              <a:gd name="connsiteX12" fmla="*/ 2329 w 10000"/>
              <a:gd name="connsiteY12" fmla="*/ 8411 h 10000"/>
              <a:gd name="connsiteX13" fmla="*/ 2369 w 10000"/>
              <a:gd name="connsiteY13" fmla="*/ 8935 h 10000"/>
              <a:gd name="connsiteX14" fmla="*/ 5383 w 10000"/>
              <a:gd name="connsiteY14" fmla="*/ 8935 h 10000"/>
              <a:gd name="connsiteX15" fmla="*/ 5423 w 10000"/>
              <a:gd name="connsiteY15" fmla="*/ 8411 h 10000"/>
              <a:gd name="connsiteX16" fmla="*/ 5423 w 10000"/>
              <a:gd name="connsiteY16" fmla="*/ 523 h 10000"/>
              <a:gd name="connsiteX17" fmla="*/ 5462 w 10000"/>
              <a:gd name="connsiteY17" fmla="*/ 0 h 10000"/>
              <a:gd name="connsiteX18" fmla="*/ 6456 w 10000"/>
              <a:gd name="connsiteY18" fmla="*/ 0 h 10000"/>
              <a:gd name="connsiteX19" fmla="*/ 6497 w 10000"/>
              <a:gd name="connsiteY19" fmla="*/ 523 h 10000"/>
              <a:gd name="connsiteX20" fmla="*/ 6497 w 10000"/>
              <a:gd name="connsiteY20" fmla="*/ 7159 h 10000"/>
              <a:gd name="connsiteX21" fmla="*/ 6536 w 10000"/>
              <a:gd name="connsiteY21" fmla="*/ 7682 h 10000"/>
              <a:gd name="connsiteX22" fmla="*/ 8047 w 10000"/>
              <a:gd name="connsiteY22" fmla="*/ 7682 h 10000"/>
              <a:gd name="connsiteX23" fmla="*/ 8087 w 10000"/>
              <a:gd name="connsiteY23" fmla="*/ 7159 h 10000"/>
              <a:gd name="connsiteX24" fmla="*/ 8087 w 10000"/>
              <a:gd name="connsiteY24" fmla="*/ 2075 h 10000"/>
              <a:gd name="connsiteX25" fmla="*/ 8127 w 10000"/>
              <a:gd name="connsiteY25" fmla="*/ 1551 h 10000"/>
              <a:gd name="connsiteX26" fmla="*/ 10000 w 10000"/>
              <a:gd name="connsiteY26" fmla="*/ 1551 h 10000"/>
              <a:gd name="connsiteX0" fmla="*/ 0 w 8127"/>
              <a:gd name="connsiteY0" fmla="*/ 6131 h 10000"/>
              <a:gd name="connsiteX1" fmla="*/ 40 w 8127"/>
              <a:gd name="connsiteY1" fmla="*/ 5607 h 10000"/>
              <a:gd name="connsiteX2" fmla="*/ 1338 w 8127"/>
              <a:gd name="connsiteY2" fmla="*/ 5607 h 10000"/>
              <a:gd name="connsiteX3" fmla="*/ 1378 w 8127"/>
              <a:gd name="connsiteY3" fmla="*/ 6131 h 10000"/>
              <a:gd name="connsiteX4" fmla="*/ 1378 w 8127"/>
              <a:gd name="connsiteY4" fmla="*/ 9477 h 10000"/>
              <a:gd name="connsiteX5" fmla="*/ 1420 w 8127"/>
              <a:gd name="connsiteY5" fmla="*/ 10000 h 10000"/>
              <a:gd name="connsiteX6" fmla="*/ 1773 w 8127"/>
              <a:gd name="connsiteY6" fmla="*/ 10000 h 10000"/>
              <a:gd name="connsiteX7" fmla="*/ 1813 w 8127"/>
              <a:gd name="connsiteY7" fmla="*/ 9477 h 10000"/>
              <a:gd name="connsiteX8" fmla="*/ 1813 w 8127"/>
              <a:gd name="connsiteY8" fmla="*/ 7178 h 10000"/>
              <a:gd name="connsiteX9" fmla="*/ 1851 w 8127"/>
              <a:gd name="connsiteY9" fmla="*/ 6654 h 10000"/>
              <a:gd name="connsiteX10" fmla="*/ 2288 w 8127"/>
              <a:gd name="connsiteY10" fmla="*/ 6654 h 10000"/>
              <a:gd name="connsiteX11" fmla="*/ 2329 w 8127"/>
              <a:gd name="connsiteY11" fmla="*/ 7178 h 10000"/>
              <a:gd name="connsiteX12" fmla="*/ 2329 w 8127"/>
              <a:gd name="connsiteY12" fmla="*/ 8411 h 10000"/>
              <a:gd name="connsiteX13" fmla="*/ 2369 w 8127"/>
              <a:gd name="connsiteY13" fmla="*/ 8935 h 10000"/>
              <a:gd name="connsiteX14" fmla="*/ 5383 w 8127"/>
              <a:gd name="connsiteY14" fmla="*/ 8935 h 10000"/>
              <a:gd name="connsiteX15" fmla="*/ 5423 w 8127"/>
              <a:gd name="connsiteY15" fmla="*/ 8411 h 10000"/>
              <a:gd name="connsiteX16" fmla="*/ 5423 w 8127"/>
              <a:gd name="connsiteY16" fmla="*/ 523 h 10000"/>
              <a:gd name="connsiteX17" fmla="*/ 5462 w 8127"/>
              <a:gd name="connsiteY17" fmla="*/ 0 h 10000"/>
              <a:gd name="connsiteX18" fmla="*/ 6456 w 8127"/>
              <a:gd name="connsiteY18" fmla="*/ 0 h 10000"/>
              <a:gd name="connsiteX19" fmla="*/ 6497 w 8127"/>
              <a:gd name="connsiteY19" fmla="*/ 523 h 10000"/>
              <a:gd name="connsiteX20" fmla="*/ 6497 w 8127"/>
              <a:gd name="connsiteY20" fmla="*/ 7159 h 10000"/>
              <a:gd name="connsiteX21" fmla="*/ 6536 w 8127"/>
              <a:gd name="connsiteY21" fmla="*/ 7682 h 10000"/>
              <a:gd name="connsiteX22" fmla="*/ 8047 w 8127"/>
              <a:gd name="connsiteY22" fmla="*/ 7682 h 10000"/>
              <a:gd name="connsiteX23" fmla="*/ 8087 w 8127"/>
              <a:gd name="connsiteY23" fmla="*/ 7159 h 10000"/>
              <a:gd name="connsiteX24" fmla="*/ 8087 w 8127"/>
              <a:gd name="connsiteY24" fmla="*/ 2075 h 10000"/>
              <a:gd name="connsiteX25" fmla="*/ 8127 w 8127"/>
              <a:gd name="connsiteY25" fmla="*/ 1551 h 10000"/>
              <a:gd name="connsiteX0" fmla="*/ 0 w 9951"/>
              <a:gd name="connsiteY0" fmla="*/ 6131 h 10000"/>
              <a:gd name="connsiteX1" fmla="*/ 49 w 9951"/>
              <a:gd name="connsiteY1" fmla="*/ 5607 h 10000"/>
              <a:gd name="connsiteX2" fmla="*/ 1646 w 9951"/>
              <a:gd name="connsiteY2" fmla="*/ 5607 h 10000"/>
              <a:gd name="connsiteX3" fmla="*/ 1696 w 9951"/>
              <a:gd name="connsiteY3" fmla="*/ 6131 h 10000"/>
              <a:gd name="connsiteX4" fmla="*/ 1696 w 9951"/>
              <a:gd name="connsiteY4" fmla="*/ 9477 h 10000"/>
              <a:gd name="connsiteX5" fmla="*/ 1747 w 9951"/>
              <a:gd name="connsiteY5" fmla="*/ 10000 h 10000"/>
              <a:gd name="connsiteX6" fmla="*/ 2182 w 9951"/>
              <a:gd name="connsiteY6" fmla="*/ 10000 h 10000"/>
              <a:gd name="connsiteX7" fmla="*/ 2231 w 9951"/>
              <a:gd name="connsiteY7" fmla="*/ 9477 h 10000"/>
              <a:gd name="connsiteX8" fmla="*/ 2231 w 9951"/>
              <a:gd name="connsiteY8" fmla="*/ 7178 h 10000"/>
              <a:gd name="connsiteX9" fmla="*/ 2278 w 9951"/>
              <a:gd name="connsiteY9" fmla="*/ 6654 h 10000"/>
              <a:gd name="connsiteX10" fmla="*/ 2815 w 9951"/>
              <a:gd name="connsiteY10" fmla="*/ 6654 h 10000"/>
              <a:gd name="connsiteX11" fmla="*/ 2866 w 9951"/>
              <a:gd name="connsiteY11" fmla="*/ 7178 h 10000"/>
              <a:gd name="connsiteX12" fmla="*/ 2866 w 9951"/>
              <a:gd name="connsiteY12" fmla="*/ 8411 h 10000"/>
              <a:gd name="connsiteX13" fmla="*/ 2915 w 9951"/>
              <a:gd name="connsiteY13" fmla="*/ 8935 h 10000"/>
              <a:gd name="connsiteX14" fmla="*/ 6624 w 9951"/>
              <a:gd name="connsiteY14" fmla="*/ 8935 h 10000"/>
              <a:gd name="connsiteX15" fmla="*/ 6673 w 9951"/>
              <a:gd name="connsiteY15" fmla="*/ 8411 h 10000"/>
              <a:gd name="connsiteX16" fmla="*/ 6673 w 9951"/>
              <a:gd name="connsiteY16" fmla="*/ 523 h 10000"/>
              <a:gd name="connsiteX17" fmla="*/ 6721 w 9951"/>
              <a:gd name="connsiteY17" fmla="*/ 0 h 10000"/>
              <a:gd name="connsiteX18" fmla="*/ 7944 w 9951"/>
              <a:gd name="connsiteY18" fmla="*/ 0 h 10000"/>
              <a:gd name="connsiteX19" fmla="*/ 7994 w 9951"/>
              <a:gd name="connsiteY19" fmla="*/ 523 h 10000"/>
              <a:gd name="connsiteX20" fmla="*/ 7994 w 9951"/>
              <a:gd name="connsiteY20" fmla="*/ 7159 h 10000"/>
              <a:gd name="connsiteX21" fmla="*/ 8042 w 9951"/>
              <a:gd name="connsiteY21" fmla="*/ 7682 h 10000"/>
              <a:gd name="connsiteX22" fmla="*/ 9902 w 9951"/>
              <a:gd name="connsiteY22" fmla="*/ 7682 h 10000"/>
              <a:gd name="connsiteX23" fmla="*/ 9951 w 9951"/>
              <a:gd name="connsiteY23" fmla="*/ 7159 h 10000"/>
              <a:gd name="connsiteX24" fmla="*/ 9951 w 9951"/>
              <a:gd name="connsiteY24" fmla="*/ 2075 h 10000"/>
              <a:gd name="connsiteX0" fmla="*/ 0 w 10000"/>
              <a:gd name="connsiteY0" fmla="*/ 6131 h 10000"/>
              <a:gd name="connsiteX1" fmla="*/ 49 w 10000"/>
              <a:gd name="connsiteY1" fmla="*/ 5607 h 10000"/>
              <a:gd name="connsiteX2" fmla="*/ 1654 w 10000"/>
              <a:gd name="connsiteY2" fmla="*/ 5607 h 10000"/>
              <a:gd name="connsiteX3" fmla="*/ 1704 w 10000"/>
              <a:gd name="connsiteY3" fmla="*/ 6131 h 10000"/>
              <a:gd name="connsiteX4" fmla="*/ 1704 w 10000"/>
              <a:gd name="connsiteY4" fmla="*/ 9477 h 10000"/>
              <a:gd name="connsiteX5" fmla="*/ 1756 w 10000"/>
              <a:gd name="connsiteY5" fmla="*/ 10000 h 10000"/>
              <a:gd name="connsiteX6" fmla="*/ 2193 w 10000"/>
              <a:gd name="connsiteY6" fmla="*/ 10000 h 10000"/>
              <a:gd name="connsiteX7" fmla="*/ 2242 w 10000"/>
              <a:gd name="connsiteY7" fmla="*/ 9477 h 10000"/>
              <a:gd name="connsiteX8" fmla="*/ 2242 w 10000"/>
              <a:gd name="connsiteY8" fmla="*/ 7178 h 10000"/>
              <a:gd name="connsiteX9" fmla="*/ 2289 w 10000"/>
              <a:gd name="connsiteY9" fmla="*/ 6654 h 10000"/>
              <a:gd name="connsiteX10" fmla="*/ 2829 w 10000"/>
              <a:gd name="connsiteY10" fmla="*/ 6654 h 10000"/>
              <a:gd name="connsiteX11" fmla="*/ 2880 w 10000"/>
              <a:gd name="connsiteY11" fmla="*/ 7178 h 10000"/>
              <a:gd name="connsiteX12" fmla="*/ 2880 w 10000"/>
              <a:gd name="connsiteY12" fmla="*/ 8411 h 10000"/>
              <a:gd name="connsiteX13" fmla="*/ 2929 w 10000"/>
              <a:gd name="connsiteY13" fmla="*/ 8935 h 10000"/>
              <a:gd name="connsiteX14" fmla="*/ 6657 w 10000"/>
              <a:gd name="connsiteY14" fmla="*/ 8935 h 10000"/>
              <a:gd name="connsiteX15" fmla="*/ 6706 w 10000"/>
              <a:gd name="connsiteY15" fmla="*/ 8411 h 10000"/>
              <a:gd name="connsiteX16" fmla="*/ 6706 w 10000"/>
              <a:gd name="connsiteY16" fmla="*/ 523 h 10000"/>
              <a:gd name="connsiteX17" fmla="*/ 6754 w 10000"/>
              <a:gd name="connsiteY17" fmla="*/ 0 h 10000"/>
              <a:gd name="connsiteX18" fmla="*/ 7983 w 10000"/>
              <a:gd name="connsiteY18" fmla="*/ 0 h 10000"/>
              <a:gd name="connsiteX19" fmla="*/ 8033 w 10000"/>
              <a:gd name="connsiteY19" fmla="*/ 523 h 10000"/>
              <a:gd name="connsiteX20" fmla="*/ 8033 w 10000"/>
              <a:gd name="connsiteY20" fmla="*/ 7159 h 10000"/>
              <a:gd name="connsiteX21" fmla="*/ 8082 w 10000"/>
              <a:gd name="connsiteY21" fmla="*/ 7682 h 10000"/>
              <a:gd name="connsiteX22" fmla="*/ 9951 w 10000"/>
              <a:gd name="connsiteY22" fmla="*/ 7682 h 10000"/>
              <a:gd name="connsiteX23" fmla="*/ 10000 w 10000"/>
              <a:gd name="connsiteY23" fmla="*/ 7159 h 10000"/>
              <a:gd name="connsiteX0" fmla="*/ 0 w 9951"/>
              <a:gd name="connsiteY0" fmla="*/ 6131 h 10000"/>
              <a:gd name="connsiteX1" fmla="*/ 49 w 9951"/>
              <a:gd name="connsiteY1" fmla="*/ 5607 h 10000"/>
              <a:gd name="connsiteX2" fmla="*/ 1654 w 9951"/>
              <a:gd name="connsiteY2" fmla="*/ 5607 h 10000"/>
              <a:gd name="connsiteX3" fmla="*/ 1704 w 9951"/>
              <a:gd name="connsiteY3" fmla="*/ 6131 h 10000"/>
              <a:gd name="connsiteX4" fmla="*/ 1704 w 9951"/>
              <a:gd name="connsiteY4" fmla="*/ 9477 h 10000"/>
              <a:gd name="connsiteX5" fmla="*/ 1756 w 9951"/>
              <a:gd name="connsiteY5" fmla="*/ 10000 h 10000"/>
              <a:gd name="connsiteX6" fmla="*/ 2193 w 9951"/>
              <a:gd name="connsiteY6" fmla="*/ 10000 h 10000"/>
              <a:gd name="connsiteX7" fmla="*/ 2242 w 9951"/>
              <a:gd name="connsiteY7" fmla="*/ 9477 h 10000"/>
              <a:gd name="connsiteX8" fmla="*/ 2242 w 9951"/>
              <a:gd name="connsiteY8" fmla="*/ 7178 h 10000"/>
              <a:gd name="connsiteX9" fmla="*/ 2289 w 9951"/>
              <a:gd name="connsiteY9" fmla="*/ 6654 h 10000"/>
              <a:gd name="connsiteX10" fmla="*/ 2829 w 9951"/>
              <a:gd name="connsiteY10" fmla="*/ 6654 h 10000"/>
              <a:gd name="connsiteX11" fmla="*/ 2880 w 9951"/>
              <a:gd name="connsiteY11" fmla="*/ 7178 h 10000"/>
              <a:gd name="connsiteX12" fmla="*/ 2880 w 9951"/>
              <a:gd name="connsiteY12" fmla="*/ 8411 h 10000"/>
              <a:gd name="connsiteX13" fmla="*/ 2929 w 9951"/>
              <a:gd name="connsiteY13" fmla="*/ 8935 h 10000"/>
              <a:gd name="connsiteX14" fmla="*/ 6657 w 9951"/>
              <a:gd name="connsiteY14" fmla="*/ 8935 h 10000"/>
              <a:gd name="connsiteX15" fmla="*/ 6706 w 9951"/>
              <a:gd name="connsiteY15" fmla="*/ 8411 h 10000"/>
              <a:gd name="connsiteX16" fmla="*/ 6706 w 9951"/>
              <a:gd name="connsiteY16" fmla="*/ 523 h 10000"/>
              <a:gd name="connsiteX17" fmla="*/ 6754 w 9951"/>
              <a:gd name="connsiteY17" fmla="*/ 0 h 10000"/>
              <a:gd name="connsiteX18" fmla="*/ 7983 w 9951"/>
              <a:gd name="connsiteY18" fmla="*/ 0 h 10000"/>
              <a:gd name="connsiteX19" fmla="*/ 8033 w 9951"/>
              <a:gd name="connsiteY19" fmla="*/ 523 h 10000"/>
              <a:gd name="connsiteX20" fmla="*/ 8033 w 9951"/>
              <a:gd name="connsiteY20" fmla="*/ 7159 h 10000"/>
              <a:gd name="connsiteX21" fmla="*/ 8082 w 9951"/>
              <a:gd name="connsiteY21" fmla="*/ 7682 h 10000"/>
              <a:gd name="connsiteX22" fmla="*/ 9951 w 9951"/>
              <a:gd name="connsiteY22" fmla="*/ 7682 h 10000"/>
              <a:gd name="connsiteX0" fmla="*/ 0 w 10000"/>
              <a:gd name="connsiteY0" fmla="*/ 6131 h 10000"/>
              <a:gd name="connsiteX1" fmla="*/ 1662 w 10000"/>
              <a:gd name="connsiteY1" fmla="*/ 5607 h 10000"/>
              <a:gd name="connsiteX2" fmla="*/ 1712 w 10000"/>
              <a:gd name="connsiteY2" fmla="*/ 6131 h 10000"/>
              <a:gd name="connsiteX3" fmla="*/ 1712 w 10000"/>
              <a:gd name="connsiteY3" fmla="*/ 9477 h 10000"/>
              <a:gd name="connsiteX4" fmla="*/ 1765 w 10000"/>
              <a:gd name="connsiteY4" fmla="*/ 10000 h 10000"/>
              <a:gd name="connsiteX5" fmla="*/ 2204 w 10000"/>
              <a:gd name="connsiteY5" fmla="*/ 10000 h 10000"/>
              <a:gd name="connsiteX6" fmla="*/ 2253 w 10000"/>
              <a:gd name="connsiteY6" fmla="*/ 9477 h 10000"/>
              <a:gd name="connsiteX7" fmla="*/ 2253 w 10000"/>
              <a:gd name="connsiteY7" fmla="*/ 7178 h 10000"/>
              <a:gd name="connsiteX8" fmla="*/ 2300 w 10000"/>
              <a:gd name="connsiteY8" fmla="*/ 6654 h 10000"/>
              <a:gd name="connsiteX9" fmla="*/ 2843 w 10000"/>
              <a:gd name="connsiteY9" fmla="*/ 6654 h 10000"/>
              <a:gd name="connsiteX10" fmla="*/ 2894 w 10000"/>
              <a:gd name="connsiteY10" fmla="*/ 7178 h 10000"/>
              <a:gd name="connsiteX11" fmla="*/ 2894 w 10000"/>
              <a:gd name="connsiteY11" fmla="*/ 8411 h 10000"/>
              <a:gd name="connsiteX12" fmla="*/ 2943 w 10000"/>
              <a:gd name="connsiteY12" fmla="*/ 8935 h 10000"/>
              <a:gd name="connsiteX13" fmla="*/ 6690 w 10000"/>
              <a:gd name="connsiteY13" fmla="*/ 8935 h 10000"/>
              <a:gd name="connsiteX14" fmla="*/ 6739 w 10000"/>
              <a:gd name="connsiteY14" fmla="*/ 8411 h 10000"/>
              <a:gd name="connsiteX15" fmla="*/ 6739 w 10000"/>
              <a:gd name="connsiteY15" fmla="*/ 523 h 10000"/>
              <a:gd name="connsiteX16" fmla="*/ 6787 w 10000"/>
              <a:gd name="connsiteY16" fmla="*/ 0 h 10000"/>
              <a:gd name="connsiteX17" fmla="*/ 8022 w 10000"/>
              <a:gd name="connsiteY17" fmla="*/ 0 h 10000"/>
              <a:gd name="connsiteX18" fmla="*/ 8073 w 10000"/>
              <a:gd name="connsiteY18" fmla="*/ 523 h 10000"/>
              <a:gd name="connsiteX19" fmla="*/ 8073 w 10000"/>
              <a:gd name="connsiteY19" fmla="*/ 7159 h 10000"/>
              <a:gd name="connsiteX20" fmla="*/ 8122 w 10000"/>
              <a:gd name="connsiteY20" fmla="*/ 7682 h 10000"/>
              <a:gd name="connsiteX21" fmla="*/ 10000 w 10000"/>
              <a:gd name="connsiteY21" fmla="*/ 7682 h 10000"/>
              <a:gd name="connsiteX0" fmla="*/ 0 w 8657"/>
              <a:gd name="connsiteY0" fmla="*/ 5687 h 10000"/>
              <a:gd name="connsiteX1" fmla="*/ 319 w 8657"/>
              <a:gd name="connsiteY1" fmla="*/ 5607 h 10000"/>
              <a:gd name="connsiteX2" fmla="*/ 369 w 8657"/>
              <a:gd name="connsiteY2" fmla="*/ 6131 h 10000"/>
              <a:gd name="connsiteX3" fmla="*/ 369 w 8657"/>
              <a:gd name="connsiteY3" fmla="*/ 9477 h 10000"/>
              <a:gd name="connsiteX4" fmla="*/ 422 w 8657"/>
              <a:gd name="connsiteY4" fmla="*/ 10000 h 10000"/>
              <a:gd name="connsiteX5" fmla="*/ 861 w 8657"/>
              <a:gd name="connsiteY5" fmla="*/ 10000 h 10000"/>
              <a:gd name="connsiteX6" fmla="*/ 910 w 8657"/>
              <a:gd name="connsiteY6" fmla="*/ 9477 h 10000"/>
              <a:gd name="connsiteX7" fmla="*/ 910 w 8657"/>
              <a:gd name="connsiteY7" fmla="*/ 7178 h 10000"/>
              <a:gd name="connsiteX8" fmla="*/ 957 w 8657"/>
              <a:gd name="connsiteY8" fmla="*/ 6654 h 10000"/>
              <a:gd name="connsiteX9" fmla="*/ 1500 w 8657"/>
              <a:gd name="connsiteY9" fmla="*/ 6654 h 10000"/>
              <a:gd name="connsiteX10" fmla="*/ 1551 w 8657"/>
              <a:gd name="connsiteY10" fmla="*/ 7178 h 10000"/>
              <a:gd name="connsiteX11" fmla="*/ 1551 w 8657"/>
              <a:gd name="connsiteY11" fmla="*/ 8411 h 10000"/>
              <a:gd name="connsiteX12" fmla="*/ 1600 w 8657"/>
              <a:gd name="connsiteY12" fmla="*/ 8935 h 10000"/>
              <a:gd name="connsiteX13" fmla="*/ 5347 w 8657"/>
              <a:gd name="connsiteY13" fmla="*/ 8935 h 10000"/>
              <a:gd name="connsiteX14" fmla="*/ 5396 w 8657"/>
              <a:gd name="connsiteY14" fmla="*/ 8411 h 10000"/>
              <a:gd name="connsiteX15" fmla="*/ 5396 w 8657"/>
              <a:gd name="connsiteY15" fmla="*/ 523 h 10000"/>
              <a:gd name="connsiteX16" fmla="*/ 5444 w 8657"/>
              <a:gd name="connsiteY16" fmla="*/ 0 h 10000"/>
              <a:gd name="connsiteX17" fmla="*/ 6679 w 8657"/>
              <a:gd name="connsiteY17" fmla="*/ 0 h 10000"/>
              <a:gd name="connsiteX18" fmla="*/ 6730 w 8657"/>
              <a:gd name="connsiteY18" fmla="*/ 523 h 10000"/>
              <a:gd name="connsiteX19" fmla="*/ 6730 w 8657"/>
              <a:gd name="connsiteY19" fmla="*/ 7159 h 10000"/>
              <a:gd name="connsiteX20" fmla="*/ 6779 w 8657"/>
              <a:gd name="connsiteY20" fmla="*/ 7682 h 10000"/>
              <a:gd name="connsiteX21" fmla="*/ 8657 w 8657"/>
              <a:gd name="connsiteY21" fmla="*/ 7682 h 10000"/>
              <a:gd name="connsiteX0" fmla="*/ 0 w 10000"/>
              <a:gd name="connsiteY0" fmla="*/ 5583 h 10000"/>
              <a:gd name="connsiteX1" fmla="*/ 368 w 10000"/>
              <a:gd name="connsiteY1" fmla="*/ 5607 h 10000"/>
              <a:gd name="connsiteX2" fmla="*/ 426 w 10000"/>
              <a:gd name="connsiteY2" fmla="*/ 6131 h 10000"/>
              <a:gd name="connsiteX3" fmla="*/ 426 w 10000"/>
              <a:gd name="connsiteY3" fmla="*/ 9477 h 10000"/>
              <a:gd name="connsiteX4" fmla="*/ 487 w 10000"/>
              <a:gd name="connsiteY4" fmla="*/ 10000 h 10000"/>
              <a:gd name="connsiteX5" fmla="*/ 995 w 10000"/>
              <a:gd name="connsiteY5" fmla="*/ 10000 h 10000"/>
              <a:gd name="connsiteX6" fmla="*/ 1051 w 10000"/>
              <a:gd name="connsiteY6" fmla="*/ 9477 h 10000"/>
              <a:gd name="connsiteX7" fmla="*/ 1051 w 10000"/>
              <a:gd name="connsiteY7" fmla="*/ 7178 h 10000"/>
              <a:gd name="connsiteX8" fmla="*/ 1105 w 10000"/>
              <a:gd name="connsiteY8" fmla="*/ 6654 h 10000"/>
              <a:gd name="connsiteX9" fmla="*/ 1733 w 10000"/>
              <a:gd name="connsiteY9" fmla="*/ 6654 h 10000"/>
              <a:gd name="connsiteX10" fmla="*/ 1792 w 10000"/>
              <a:gd name="connsiteY10" fmla="*/ 7178 h 10000"/>
              <a:gd name="connsiteX11" fmla="*/ 1792 w 10000"/>
              <a:gd name="connsiteY11" fmla="*/ 8411 h 10000"/>
              <a:gd name="connsiteX12" fmla="*/ 1848 w 10000"/>
              <a:gd name="connsiteY12" fmla="*/ 8935 h 10000"/>
              <a:gd name="connsiteX13" fmla="*/ 6177 w 10000"/>
              <a:gd name="connsiteY13" fmla="*/ 8935 h 10000"/>
              <a:gd name="connsiteX14" fmla="*/ 6233 w 10000"/>
              <a:gd name="connsiteY14" fmla="*/ 8411 h 10000"/>
              <a:gd name="connsiteX15" fmla="*/ 6233 w 10000"/>
              <a:gd name="connsiteY15" fmla="*/ 523 h 10000"/>
              <a:gd name="connsiteX16" fmla="*/ 6289 w 10000"/>
              <a:gd name="connsiteY16" fmla="*/ 0 h 10000"/>
              <a:gd name="connsiteX17" fmla="*/ 7715 w 10000"/>
              <a:gd name="connsiteY17" fmla="*/ 0 h 10000"/>
              <a:gd name="connsiteX18" fmla="*/ 7774 w 10000"/>
              <a:gd name="connsiteY18" fmla="*/ 523 h 10000"/>
              <a:gd name="connsiteX19" fmla="*/ 7774 w 10000"/>
              <a:gd name="connsiteY19" fmla="*/ 7159 h 10000"/>
              <a:gd name="connsiteX20" fmla="*/ 7831 w 10000"/>
              <a:gd name="connsiteY20" fmla="*/ 7682 h 10000"/>
              <a:gd name="connsiteX21" fmla="*/ 10000 w 10000"/>
              <a:gd name="connsiteY21" fmla="*/ 7682 h 10000"/>
              <a:gd name="connsiteX0" fmla="*/ 0 w 10000"/>
              <a:gd name="connsiteY0" fmla="*/ 5583 h 10000"/>
              <a:gd name="connsiteX1" fmla="*/ 368 w 10000"/>
              <a:gd name="connsiteY1" fmla="*/ 5607 h 10000"/>
              <a:gd name="connsiteX2" fmla="*/ 426 w 10000"/>
              <a:gd name="connsiteY2" fmla="*/ 6131 h 10000"/>
              <a:gd name="connsiteX3" fmla="*/ 426 w 10000"/>
              <a:gd name="connsiteY3" fmla="*/ 9477 h 10000"/>
              <a:gd name="connsiteX4" fmla="*/ 487 w 10000"/>
              <a:gd name="connsiteY4" fmla="*/ 10000 h 10000"/>
              <a:gd name="connsiteX5" fmla="*/ 995 w 10000"/>
              <a:gd name="connsiteY5" fmla="*/ 10000 h 10000"/>
              <a:gd name="connsiteX6" fmla="*/ 1051 w 10000"/>
              <a:gd name="connsiteY6" fmla="*/ 9477 h 10000"/>
              <a:gd name="connsiteX7" fmla="*/ 1051 w 10000"/>
              <a:gd name="connsiteY7" fmla="*/ 7178 h 10000"/>
              <a:gd name="connsiteX8" fmla="*/ 1105 w 10000"/>
              <a:gd name="connsiteY8" fmla="*/ 6654 h 10000"/>
              <a:gd name="connsiteX9" fmla="*/ 1733 w 10000"/>
              <a:gd name="connsiteY9" fmla="*/ 6654 h 10000"/>
              <a:gd name="connsiteX10" fmla="*/ 1792 w 10000"/>
              <a:gd name="connsiteY10" fmla="*/ 7178 h 10000"/>
              <a:gd name="connsiteX11" fmla="*/ 1792 w 10000"/>
              <a:gd name="connsiteY11" fmla="*/ 8411 h 10000"/>
              <a:gd name="connsiteX12" fmla="*/ 1848 w 10000"/>
              <a:gd name="connsiteY12" fmla="*/ 8935 h 10000"/>
              <a:gd name="connsiteX13" fmla="*/ 6177 w 10000"/>
              <a:gd name="connsiteY13" fmla="*/ 8935 h 10000"/>
              <a:gd name="connsiteX14" fmla="*/ 6233 w 10000"/>
              <a:gd name="connsiteY14" fmla="*/ 8411 h 10000"/>
              <a:gd name="connsiteX15" fmla="*/ 6233 w 10000"/>
              <a:gd name="connsiteY15" fmla="*/ 523 h 10000"/>
              <a:gd name="connsiteX16" fmla="*/ 6289 w 10000"/>
              <a:gd name="connsiteY16" fmla="*/ 0 h 10000"/>
              <a:gd name="connsiteX17" fmla="*/ 7715 w 10000"/>
              <a:gd name="connsiteY17" fmla="*/ 0 h 10000"/>
              <a:gd name="connsiteX18" fmla="*/ 7774 w 10000"/>
              <a:gd name="connsiteY18" fmla="*/ 523 h 10000"/>
              <a:gd name="connsiteX19" fmla="*/ 7774 w 10000"/>
              <a:gd name="connsiteY19" fmla="*/ 7159 h 10000"/>
              <a:gd name="connsiteX20" fmla="*/ 7831 w 10000"/>
              <a:gd name="connsiteY20" fmla="*/ 7682 h 10000"/>
              <a:gd name="connsiteX21" fmla="*/ 10000 w 10000"/>
              <a:gd name="connsiteY21" fmla="*/ 7682 h 10000"/>
              <a:gd name="connsiteX0" fmla="*/ 0 w 10000"/>
              <a:gd name="connsiteY0" fmla="*/ 5609 h 10000"/>
              <a:gd name="connsiteX1" fmla="*/ 368 w 10000"/>
              <a:gd name="connsiteY1" fmla="*/ 5607 h 10000"/>
              <a:gd name="connsiteX2" fmla="*/ 426 w 10000"/>
              <a:gd name="connsiteY2" fmla="*/ 6131 h 10000"/>
              <a:gd name="connsiteX3" fmla="*/ 426 w 10000"/>
              <a:gd name="connsiteY3" fmla="*/ 9477 h 10000"/>
              <a:gd name="connsiteX4" fmla="*/ 487 w 10000"/>
              <a:gd name="connsiteY4" fmla="*/ 10000 h 10000"/>
              <a:gd name="connsiteX5" fmla="*/ 995 w 10000"/>
              <a:gd name="connsiteY5" fmla="*/ 10000 h 10000"/>
              <a:gd name="connsiteX6" fmla="*/ 1051 w 10000"/>
              <a:gd name="connsiteY6" fmla="*/ 9477 h 10000"/>
              <a:gd name="connsiteX7" fmla="*/ 1051 w 10000"/>
              <a:gd name="connsiteY7" fmla="*/ 7178 h 10000"/>
              <a:gd name="connsiteX8" fmla="*/ 1105 w 10000"/>
              <a:gd name="connsiteY8" fmla="*/ 6654 h 10000"/>
              <a:gd name="connsiteX9" fmla="*/ 1733 w 10000"/>
              <a:gd name="connsiteY9" fmla="*/ 6654 h 10000"/>
              <a:gd name="connsiteX10" fmla="*/ 1792 w 10000"/>
              <a:gd name="connsiteY10" fmla="*/ 7178 h 10000"/>
              <a:gd name="connsiteX11" fmla="*/ 1792 w 10000"/>
              <a:gd name="connsiteY11" fmla="*/ 8411 h 10000"/>
              <a:gd name="connsiteX12" fmla="*/ 1848 w 10000"/>
              <a:gd name="connsiteY12" fmla="*/ 8935 h 10000"/>
              <a:gd name="connsiteX13" fmla="*/ 6177 w 10000"/>
              <a:gd name="connsiteY13" fmla="*/ 8935 h 10000"/>
              <a:gd name="connsiteX14" fmla="*/ 6233 w 10000"/>
              <a:gd name="connsiteY14" fmla="*/ 8411 h 10000"/>
              <a:gd name="connsiteX15" fmla="*/ 6233 w 10000"/>
              <a:gd name="connsiteY15" fmla="*/ 523 h 10000"/>
              <a:gd name="connsiteX16" fmla="*/ 6289 w 10000"/>
              <a:gd name="connsiteY16" fmla="*/ 0 h 10000"/>
              <a:gd name="connsiteX17" fmla="*/ 7715 w 10000"/>
              <a:gd name="connsiteY17" fmla="*/ 0 h 10000"/>
              <a:gd name="connsiteX18" fmla="*/ 7774 w 10000"/>
              <a:gd name="connsiteY18" fmla="*/ 523 h 10000"/>
              <a:gd name="connsiteX19" fmla="*/ 7774 w 10000"/>
              <a:gd name="connsiteY19" fmla="*/ 7159 h 10000"/>
              <a:gd name="connsiteX20" fmla="*/ 7831 w 10000"/>
              <a:gd name="connsiteY20" fmla="*/ 7682 h 10000"/>
              <a:gd name="connsiteX21" fmla="*/ 10000 w 10000"/>
              <a:gd name="connsiteY21" fmla="*/ 7682 h 10000"/>
              <a:gd name="connsiteX0" fmla="*/ 0 w 8282"/>
              <a:gd name="connsiteY0" fmla="*/ 5609 h 10000"/>
              <a:gd name="connsiteX1" fmla="*/ 368 w 8282"/>
              <a:gd name="connsiteY1" fmla="*/ 5607 h 10000"/>
              <a:gd name="connsiteX2" fmla="*/ 426 w 8282"/>
              <a:gd name="connsiteY2" fmla="*/ 6131 h 10000"/>
              <a:gd name="connsiteX3" fmla="*/ 426 w 8282"/>
              <a:gd name="connsiteY3" fmla="*/ 9477 h 10000"/>
              <a:gd name="connsiteX4" fmla="*/ 487 w 8282"/>
              <a:gd name="connsiteY4" fmla="*/ 10000 h 10000"/>
              <a:gd name="connsiteX5" fmla="*/ 995 w 8282"/>
              <a:gd name="connsiteY5" fmla="*/ 10000 h 10000"/>
              <a:gd name="connsiteX6" fmla="*/ 1051 w 8282"/>
              <a:gd name="connsiteY6" fmla="*/ 9477 h 10000"/>
              <a:gd name="connsiteX7" fmla="*/ 1051 w 8282"/>
              <a:gd name="connsiteY7" fmla="*/ 7178 h 10000"/>
              <a:gd name="connsiteX8" fmla="*/ 1105 w 8282"/>
              <a:gd name="connsiteY8" fmla="*/ 6654 h 10000"/>
              <a:gd name="connsiteX9" fmla="*/ 1733 w 8282"/>
              <a:gd name="connsiteY9" fmla="*/ 6654 h 10000"/>
              <a:gd name="connsiteX10" fmla="*/ 1792 w 8282"/>
              <a:gd name="connsiteY10" fmla="*/ 7178 h 10000"/>
              <a:gd name="connsiteX11" fmla="*/ 1792 w 8282"/>
              <a:gd name="connsiteY11" fmla="*/ 8411 h 10000"/>
              <a:gd name="connsiteX12" fmla="*/ 1848 w 8282"/>
              <a:gd name="connsiteY12" fmla="*/ 8935 h 10000"/>
              <a:gd name="connsiteX13" fmla="*/ 6177 w 8282"/>
              <a:gd name="connsiteY13" fmla="*/ 8935 h 10000"/>
              <a:gd name="connsiteX14" fmla="*/ 6233 w 8282"/>
              <a:gd name="connsiteY14" fmla="*/ 8411 h 10000"/>
              <a:gd name="connsiteX15" fmla="*/ 6233 w 8282"/>
              <a:gd name="connsiteY15" fmla="*/ 523 h 10000"/>
              <a:gd name="connsiteX16" fmla="*/ 6289 w 8282"/>
              <a:gd name="connsiteY16" fmla="*/ 0 h 10000"/>
              <a:gd name="connsiteX17" fmla="*/ 7715 w 8282"/>
              <a:gd name="connsiteY17" fmla="*/ 0 h 10000"/>
              <a:gd name="connsiteX18" fmla="*/ 7774 w 8282"/>
              <a:gd name="connsiteY18" fmla="*/ 523 h 10000"/>
              <a:gd name="connsiteX19" fmla="*/ 7774 w 8282"/>
              <a:gd name="connsiteY19" fmla="*/ 7159 h 10000"/>
              <a:gd name="connsiteX20" fmla="*/ 7831 w 8282"/>
              <a:gd name="connsiteY20" fmla="*/ 7682 h 10000"/>
              <a:gd name="connsiteX21" fmla="*/ 8282 w 8282"/>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58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017" h="10000">
                <a:moveTo>
                  <a:pt x="0" y="5609"/>
                </a:moveTo>
                <a:lnTo>
                  <a:pt x="436" y="5607"/>
                </a:lnTo>
                <a:cubicBezTo>
                  <a:pt x="477" y="5607"/>
                  <a:pt x="514" y="5832"/>
                  <a:pt x="514" y="6131"/>
                </a:cubicBezTo>
                <a:lnTo>
                  <a:pt x="514" y="9477"/>
                </a:lnTo>
                <a:cubicBezTo>
                  <a:pt x="514" y="9757"/>
                  <a:pt x="548" y="10000"/>
                  <a:pt x="588" y="10000"/>
                </a:cubicBezTo>
                <a:lnTo>
                  <a:pt x="1201" y="10000"/>
                </a:lnTo>
                <a:cubicBezTo>
                  <a:pt x="1235" y="10000"/>
                  <a:pt x="1269" y="9757"/>
                  <a:pt x="1269" y="9477"/>
                </a:cubicBezTo>
                <a:lnTo>
                  <a:pt x="1269" y="7178"/>
                </a:lnTo>
                <a:cubicBezTo>
                  <a:pt x="1269" y="6897"/>
                  <a:pt x="1297" y="6654"/>
                  <a:pt x="1334" y="6654"/>
                </a:cubicBezTo>
                <a:lnTo>
                  <a:pt x="2092" y="6654"/>
                </a:lnTo>
                <a:cubicBezTo>
                  <a:pt x="2132" y="6654"/>
                  <a:pt x="2164" y="6897"/>
                  <a:pt x="2164" y="7178"/>
                </a:cubicBezTo>
                <a:lnTo>
                  <a:pt x="2164" y="8411"/>
                </a:lnTo>
                <a:cubicBezTo>
                  <a:pt x="2164" y="8710"/>
                  <a:pt x="2193" y="8935"/>
                  <a:pt x="2231" y="8935"/>
                </a:cubicBezTo>
                <a:lnTo>
                  <a:pt x="7458" y="8935"/>
                </a:lnTo>
                <a:cubicBezTo>
                  <a:pt x="7496" y="8935"/>
                  <a:pt x="7526" y="8710"/>
                  <a:pt x="7526" y="8411"/>
                </a:cubicBezTo>
                <a:lnTo>
                  <a:pt x="7526" y="523"/>
                </a:lnTo>
                <a:cubicBezTo>
                  <a:pt x="7526" y="224"/>
                  <a:pt x="7557" y="0"/>
                  <a:pt x="7594" y="0"/>
                </a:cubicBezTo>
                <a:lnTo>
                  <a:pt x="9315" y="0"/>
                </a:lnTo>
                <a:cubicBezTo>
                  <a:pt x="9356" y="0"/>
                  <a:pt x="9387" y="224"/>
                  <a:pt x="9387" y="523"/>
                </a:cubicBezTo>
                <a:lnTo>
                  <a:pt x="9387" y="7159"/>
                </a:lnTo>
                <a:cubicBezTo>
                  <a:pt x="9387" y="7439"/>
                  <a:pt x="9416" y="7682"/>
                  <a:pt x="9455" y="7682"/>
                </a:cubicBezTo>
                <a:lnTo>
                  <a:pt x="10017" y="7682"/>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Freeform 9"/>
          <p:cNvSpPr>
            <a:spLocks/>
          </p:cNvSpPr>
          <p:nvPr/>
        </p:nvSpPr>
        <p:spPr bwMode="gray">
          <a:xfrm>
            <a:off x="-7917" y="4480919"/>
            <a:ext cx="9161634" cy="1894152"/>
          </a:xfrm>
          <a:custGeom>
            <a:avLst/>
            <a:gdLst>
              <a:gd name="T0" fmla="*/ 0 w 8479"/>
              <a:gd name="T1" fmla="*/ 0 h 835"/>
              <a:gd name="T2" fmla="*/ 1311 w 8479"/>
              <a:gd name="T3" fmla="*/ 0 h 835"/>
              <a:gd name="T4" fmla="*/ 1339 w 8479"/>
              <a:gd name="T5" fmla="*/ 28 h 835"/>
              <a:gd name="T6" fmla="*/ 1339 w 8479"/>
              <a:gd name="T7" fmla="*/ 629 h 835"/>
              <a:gd name="T8" fmla="*/ 1366 w 8479"/>
              <a:gd name="T9" fmla="*/ 657 h 835"/>
              <a:gd name="T10" fmla="*/ 2615 w 8479"/>
              <a:gd name="T11" fmla="*/ 657 h 835"/>
              <a:gd name="T12" fmla="*/ 2643 w 8479"/>
              <a:gd name="T13" fmla="*/ 629 h 835"/>
              <a:gd name="T14" fmla="*/ 2643 w 8479"/>
              <a:gd name="T15" fmla="*/ 150 h 835"/>
              <a:gd name="T16" fmla="*/ 2671 w 8479"/>
              <a:gd name="T17" fmla="*/ 122 h 835"/>
              <a:gd name="T18" fmla="*/ 3930 w 8479"/>
              <a:gd name="T19" fmla="*/ 122 h 835"/>
              <a:gd name="T20" fmla="*/ 3958 w 8479"/>
              <a:gd name="T21" fmla="*/ 150 h 835"/>
              <a:gd name="T22" fmla="*/ 3958 w 8479"/>
              <a:gd name="T23" fmla="*/ 807 h 835"/>
              <a:gd name="T24" fmla="*/ 3986 w 8479"/>
              <a:gd name="T25" fmla="*/ 835 h 835"/>
              <a:gd name="T26" fmla="*/ 4855 w 8479"/>
              <a:gd name="T27" fmla="*/ 835 h 835"/>
              <a:gd name="T28" fmla="*/ 4883 w 8479"/>
              <a:gd name="T29" fmla="*/ 807 h 835"/>
              <a:gd name="T30" fmla="*/ 4883 w 8479"/>
              <a:gd name="T31" fmla="*/ 28 h 835"/>
              <a:gd name="T32" fmla="*/ 4911 w 8479"/>
              <a:gd name="T33" fmla="*/ 0 h 835"/>
              <a:gd name="T34" fmla="*/ 5536 w 8479"/>
              <a:gd name="T35" fmla="*/ 0 h 835"/>
              <a:gd name="T36" fmla="*/ 5564 w 8479"/>
              <a:gd name="T37" fmla="*/ 28 h 835"/>
              <a:gd name="T38" fmla="*/ 5564 w 8479"/>
              <a:gd name="T39" fmla="*/ 716 h 835"/>
              <a:gd name="T40" fmla="*/ 5592 w 8479"/>
              <a:gd name="T41" fmla="*/ 744 h 835"/>
              <a:gd name="T42" fmla="*/ 6859 w 8479"/>
              <a:gd name="T43" fmla="*/ 744 h 835"/>
              <a:gd name="T44" fmla="*/ 6887 w 8479"/>
              <a:gd name="T45" fmla="*/ 716 h 835"/>
              <a:gd name="T46" fmla="*/ 6887 w 8479"/>
              <a:gd name="T47" fmla="*/ 148 h 835"/>
              <a:gd name="T48" fmla="*/ 6915 w 8479"/>
              <a:gd name="T49" fmla="*/ 120 h 835"/>
              <a:gd name="T50" fmla="*/ 7337 w 8479"/>
              <a:gd name="T51" fmla="*/ 120 h 835"/>
              <a:gd name="T52" fmla="*/ 7364 w 8479"/>
              <a:gd name="T53" fmla="*/ 148 h 835"/>
              <a:gd name="T54" fmla="*/ 7364 w 8479"/>
              <a:gd name="T55" fmla="*/ 269 h 835"/>
              <a:gd name="T56" fmla="*/ 7392 w 8479"/>
              <a:gd name="T57" fmla="*/ 297 h 835"/>
              <a:gd name="T58" fmla="*/ 8479 w 8479"/>
              <a:gd name="T59" fmla="*/ 297 h 835"/>
              <a:gd name="connsiteX0" fmla="*/ 0 w 8454"/>
              <a:gd name="connsiteY0" fmla="*/ 0 h 10000"/>
              <a:gd name="connsiteX1" fmla="*/ 33 w 8454"/>
              <a:gd name="connsiteY1" fmla="*/ 335 h 10000"/>
              <a:gd name="connsiteX2" fmla="*/ 33 w 8454"/>
              <a:gd name="connsiteY2" fmla="*/ 7533 h 10000"/>
              <a:gd name="connsiteX3" fmla="*/ 65 w 8454"/>
              <a:gd name="connsiteY3" fmla="*/ 7868 h 10000"/>
              <a:gd name="connsiteX4" fmla="*/ 1538 w 8454"/>
              <a:gd name="connsiteY4" fmla="*/ 7868 h 10000"/>
              <a:gd name="connsiteX5" fmla="*/ 1571 w 8454"/>
              <a:gd name="connsiteY5" fmla="*/ 7533 h 10000"/>
              <a:gd name="connsiteX6" fmla="*/ 1571 w 8454"/>
              <a:gd name="connsiteY6" fmla="*/ 1796 h 10000"/>
              <a:gd name="connsiteX7" fmla="*/ 1604 w 8454"/>
              <a:gd name="connsiteY7" fmla="*/ 1461 h 10000"/>
              <a:gd name="connsiteX8" fmla="*/ 3089 w 8454"/>
              <a:gd name="connsiteY8" fmla="*/ 1461 h 10000"/>
              <a:gd name="connsiteX9" fmla="*/ 3122 w 8454"/>
              <a:gd name="connsiteY9" fmla="*/ 1796 h 10000"/>
              <a:gd name="connsiteX10" fmla="*/ 3122 w 8454"/>
              <a:gd name="connsiteY10" fmla="*/ 9665 h 10000"/>
              <a:gd name="connsiteX11" fmla="*/ 3155 w 8454"/>
              <a:gd name="connsiteY11" fmla="*/ 10000 h 10000"/>
              <a:gd name="connsiteX12" fmla="*/ 4180 w 8454"/>
              <a:gd name="connsiteY12" fmla="*/ 10000 h 10000"/>
              <a:gd name="connsiteX13" fmla="*/ 4213 w 8454"/>
              <a:gd name="connsiteY13" fmla="*/ 9665 h 10000"/>
              <a:gd name="connsiteX14" fmla="*/ 4213 w 8454"/>
              <a:gd name="connsiteY14" fmla="*/ 335 h 10000"/>
              <a:gd name="connsiteX15" fmla="*/ 4246 w 8454"/>
              <a:gd name="connsiteY15" fmla="*/ 0 h 10000"/>
              <a:gd name="connsiteX16" fmla="*/ 4983 w 8454"/>
              <a:gd name="connsiteY16" fmla="*/ 0 h 10000"/>
              <a:gd name="connsiteX17" fmla="*/ 5016 w 8454"/>
              <a:gd name="connsiteY17" fmla="*/ 335 h 10000"/>
              <a:gd name="connsiteX18" fmla="*/ 5016 w 8454"/>
              <a:gd name="connsiteY18" fmla="*/ 8575 h 10000"/>
              <a:gd name="connsiteX19" fmla="*/ 5049 w 8454"/>
              <a:gd name="connsiteY19" fmla="*/ 8910 h 10000"/>
              <a:gd name="connsiteX20" fmla="*/ 6543 w 8454"/>
              <a:gd name="connsiteY20" fmla="*/ 8910 h 10000"/>
              <a:gd name="connsiteX21" fmla="*/ 6576 w 8454"/>
              <a:gd name="connsiteY21" fmla="*/ 8575 h 10000"/>
              <a:gd name="connsiteX22" fmla="*/ 6576 w 8454"/>
              <a:gd name="connsiteY22" fmla="*/ 1772 h 10000"/>
              <a:gd name="connsiteX23" fmla="*/ 6609 w 8454"/>
              <a:gd name="connsiteY23" fmla="*/ 1437 h 10000"/>
              <a:gd name="connsiteX24" fmla="*/ 7107 w 8454"/>
              <a:gd name="connsiteY24" fmla="*/ 1437 h 10000"/>
              <a:gd name="connsiteX25" fmla="*/ 7139 w 8454"/>
              <a:gd name="connsiteY25" fmla="*/ 1772 h 10000"/>
              <a:gd name="connsiteX26" fmla="*/ 7139 w 8454"/>
              <a:gd name="connsiteY26" fmla="*/ 3222 h 10000"/>
              <a:gd name="connsiteX27" fmla="*/ 7172 w 8454"/>
              <a:gd name="connsiteY27" fmla="*/ 3557 h 10000"/>
              <a:gd name="connsiteX28" fmla="*/ 8454 w 8454"/>
              <a:gd name="connsiteY28" fmla="*/ 3557 h 10000"/>
              <a:gd name="connsiteX0" fmla="*/ 0 w 9961"/>
              <a:gd name="connsiteY0" fmla="*/ 335 h 10000"/>
              <a:gd name="connsiteX1" fmla="*/ 0 w 9961"/>
              <a:gd name="connsiteY1" fmla="*/ 7533 h 10000"/>
              <a:gd name="connsiteX2" fmla="*/ 38 w 9961"/>
              <a:gd name="connsiteY2" fmla="*/ 7868 h 10000"/>
              <a:gd name="connsiteX3" fmla="*/ 1780 w 9961"/>
              <a:gd name="connsiteY3" fmla="*/ 7868 h 10000"/>
              <a:gd name="connsiteX4" fmla="*/ 1819 w 9961"/>
              <a:gd name="connsiteY4" fmla="*/ 7533 h 10000"/>
              <a:gd name="connsiteX5" fmla="*/ 1819 w 9961"/>
              <a:gd name="connsiteY5" fmla="*/ 1796 h 10000"/>
              <a:gd name="connsiteX6" fmla="*/ 1858 w 9961"/>
              <a:gd name="connsiteY6" fmla="*/ 1461 h 10000"/>
              <a:gd name="connsiteX7" fmla="*/ 3615 w 9961"/>
              <a:gd name="connsiteY7" fmla="*/ 1461 h 10000"/>
              <a:gd name="connsiteX8" fmla="*/ 3654 w 9961"/>
              <a:gd name="connsiteY8" fmla="*/ 1796 h 10000"/>
              <a:gd name="connsiteX9" fmla="*/ 3654 w 9961"/>
              <a:gd name="connsiteY9" fmla="*/ 9665 h 10000"/>
              <a:gd name="connsiteX10" fmla="*/ 3693 w 9961"/>
              <a:gd name="connsiteY10" fmla="*/ 10000 h 10000"/>
              <a:gd name="connsiteX11" fmla="*/ 4905 w 9961"/>
              <a:gd name="connsiteY11" fmla="*/ 10000 h 10000"/>
              <a:gd name="connsiteX12" fmla="*/ 4944 w 9961"/>
              <a:gd name="connsiteY12" fmla="*/ 9665 h 10000"/>
              <a:gd name="connsiteX13" fmla="*/ 4944 w 9961"/>
              <a:gd name="connsiteY13" fmla="*/ 335 h 10000"/>
              <a:gd name="connsiteX14" fmla="*/ 4983 w 9961"/>
              <a:gd name="connsiteY14" fmla="*/ 0 h 10000"/>
              <a:gd name="connsiteX15" fmla="*/ 5855 w 9961"/>
              <a:gd name="connsiteY15" fmla="*/ 0 h 10000"/>
              <a:gd name="connsiteX16" fmla="*/ 5894 w 9961"/>
              <a:gd name="connsiteY16" fmla="*/ 335 h 10000"/>
              <a:gd name="connsiteX17" fmla="*/ 5894 w 9961"/>
              <a:gd name="connsiteY17" fmla="*/ 8575 h 10000"/>
              <a:gd name="connsiteX18" fmla="*/ 5933 w 9961"/>
              <a:gd name="connsiteY18" fmla="*/ 8910 h 10000"/>
              <a:gd name="connsiteX19" fmla="*/ 7701 w 9961"/>
              <a:gd name="connsiteY19" fmla="*/ 8910 h 10000"/>
              <a:gd name="connsiteX20" fmla="*/ 7740 w 9961"/>
              <a:gd name="connsiteY20" fmla="*/ 8575 h 10000"/>
              <a:gd name="connsiteX21" fmla="*/ 7740 w 9961"/>
              <a:gd name="connsiteY21" fmla="*/ 1772 h 10000"/>
              <a:gd name="connsiteX22" fmla="*/ 7779 w 9961"/>
              <a:gd name="connsiteY22" fmla="*/ 1437 h 10000"/>
              <a:gd name="connsiteX23" fmla="*/ 8368 w 9961"/>
              <a:gd name="connsiteY23" fmla="*/ 1437 h 10000"/>
              <a:gd name="connsiteX24" fmla="*/ 8406 w 9961"/>
              <a:gd name="connsiteY24" fmla="*/ 1772 h 10000"/>
              <a:gd name="connsiteX25" fmla="*/ 8406 w 9961"/>
              <a:gd name="connsiteY25" fmla="*/ 3222 h 10000"/>
              <a:gd name="connsiteX26" fmla="*/ 8445 w 9961"/>
              <a:gd name="connsiteY26" fmla="*/ 3557 h 10000"/>
              <a:gd name="connsiteX27" fmla="*/ 9961 w 9961"/>
              <a:gd name="connsiteY27" fmla="*/ 3557 h 10000"/>
              <a:gd name="connsiteX0" fmla="*/ 0 w 10000"/>
              <a:gd name="connsiteY0" fmla="*/ 7533 h 10000"/>
              <a:gd name="connsiteX1" fmla="*/ 38 w 10000"/>
              <a:gd name="connsiteY1" fmla="*/ 7868 h 10000"/>
              <a:gd name="connsiteX2" fmla="*/ 1787 w 10000"/>
              <a:gd name="connsiteY2" fmla="*/ 7868 h 10000"/>
              <a:gd name="connsiteX3" fmla="*/ 1826 w 10000"/>
              <a:gd name="connsiteY3" fmla="*/ 7533 h 10000"/>
              <a:gd name="connsiteX4" fmla="*/ 1826 w 10000"/>
              <a:gd name="connsiteY4" fmla="*/ 1796 h 10000"/>
              <a:gd name="connsiteX5" fmla="*/ 1865 w 10000"/>
              <a:gd name="connsiteY5" fmla="*/ 1461 h 10000"/>
              <a:gd name="connsiteX6" fmla="*/ 3629 w 10000"/>
              <a:gd name="connsiteY6" fmla="*/ 1461 h 10000"/>
              <a:gd name="connsiteX7" fmla="*/ 3668 w 10000"/>
              <a:gd name="connsiteY7" fmla="*/ 1796 h 10000"/>
              <a:gd name="connsiteX8" fmla="*/ 3668 w 10000"/>
              <a:gd name="connsiteY8" fmla="*/ 9665 h 10000"/>
              <a:gd name="connsiteX9" fmla="*/ 3707 w 10000"/>
              <a:gd name="connsiteY9" fmla="*/ 10000 h 10000"/>
              <a:gd name="connsiteX10" fmla="*/ 4924 w 10000"/>
              <a:gd name="connsiteY10" fmla="*/ 10000 h 10000"/>
              <a:gd name="connsiteX11" fmla="*/ 4963 w 10000"/>
              <a:gd name="connsiteY11" fmla="*/ 9665 h 10000"/>
              <a:gd name="connsiteX12" fmla="*/ 4963 w 10000"/>
              <a:gd name="connsiteY12" fmla="*/ 335 h 10000"/>
              <a:gd name="connsiteX13" fmla="*/ 5003 w 10000"/>
              <a:gd name="connsiteY13" fmla="*/ 0 h 10000"/>
              <a:gd name="connsiteX14" fmla="*/ 5878 w 10000"/>
              <a:gd name="connsiteY14" fmla="*/ 0 h 10000"/>
              <a:gd name="connsiteX15" fmla="*/ 5917 w 10000"/>
              <a:gd name="connsiteY15" fmla="*/ 335 h 10000"/>
              <a:gd name="connsiteX16" fmla="*/ 5917 w 10000"/>
              <a:gd name="connsiteY16" fmla="*/ 8575 h 10000"/>
              <a:gd name="connsiteX17" fmla="*/ 5956 w 10000"/>
              <a:gd name="connsiteY17" fmla="*/ 8910 h 10000"/>
              <a:gd name="connsiteX18" fmla="*/ 7731 w 10000"/>
              <a:gd name="connsiteY18" fmla="*/ 8910 h 10000"/>
              <a:gd name="connsiteX19" fmla="*/ 7770 w 10000"/>
              <a:gd name="connsiteY19" fmla="*/ 8575 h 10000"/>
              <a:gd name="connsiteX20" fmla="*/ 7770 w 10000"/>
              <a:gd name="connsiteY20" fmla="*/ 1772 h 10000"/>
              <a:gd name="connsiteX21" fmla="*/ 7809 w 10000"/>
              <a:gd name="connsiteY21" fmla="*/ 1437 h 10000"/>
              <a:gd name="connsiteX22" fmla="*/ 8401 w 10000"/>
              <a:gd name="connsiteY22" fmla="*/ 1437 h 10000"/>
              <a:gd name="connsiteX23" fmla="*/ 8439 w 10000"/>
              <a:gd name="connsiteY23" fmla="*/ 1772 h 10000"/>
              <a:gd name="connsiteX24" fmla="*/ 8439 w 10000"/>
              <a:gd name="connsiteY24" fmla="*/ 3222 h 10000"/>
              <a:gd name="connsiteX25" fmla="*/ 8478 w 10000"/>
              <a:gd name="connsiteY25" fmla="*/ 3557 h 10000"/>
              <a:gd name="connsiteX26" fmla="*/ 10000 w 10000"/>
              <a:gd name="connsiteY26" fmla="*/ 3557 h 10000"/>
              <a:gd name="connsiteX0" fmla="*/ 0 w 9962"/>
              <a:gd name="connsiteY0" fmla="*/ 7868 h 10000"/>
              <a:gd name="connsiteX1" fmla="*/ 1749 w 9962"/>
              <a:gd name="connsiteY1" fmla="*/ 7868 h 10000"/>
              <a:gd name="connsiteX2" fmla="*/ 1788 w 9962"/>
              <a:gd name="connsiteY2" fmla="*/ 7533 h 10000"/>
              <a:gd name="connsiteX3" fmla="*/ 1788 w 9962"/>
              <a:gd name="connsiteY3" fmla="*/ 1796 h 10000"/>
              <a:gd name="connsiteX4" fmla="*/ 1827 w 9962"/>
              <a:gd name="connsiteY4" fmla="*/ 1461 h 10000"/>
              <a:gd name="connsiteX5" fmla="*/ 3591 w 9962"/>
              <a:gd name="connsiteY5" fmla="*/ 1461 h 10000"/>
              <a:gd name="connsiteX6" fmla="*/ 3630 w 9962"/>
              <a:gd name="connsiteY6" fmla="*/ 1796 h 10000"/>
              <a:gd name="connsiteX7" fmla="*/ 3630 w 9962"/>
              <a:gd name="connsiteY7" fmla="*/ 9665 h 10000"/>
              <a:gd name="connsiteX8" fmla="*/ 3669 w 9962"/>
              <a:gd name="connsiteY8" fmla="*/ 10000 h 10000"/>
              <a:gd name="connsiteX9" fmla="*/ 4886 w 9962"/>
              <a:gd name="connsiteY9" fmla="*/ 10000 h 10000"/>
              <a:gd name="connsiteX10" fmla="*/ 4925 w 9962"/>
              <a:gd name="connsiteY10" fmla="*/ 9665 h 10000"/>
              <a:gd name="connsiteX11" fmla="*/ 4925 w 9962"/>
              <a:gd name="connsiteY11" fmla="*/ 335 h 10000"/>
              <a:gd name="connsiteX12" fmla="*/ 4965 w 9962"/>
              <a:gd name="connsiteY12" fmla="*/ 0 h 10000"/>
              <a:gd name="connsiteX13" fmla="*/ 5840 w 9962"/>
              <a:gd name="connsiteY13" fmla="*/ 0 h 10000"/>
              <a:gd name="connsiteX14" fmla="*/ 5879 w 9962"/>
              <a:gd name="connsiteY14" fmla="*/ 335 h 10000"/>
              <a:gd name="connsiteX15" fmla="*/ 5879 w 9962"/>
              <a:gd name="connsiteY15" fmla="*/ 8575 h 10000"/>
              <a:gd name="connsiteX16" fmla="*/ 5918 w 9962"/>
              <a:gd name="connsiteY16" fmla="*/ 8910 h 10000"/>
              <a:gd name="connsiteX17" fmla="*/ 7693 w 9962"/>
              <a:gd name="connsiteY17" fmla="*/ 8910 h 10000"/>
              <a:gd name="connsiteX18" fmla="*/ 7732 w 9962"/>
              <a:gd name="connsiteY18" fmla="*/ 8575 h 10000"/>
              <a:gd name="connsiteX19" fmla="*/ 7732 w 9962"/>
              <a:gd name="connsiteY19" fmla="*/ 1772 h 10000"/>
              <a:gd name="connsiteX20" fmla="*/ 7771 w 9962"/>
              <a:gd name="connsiteY20" fmla="*/ 1437 h 10000"/>
              <a:gd name="connsiteX21" fmla="*/ 8363 w 9962"/>
              <a:gd name="connsiteY21" fmla="*/ 1437 h 10000"/>
              <a:gd name="connsiteX22" fmla="*/ 8401 w 9962"/>
              <a:gd name="connsiteY22" fmla="*/ 1772 h 10000"/>
              <a:gd name="connsiteX23" fmla="*/ 8401 w 9962"/>
              <a:gd name="connsiteY23" fmla="*/ 3222 h 10000"/>
              <a:gd name="connsiteX24" fmla="*/ 8440 w 9962"/>
              <a:gd name="connsiteY24" fmla="*/ 3557 h 10000"/>
              <a:gd name="connsiteX25" fmla="*/ 9962 w 9962"/>
              <a:gd name="connsiteY25" fmla="*/ 3557 h 10000"/>
              <a:gd name="connsiteX0" fmla="*/ 0 w 8472"/>
              <a:gd name="connsiteY0" fmla="*/ 7868 h 10000"/>
              <a:gd name="connsiteX1" fmla="*/ 1756 w 8472"/>
              <a:gd name="connsiteY1" fmla="*/ 7868 h 10000"/>
              <a:gd name="connsiteX2" fmla="*/ 1795 w 8472"/>
              <a:gd name="connsiteY2" fmla="*/ 7533 h 10000"/>
              <a:gd name="connsiteX3" fmla="*/ 1795 w 8472"/>
              <a:gd name="connsiteY3" fmla="*/ 1796 h 10000"/>
              <a:gd name="connsiteX4" fmla="*/ 1834 w 8472"/>
              <a:gd name="connsiteY4" fmla="*/ 1461 h 10000"/>
              <a:gd name="connsiteX5" fmla="*/ 3605 w 8472"/>
              <a:gd name="connsiteY5" fmla="*/ 1461 h 10000"/>
              <a:gd name="connsiteX6" fmla="*/ 3644 w 8472"/>
              <a:gd name="connsiteY6" fmla="*/ 1796 h 10000"/>
              <a:gd name="connsiteX7" fmla="*/ 3644 w 8472"/>
              <a:gd name="connsiteY7" fmla="*/ 9665 h 10000"/>
              <a:gd name="connsiteX8" fmla="*/ 3683 w 8472"/>
              <a:gd name="connsiteY8" fmla="*/ 10000 h 10000"/>
              <a:gd name="connsiteX9" fmla="*/ 4905 w 8472"/>
              <a:gd name="connsiteY9" fmla="*/ 10000 h 10000"/>
              <a:gd name="connsiteX10" fmla="*/ 4944 w 8472"/>
              <a:gd name="connsiteY10" fmla="*/ 9665 h 10000"/>
              <a:gd name="connsiteX11" fmla="*/ 4944 w 8472"/>
              <a:gd name="connsiteY11" fmla="*/ 335 h 10000"/>
              <a:gd name="connsiteX12" fmla="*/ 4984 w 8472"/>
              <a:gd name="connsiteY12" fmla="*/ 0 h 10000"/>
              <a:gd name="connsiteX13" fmla="*/ 5862 w 8472"/>
              <a:gd name="connsiteY13" fmla="*/ 0 h 10000"/>
              <a:gd name="connsiteX14" fmla="*/ 5901 w 8472"/>
              <a:gd name="connsiteY14" fmla="*/ 335 h 10000"/>
              <a:gd name="connsiteX15" fmla="*/ 5901 w 8472"/>
              <a:gd name="connsiteY15" fmla="*/ 8575 h 10000"/>
              <a:gd name="connsiteX16" fmla="*/ 5941 w 8472"/>
              <a:gd name="connsiteY16" fmla="*/ 8910 h 10000"/>
              <a:gd name="connsiteX17" fmla="*/ 7722 w 8472"/>
              <a:gd name="connsiteY17" fmla="*/ 8910 h 10000"/>
              <a:gd name="connsiteX18" fmla="*/ 7761 w 8472"/>
              <a:gd name="connsiteY18" fmla="*/ 8575 h 10000"/>
              <a:gd name="connsiteX19" fmla="*/ 7761 w 8472"/>
              <a:gd name="connsiteY19" fmla="*/ 1772 h 10000"/>
              <a:gd name="connsiteX20" fmla="*/ 7801 w 8472"/>
              <a:gd name="connsiteY20" fmla="*/ 1437 h 10000"/>
              <a:gd name="connsiteX21" fmla="*/ 8395 w 8472"/>
              <a:gd name="connsiteY21" fmla="*/ 1437 h 10000"/>
              <a:gd name="connsiteX22" fmla="*/ 8433 w 8472"/>
              <a:gd name="connsiteY22" fmla="*/ 1772 h 10000"/>
              <a:gd name="connsiteX23" fmla="*/ 8433 w 8472"/>
              <a:gd name="connsiteY23" fmla="*/ 3222 h 10000"/>
              <a:gd name="connsiteX24" fmla="*/ 8472 w 8472"/>
              <a:gd name="connsiteY24" fmla="*/ 3557 h 10000"/>
              <a:gd name="connsiteX0" fmla="*/ 0 w 9954"/>
              <a:gd name="connsiteY0" fmla="*/ 7868 h 10000"/>
              <a:gd name="connsiteX1" fmla="*/ 2073 w 9954"/>
              <a:gd name="connsiteY1" fmla="*/ 7868 h 10000"/>
              <a:gd name="connsiteX2" fmla="*/ 2119 w 9954"/>
              <a:gd name="connsiteY2" fmla="*/ 7533 h 10000"/>
              <a:gd name="connsiteX3" fmla="*/ 2119 w 9954"/>
              <a:gd name="connsiteY3" fmla="*/ 1796 h 10000"/>
              <a:gd name="connsiteX4" fmla="*/ 2165 w 9954"/>
              <a:gd name="connsiteY4" fmla="*/ 1461 h 10000"/>
              <a:gd name="connsiteX5" fmla="*/ 4255 w 9954"/>
              <a:gd name="connsiteY5" fmla="*/ 1461 h 10000"/>
              <a:gd name="connsiteX6" fmla="*/ 4301 w 9954"/>
              <a:gd name="connsiteY6" fmla="*/ 1796 h 10000"/>
              <a:gd name="connsiteX7" fmla="*/ 4301 w 9954"/>
              <a:gd name="connsiteY7" fmla="*/ 9665 h 10000"/>
              <a:gd name="connsiteX8" fmla="*/ 4347 w 9954"/>
              <a:gd name="connsiteY8" fmla="*/ 10000 h 10000"/>
              <a:gd name="connsiteX9" fmla="*/ 5790 w 9954"/>
              <a:gd name="connsiteY9" fmla="*/ 10000 h 10000"/>
              <a:gd name="connsiteX10" fmla="*/ 5836 w 9954"/>
              <a:gd name="connsiteY10" fmla="*/ 9665 h 10000"/>
              <a:gd name="connsiteX11" fmla="*/ 5836 w 9954"/>
              <a:gd name="connsiteY11" fmla="*/ 335 h 10000"/>
              <a:gd name="connsiteX12" fmla="*/ 5883 w 9954"/>
              <a:gd name="connsiteY12" fmla="*/ 0 h 10000"/>
              <a:gd name="connsiteX13" fmla="*/ 6919 w 9954"/>
              <a:gd name="connsiteY13" fmla="*/ 0 h 10000"/>
              <a:gd name="connsiteX14" fmla="*/ 6965 w 9954"/>
              <a:gd name="connsiteY14" fmla="*/ 335 h 10000"/>
              <a:gd name="connsiteX15" fmla="*/ 6965 w 9954"/>
              <a:gd name="connsiteY15" fmla="*/ 8575 h 10000"/>
              <a:gd name="connsiteX16" fmla="*/ 7013 w 9954"/>
              <a:gd name="connsiteY16" fmla="*/ 8910 h 10000"/>
              <a:gd name="connsiteX17" fmla="*/ 9115 w 9954"/>
              <a:gd name="connsiteY17" fmla="*/ 8910 h 10000"/>
              <a:gd name="connsiteX18" fmla="*/ 9161 w 9954"/>
              <a:gd name="connsiteY18" fmla="*/ 8575 h 10000"/>
              <a:gd name="connsiteX19" fmla="*/ 9161 w 9954"/>
              <a:gd name="connsiteY19" fmla="*/ 1772 h 10000"/>
              <a:gd name="connsiteX20" fmla="*/ 9208 w 9954"/>
              <a:gd name="connsiteY20" fmla="*/ 1437 h 10000"/>
              <a:gd name="connsiteX21" fmla="*/ 9909 w 9954"/>
              <a:gd name="connsiteY21" fmla="*/ 1437 h 10000"/>
              <a:gd name="connsiteX22" fmla="*/ 9954 w 9954"/>
              <a:gd name="connsiteY22" fmla="*/ 1772 h 10000"/>
              <a:gd name="connsiteX23" fmla="*/ 9954 w 9954"/>
              <a:gd name="connsiteY23" fmla="*/ 3222 h 10000"/>
              <a:gd name="connsiteX0" fmla="*/ 0 w 10000"/>
              <a:gd name="connsiteY0" fmla="*/ 7868 h 10000"/>
              <a:gd name="connsiteX1" fmla="*/ 2083 w 10000"/>
              <a:gd name="connsiteY1" fmla="*/ 7868 h 10000"/>
              <a:gd name="connsiteX2" fmla="*/ 2129 w 10000"/>
              <a:gd name="connsiteY2" fmla="*/ 7533 h 10000"/>
              <a:gd name="connsiteX3" fmla="*/ 2129 w 10000"/>
              <a:gd name="connsiteY3" fmla="*/ 1796 h 10000"/>
              <a:gd name="connsiteX4" fmla="*/ 2175 w 10000"/>
              <a:gd name="connsiteY4" fmla="*/ 1461 h 10000"/>
              <a:gd name="connsiteX5" fmla="*/ 4275 w 10000"/>
              <a:gd name="connsiteY5" fmla="*/ 1461 h 10000"/>
              <a:gd name="connsiteX6" fmla="*/ 4321 w 10000"/>
              <a:gd name="connsiteY6" fmla="*/ 1796 h 10000"/>
              <a:gd name="connsiteX7" fmla="*/ 4321 w 10000"/>
              <a:gd name="connsiteY7" fmla="*/ 9665 h 10000"/>
              <a:gd name="connsiteX8" fmla="*/ 4367 w 10000"/>
              <a:gd name="connsiteY8" fmla="*/ 10000 h 10000"/>
              <a:gd name="connsiteX9" fmla="*/ 5817 w 10000"/>
              <a:gd name="connsiteY9" fmla="*/ 10000 h 10000"/>
              <a:gd name="connsiteX10" fmla="*/ 5863 w 10000"/>
              <a:gd name="connsiteY10" fmla="*/ 9665 h 10000"/>
              <a:gd name="connsiteX11" fmla="*/ 5863 w 10000"/>
              <a:gd name="connsiteY11" fmla="*/ 335 h 10000"/>
              <a:gd name="connsiteX12" fmla="*/ 5910 w 10000"/>
              <a:gd name="connsiteY12" fmla="*/ 0 h 10000"/>
              <a:gd name="connsiteX13" fmla="*/ 6951 w 10000"/>
              <a:gd name="connsiteY13" fmla="*/ 0 h 10000"/>
              <a:gd name="connsiteX14" fmla="*/ 6997 w 10000"/>
              <a:gd name="connsiteY14" fmla="*/ 335 h 10000"/>
              <a:gd name="connsiteX15" fmla="*/ 6997 w 10000"/>
              <a:gd name="connsiteY15" fmla="*/ 8575 h 10000"/>
              <a:gd name="connsiteX16" fmla="*/ 7045 w 10000"/>
              <a:gd name="connsiteY16" fmla="*/ 8910 h 10000"/>
              <a:gd name="connsiteX17" fmla="*/ 9157 w 10000"/>
              <a:gd name="connsiteY17" fmla="*/ 8910 h 10000"/>
              <a:gd name="connsiteX18" fmla="*/ 9203 w 10000"/>
              <a:gd name="connsiteY18" fmla="*/ 8575 h 10000"/>
              <a:gd name="connsiteX19" fmla="*/ 9203 w 10000"/>
              <a:gd name="connsiteY19" fmla="*/ 1772 h 10000"/>
              <a:gd name="connsiteX20" fmla="*/ 9251 w 10000"/>
              <a:gd name="connsiteY20" fmla="*/ 1437 h 10000"/>
              <a:gd name="connsiteX21" fmla="*/ 9955 w 10000"/>
              <a:gd name="connsiteY21" fmla="*/ 1437 h 10000"/>
              <a:gd name="connsiteX22" fmla="*/ 10000 w 10000"/>
              <a:gd name="connsiteY22" fmla="*/ 1772 h 10000"/>
              <a:gd name="connsiteX0" fmla="*/ 0 w 9955"/>
              <a:gd name="connsiteY0" fmla="*/ 7868 h 10000"/>
              <a:gd name="connsiteX1" fmla="*/ 2083 w 9955"/>
              <a:gd name="connsiteY1" fmla="*/ 7868 h 10000"/>
              <a:gd name="connsiteX2" fmla="*/ 2129 w 9955"/>
              <a:gd name="connsiteY2" fmla="*/ 7533 h 10000"/>
              <a:gd name="connsiteX3" fmla="*/ 2129 w 9955"/>
              <a:gd name="connsiteY3" fmla="*/ 1796 h 10000"/>
              <a:gd name="connsiteX4" fmla="*/ 2175 w 9955"/>
              <a:gd name="connsiteY4" fmla="*/ 1461 h 10000"/>
              <a:gd name="connsiteX5" fmla="*/ 4275 w 9955"/>
              <a:gd name="connsiteY5" fmla="*/ 1461 h 10000"/>
              <a:gd name="connsiteX6" fmla="*/ 4321 w 9955"/>
              <a:gd name="connsiteY6" fmla="*/ 1796 h 10000"/>
              <a:gd name="connsiteX7" fmla="*/ 4321 w 9955"/>
              <a:gd name="connsiteY7" fmla="*/ 9665 h 10000"/>
              <a:gd name="connsiteX8" fmla="*/ 4367 w 9955"/>
              <a:gd name="connsiteY8" fmla="*/ 10000 h 10000"/>
              <a:gd name="connsiteX9" fmla="*/ 5817 w 9955"/>
              <a:gd name="connsiteY9" fmla="*/ 10000 h 10000"/>
              <a:gd name="connsiteX10" fmla="*/ 5863 w 9955"/>
              <a:gd name="connsiteY10" fmla="*/ 9665 h 10000"/>
              <a:gd name="connsiteX11" fmla="*/ 5863 w 9955"/>
              <a:gd name="connsiteY11" fmla="*/ 335 h 10000"/>
              <a:gd name="connsiteX12" fmla="*/ 5910 w 9955"/>
              <a:gd name="connsiteY12" fmla="*/ 0 h 10000"/>
              <a:gd name="connsiteX13" fmla="*/ 6951 w 9955"/>
              <a:gd name="connsiteY13" fmla="*/ 0 h 10000"/>
              <a:gd name="connsiteX14" fmla="*/ 6997 w 9955"/>
              <a:gd name="connsiteY14" fmla="*/ 335 h 10000"/>
              <a:gd name="connsiteX15" fmla="*/ 6997 w 9955"/>
              <a:gd name="connsiteY15" fmla="*/ 8575 h 10000"/>
              <a:gd name="connsiteX16" fmla="*/ 7045 w 9955"/>
              <a:gd name="connsiteY16" fmla="*/ 8910 h 10000"/>
              <a:gd name="connsiteX17" fmla="*/ 9157 w 9955"/>
              <a:gd name="connsiteY17" fmla="*/ 8910 h 10000"/>
              <a:gd name="connsiteX18" fmla="*/ 9203 w 9955"/>
              <a:gd name="connsiteY18" fmla="*/ 8575 h 10000"/>
              <a:gd name="connsiteX19" fmla="*/ 9203 w 9955"/>
              <a:gd name="connsiteY19" fmla="*/ 1772 h 10000"/>
              <a:gd name="connsiteX20" fmla="*/ 9251 w 9955"/>
              <a:gd name="connsiteY20" fmla="*/ 1437 h 10000"/>
              <a:gd name="connsiteX21" fmla="*/ 9955 w 9955"/>
              <a:gd name="connsiteY21" fmla="*/ 1437 h 10000"/>
              <a:gd name="connsiteX0" fmla="*/ 0 w 9293"/>
              <a:gd name="connsiteY0" fmla="*/ 7868 h 10000"/>
              <a:gd name="connsiteX1" fmla="*/ 2092 w 9293"/>
              <a:gd name="connsiteY1" fmla="*/ 7868 h 10000"/>
              <a:gd name="connsiteX2" fmla="*/ 2139 w 9293"/>
              <a:gd name="connsiteY2" fmla="*/ 7533 h 10000"/>
              <a:gd name="connsiteX3" fmla="*/ 2139 w 9293"/>
              <a:gd name="connsiteY3" fmla="*/ 1796 h 10000"/>
              <a:gd name="connsiteX4" fmla="*/ 2185 w 9293"/>
              <a:gd name="connsiteY4" fmla="*/ 1461 h 10000"/>
              <a:gd name="connsiteX5" fmla="*/ 4294 w 9293"/>
              <a:gd name="connsiteY5" fmla="*/ 1461 h 10000"/>
              <a:gd name="connsiteX6" fmla="*/ 4341 w 9293"/>
              <a:gd name="connsiteY6" fmla="*/ 1796 h 10000"/>
              <a:gd name="connsiteX7" fmla="*/ 4341 w 9293"/>
              <a:gd name="connsiteY7" fmla="*/ 9665 h 10000"/>
              <a:gd name="connsiteX8" fmla="*/ 4387 w 9293"/>
              <a:gd name="connsiteY8" fmla="*/ 10000 h 10000"/>
              <a:gd name="connsiteX9" fmla="*/ 5843 w 9293"/>
              <a:gd name="connsiteY9" fmla="*/ 10000 h 10000"/>
              <a:gd name="connsiteX10" fmla="*/ 5890 w 9293"/>
              <a:gd name="connsiteY10" fmla="*/ 9665 h 10000"/>
              <a:gd name="connsiteX11" fmla="*/ 5890 w 9293"/>
              <a:gd name="connsiteY11" fmla="*/ 335 h 10000"/>
              <a:gd name="connsiteX12" fmla="*/ 5937 w 9293"/>
              <a:gd name="connsiteY12" fmla="*/ 0 h 10000"/>
              <a:gd name="connsiteX13" fmla="*/ 6982 w 9293"/>
              <a:gd name="connsiteY13" fmla="*/ 0 h 10000"/>
              <a:gd name="connsiteX14" fmla="*/ 7029 w 9293"/>
              <a:gd name="connsiteY14" fmla="*/ 335 h 10000"/>
              <a:gd name="connsiteX15" fmla="*/ 7029 w 9293"/>
              <a:gd name="connsiteY15" fmla="*/ 8575 h 10000"/>
              <a:gd name="connsiteX16" fmla="*/ 7077 w 9293"/>
              <a:gd name="connsiteY16" fmla="*/ 8910 h 10000"/>
              <a:gd name="connsiteX17" fmla="*/ 9198 w 9293"/>
              <a:gd name="connsiteY17" fmla="*/ 8910 h 10000"/>
              <a:gd name="connsiteX18" fmla="*/ 9245 w 9293"/>
              <a:gd name="connsiteY18" fmla="*/ 8575 h 10000"/>
              <a:gd name="connsiteX19" fmla="*/ 9245 w 9293"/>
              <a:gd name="connsiteY19" fmla="*/ 1772 h 10000"/>
              <a:gd name="connsiteX20" fmla="*/ 9293 w 9293"/>
              <a:gd name="connsiteY20" fmla="*/ 1437 h 10000"/>
              <a:gd name="connsiteX0" fmla="*/ 0 w 9948"/>
              <a:gd name="connsiteY0" fmla="*/ 7868 h 10000"/>
              <a:gd name="connsiteX1" fmla="*/ 2251 w 9948"/>
              <a:gd name="connsiteY1" fmla="*/ 7868 h 10000"/>
              <a:gd name="connsiteX2" fmla="*/ 2302 w 9948"/>
              <a:gd name="connsiteY2" fmla="*/ 7533 h 10000"/>
              <a:gd name="connsiteX3" fmla="*/ 2302 w 9948"/>
              <a:gd name="connsiteY3" fmla="*/ 1796 h 10000"/>
              <a:gd name="connsiteX4" fmla="*/ 2351 w 9948"/>
              <a:gd name="connsiteY4" fmla="*/ 1461 h 10000"/>
              <a:gd name="connsiteX5" fmla="*/ 4621 w 9948"/>
              <a:gd name="connsiteY5" fmla="*/ 1461 h 10000"/>
              <a:gd name="connsiteX6" fmla="*/ 4671 w 9948"/>
              <a:gd name="connsiteY6" fmla="*/ 1796 h 10000"/>
              <a:gd name="connsiteX7" fmla="*/ 4671 w 9948"/>
              <a:gd name="connsiteY7" fmla="*/ 9665 h 10000"/>
              <a:gd name="connsiteX8" fmla="*/ 4721 w 9948"/>
              <a:gd name="connsiteY8" fmla="*/ 10000 h 10000"/>
              <a:gd name="connsiteX9" fmla="*/ 6288 w 9948"/>
              <a:gd name="connsiteY9" fmla="*/ 10000 h 10000"/>
              <a:gd name="connsiteX10" fmla="*/ 6338 w 9948"/>
              <a:gd name="connsiteY10" fmla="*/ 9665 h 10000"/>
              <a:gd name="connsiteX11" fmla="*/ 6338 w 9948"/>
              <a:gd name="connsiteY11" fmla="*/ 335 h 10000"/>
              <a:gd name="connsiteX12" fmla="*/ 6389 w 9948"/>
              <a:gd name="connsiteY12" fmla="*/ 0 h 10000"/>
              <a:gd name="connsiteX13" fmla="*/ 7513 w 9948"/>
              <a:gd name="connsiteY13" fmla="*/ 0 h 10000"/>
              <a:gd name="connsiteX14" fmla="*/ 7564 w 9948"/>
              <a:gd name="connsiteY14" fmla="*/ 335 h 10000"/>
              <a:gd name="connsiteX15" fmla="*/ 7564 w 9948"/>
              <a:gd name="connsiteY15" fmla="*/ 8575 h 10000"/>
              <a:gd name="connsiteX16" fmla="*/ 7615 w 9948"/>
              <a:gd name="connsiteY16" fmla="*/ 8910 h 10000"/>
              <a:gd name="connsiteX17" fmla="*/ 9898 w 9948"/>
              <a:gd name="connsiteY17" fmla="*/ 8910 h 10000"/>
              <a:gd name="connsiteX18" fmla="*/ 9948 w 9948"/>
              <a:gd name="connsiteY18" fmla="*/ 8575 h 10000"/>
              <a:gd name="connsiteX19" fmla="*/ 9948 w 9948"/>
              <a:gd name="connsiteY19" fmla="*/ 1772 h 10000"/>
              <a:gd name="connsiteX0" fmla="*/ 0 w 10000"/>
              <a:gd name="connsiteY0" fmla="*/ 7868 h 10000"/>
              <a:gd name="connsiteX1" fmla="*/ 2263 w 10000"/>
              <a:gd name="connsiteY1" fmla="*/ 7868 h 10000"/>
              <a:gd name="connsiteX2" fmla="*/ 2314 w 10000"/>
              <a:gd name="connsiteY2" fmla="*/ 7533 h 10000"/>
              <a:gd name="connsiteX3" fmla="*/ 2314 w 10000"/>
              <a:gd name="connsiteY3" fmla="*/ 1796 h 10000"/>
              <a:gd name="connsiteX4" fmla="*/ 2363 w 10000"/>
              <a:gd name="connsiteY4" fmla="*/ 1461 h 10000"/>
              <a:gd name="connsiteX5" fmla="*/ 4645 w 10000"/>
              <a:gd name="connsiteY5" fmla="*/ 1461 h 10000"/>
              <a:gd name="connsiteX6" fmla="*/ 4695 w 10000"/>
              <a:gd name="connsiteY6" fmla="*/ 1796 h 10000"/>
              <a:gd name="connsiteX7" fmla="*/ 4695 w 10000"/>
              <a:gd name="connsiteY7" fmla="*/ 9665 h 10000"/>
              <a:gd name="connsiteX8" fmla="*/ 4746 w 10000"/>
              <a:gd name="connsiteY8" fmla="*/ 10000 h 10000"/>
              <a:gd name="connsiteX9" fmla="*/ 6321 w 10000"/>
              <a:gd name="connsiteY9" fmla="*/ 10000 h 10000"/>
              <a:gd name="connsiteX10" fmla="*/ 6371 w 10000"/>
              <a:gd name="connsiteY10" fmla="*/ 9665 h 10000"/>
              <a:gd name="connsiteX11" fmla="*/ 6371 w 10000"/>
              <a:gd name="connsiteY11" fmla="*/ 335 h 10000"/>
              <a:gd name="connsiteX12" fmla="*/ 6422 w 10000"/>
              <a:gd name="connsiteY12" fmla="*/ 0 h 10000"/>
              <a:gd name="connsiteX13" fmla="*/ 7552 w 10000"/>
              <a:gd name="connsiteY13" fmla="*/ 0 h 10000"/>
              <a:gd name="connsiteX14" fmla="*/ 7604 w 10000"/>
              <a:gd name="connsiteY14" fmla="*/ 335 h 10000"/>
              <a:gd name="connsiteX15" fmla="*/ 7604 w 10000"/>
              <a:gd name="connsiteY15" fmla="*/ 8575 h 10000"/>
              <a:gd name="connsiteX16" fmla="*/ 7655 w 10000"/>
              <a:gd name="connsiteY16" fmla="*/ 8910 h 10000"/>
              <a:gd name="connsiteX17" fmla="*/ 9950 w 10000"/>
              <a:gd name="connsiteY17" fmla="*/ 8910 h 10000"/>
              <a:gd name="connsiteX18" fmla="*/ 10000 w 10000"/>
              <a:gd name="connsiteY18" fmla="*/ 8575 h 10000"/>
              <a:gd name="connsiteX0" fmla="*/ 0 w 8266"/>
              <a:gd name="connsiteY0" fmla="*/ 7916 h 10000"/>
              <a:gd name="connsiteX1" fmla="*/ 529 w 8266"/>
              <a:gd name="connsiteY1" fmla="*/ 7868 h 10000"/>
              <a:gd name="connsiteX2" fmla="*/ 580 w 8266"/>
              <a:gd name="connsiteY2" fmla="*/ 7533 h 10000"/>
              <a:gd name="connsiteX3" fmla="*/ 580 w 8266"/>
              <a:gd name="connsiteY3" fmla="*/ 1796 h 10000"/>
              <a:gd name="connsiteX4" fmla="*/ 629 w 8266"/>
              <a:gd name="connsiteY4" fmla="*/ 1461 h 10000"/>
              <a:gd name="connsiteX5" fmla="*/ 2911 w 8266"/>
              <a:gd name="connsiteY5" fmla="*/ 1461 h 10000"/>
              <a:gd name="connsiteX6" fmla="*/ 2961 w 8266"/>
              <a:gd name="connsiteY6" fmla="*/ 1796 h 10000"/>
              <a:gd name="connsiteX7" fmla="*/ 2961 w 8266"/>
              <a:gd name="connsiteY7" fmla="*/ 9665 h 10000"/>
              <a:gd name="connsiteX8" fmla="*/ 3012 w 8266"/>
              <a:gd name="connsiteY8" fmla="*/ 10000 h 10000"/>
              <a:gd name="connsiteX9" fmla="*/ 4587 w 8266"/>
              <a:gd name="connsiteY9" fmla="*/ 10000 h 10000"/>
              <a:gd name="connsiteX10" fmla="*/ 4637 w 8266"/>
              <a:gd name="connsiteY10" fmla="*/ 9665 h 10000"/>
              <a:gd name="connsiteX11" fmla="*/ 4637 w 8266"/>
              <a:gd name="connsiteY11" fmla="*/ 335 h 10000"/>
              <a:gd name="connsiteX12" fmla="*/ 4688 w 8266"/>
              <a:gd name="connsiteY12" fmla="*/ 0 h 10000"/>
              <a:gd name="connsiteX13" fmla="*/ 5818 w 8266"/>
              <a:gd name="connsiteY13" fmla="*/ 0 h 10000"/>
              <a:gd name="connsiteX14" fmla="*/ 5870 w 8266"/>
              <a:gd name="connsiteY14" fmla="*/ 335 h 10000"/>
              <a:gd name="connsiteX15" fmla="*/ 5870 w 8266"/>
              <a:gd name="connsiteY15" fmla="*/ 8575 h 10000"/>
              <a:gd name="connsiteX16" fmla="*/ 5921 w 8266"/>
              <a:gd name="connsiteY16" fmla="*/ 8910 h 10000"/>
              <a:gd name="connsiteX17" fmla="*/ 8216 w 8266"/>
              <a:gd name="connsiteY17" fmla="*/ 8910 h 10000"/>
              <a:gd name="connsiteX18" fmla="*/ 8266 w 8266"/>
              <a:gd name="connsiteY18" fmla="*/ 8575 h 10000"/>
              <a:gd name="connsiteX0" fmla="*/ 0 w 10000"/>
              <a:gd name="connsiteY0" fmla="*/ 7916 h 10000"/>
              <a:gd name="connsiteX1" fmla="*/ 640 w 10000"/>
              <a:gd name="connsiteY1" fmla="*/ 7868 h 10000"/>
              <a:gd name="connsiteX2" fmla="*/ 702 w 10000"/>
              <a:gd name="connsiteY2" fmla="*/ 7533 h 10000"/>
              <a:gd name="connsiteX3" fmla="*/ 702 w 10000"/>
              <a:gd name="connsiteY3" fmla="*/ 1796 h 10000"/>
              <a:gd name="connsiteX4" fmla="*/ 761 w 10000"/>
              <a:gd name="connsiteY4" fmla="*/ 1461 h 10000"/>
              <a:gd name="connsiteX5" fmla="*/ 3522 w 10000"/>
              <a:gd name="connsiteY5" fmla="*/ 1461 h 10000"/>
              <a:gd name="connsiteX6" fmla="*/ 3582 w 10000"/>
              <a:gd name="connsiteY6" fmla="*/ 1796 h 10000"/>
              <a:gd name="connsiteX7" fmla="*/ 3582 w 10000"/>
              <a:gd name="connsiteY7" fmla="*/ 9665 h 10000"/>
              <a:gd name="connsiteX8" fmla="*/ 3644 w 10000"/>
              <a:gd name="connsiteY8" fmla="*/ 10000 h 10000"/>
              <a:gd name="connsiteX9" fmla="*/ 5549 w 10000"/>
              <a:gd name="connsiteY9" fmla="*/ 10000 h 10000"/>
              <a:gd name="connsiteX10" fmla="*/ 5610 w 10000"/>
              <a:gd name="connsiteY10" fmla="*/ 9665 h 10000"/>
              <a:gd name="connsiteX11" fmla="*/ 5610 w 10000"/>
              <a:gd name="connsiteY11" fmla="*/ 335 h 10000"/>
              <a:gd name="connsiteX12" fmla="*/ 5671 w 10000"/>
              <a:gd name="connsiteY12" fmla="*/ 0 h 10000"/>
              <a:gd name="connsiteX13" fmla="*/ 7038 w 10000"/>
              <a:gd name="connsiteY13" fmla="*/ 0 h 10000"/>
              <a:gd name="connsiteX14" fmla="*/ 7101 w 10000"/>
              <a:gd name="connsiteY14" fmla="*/ 335 h 10000"/>
              <a:gd name="connsiteX15" fmla="*/ 7101 w 10000"/>
              <a:gd name="connsiteY15" fmla="*/ 8575 h 10000"/>
              <a:gd name="connsiteX16" fmla="*/ 7163 w 10000"/>
              <a:gd name="connsiteY16" fmla="*/ 8910 h 10000"/>
              <a:gd name="connsiteX17" fmla="*/ 9940 w 10000"/>
              <a:gd name="connsiteY17" fmla="*/ 8910 h 10000"/>
              <a:gd name="connsiteX18" fmla="*/ 10000 w 10000"/>
              <a:gd name="connsiteY18" fmla="*/ 8575 h 10000"/>
              <a:gd name="connsiteX0" fmla="*/ 0 w 9964"/>
              <a:gd name="connsiteY0" fmla="*/ 7882 h 10000"/>
              <a:gd name="connsiteX1" fmla="*/ 604 w 9964"/>
              <a:gd name="connsiteY1" fmla="*/ 7868 h 10000"/>
              <a:gd name="connsiteX2" fmla="*/ 666 w 9964"/>
              <a:gd name="connsiteY2" fmla="*/ 7533 h 10000"/>
              <a:gd name="connsiteX3" fmla="*/ 666 w 9964"/>
              <a:gd name="connsiteY3" fmla="*/ 1796 h 10000"/>
              <a:gd name="connsiteX4" fmla="*/ 725 w 9964"/>
              <a:gd name="connsiteY4" fmla="*/ 1461 h 10000"/>
              <a:gd name="connsiteX5" fmla="*/ 3486 w 9964"/>
              <a:gd name="connsiteY5" fmla="*/ 1461 h 10000"/>
              <a:gd name="connsiteX6" fmla="*/ 3546 w 9964"/>
              <a:gd name="connsiteY6" fmla="*/ 1796 h 10000"/>
              <a:gd name="connsiteX7" fmla="*/ 3546 w 9964"/>
              <a:gd name="connsiteY7" fmla="*/ 9665 h 10000"/>
              <a:gd name="connsiteX8" fmla="*/ 3608 w 9964"/>
              <a:gd name="connsiteY8" fmla="*/ 10000 h 10000"/>
              <a:gd name="connsiteX9" fmla="*/ 5513 w 9964"/>
              <a:gd name="connsiteY9" fmla="*/ 10000 h 10000"/>
              <a:gd name="connsiteX10" fmla="*/ 5574 w 9964"/>
              <a:gd name="connsiteY10" fmla="*/ 9665 h 10000"/>
              <a:gd name="connsiteX11" fmla="*/ 5574 w 9964"/>
              <a:gd name="connsiteY11" fmla="*/ 335 h 10000"/>
              <a:gd name="connsiteX12" fmla="*/ 5635 w 9964"/>
              <a:gd name="connsiteY12" fmla="*/ 0 h 10000"/>
              <a:gd name="connsiteX13" fmla="*/ 7002 w 9964"/>
              <a:gd name="connsiteY13" fmla="*/ 0 h 10000"/>
              <a:gd name="connsiteX14" fmla="*/ 7065 w 9964"/>
              <a:gd name="connsiteY14" fmla="*/ 335 h 10000"/>
              <a:gd name="connsiteX15" fmla="*/ 7065 w 9964"/>
              <a:gd name="connsiteY15" fmla="*/ 8575 h 10000"/>
              <a:gd name="connsiteX16" fmla="*/ 7127 w 9964"/>
              <a:gd name="connsiteY16" fmla="*/ 8910 h 10000"/>
              <a:gd name="connsiteX17" fmla="*/ 9904 w 9964"/>
              <a:gd name="connsiteY17" fmla="*/ 8910 h 10000"/>
              <a:gd name="connsiteX18" fmla="*/ 9964 w 9964"/>
              <a:gd name="connsiteY18" fmla="*/ 8575 h 10000"/>
              <a:gd name="connsiteX0" fmla="*/ 0 w 10018"/>
              <a:gd name="connsiteY0" fmla="*/ 7882 h 10000"/>
              <a:gd name="connsiteX1" fmla="*/ 624 w 10018"/>
              <a:gd name="connsiteY1" fmla="*/ 7868 h 10000"/>
              <a:gd name="connsiteX2" fmla="*/ 686 w 10018"/>
              <a:gd name="connsiteY2" fmla="*/ 7533 h 10000"/>
              <a:gd name="connsiteX3" fmla="*/ 686 w 10018"/>
              <a:gd name="connsiteY3" fmla="*/ 1796 h 10000"/>
              <a:gd name="connsiteX4" fmla="*/ 746 w 10018"/>
              <a:gd name="connsiteY4" fmla="*/ 1461 h 10000"/>
              <a:gd name="connsiteX5" fmla="*/ 3517 w 10018"/>
              <a:gd name="connsiteY5" fmla="*/ 1461 h 10000"/>
              <a:gd name="connsiteX6" fmla="*/ 3577 w 10018"/>
              <a:gd name="connsiteY6" fmla="*/ 1796 h 10000"/>
              <a:gd name="connsiteX7" fmla="*/ 3577 w 10018"/>
              <a:gd name="connsiteY7" fmla="*/ 9665 h 10000"/>
              <a:gd name="connsiteX8" fmla="*/ 3639 w 10018"/>
              <a:gd name="connsiteY8" fmla="*/ 10000 h 10000"/>
              <a:gd name="connsiteX9" fmla="*/ 5551 w 10018"/>
              <a:gd name="connsiteY9" fmla="*/ 10000 h 10000"/>
              <a:gd name="connsiteX10" fmla="*/ 5612 w 10018"/>
              <a:gd name="connsiteY10" fmla="*/ 9665 h 10000"/>
              <a:gd name="connsiteX11" fmla="*/ 5612 w 10018"/>
              <a:gd name="connsiteY11" fmla="*/ 335 h 10000"/>
              <a:gd name="connsiteX12" fmla="*/ 5673 w 10018"/>
              <a:gd name="connsiteY12" fmla="*/ 0 h 10000"/>
              <a:gd name="connsiteX13" fmla="*/ 7045 w 10018"/>
              <a:gd name="connsiteY13" fmla="*/ 0 h 10000"/>
              <a:gd name="connsiteX14" fmla="*/ 7109 w 10018"/>
              <a:gd name="connsiteY14" fmla="*/ 335 h 10000"/>
              <a:gd name="connsiteX15" fmla="*/ 7109 w 10018"/>
              <a:gd name="connsiteY15" fmla="*/ 8575 h 10000"/>
              <a:gd name="connsiteX16" fmla="*/ 7171 w 10018"/>
              <a:gd name="connsiteY16" fmla="*/ 8910 h 10000"/>
              <a:gd name="connsiteX17" fmla="*/ 9958 w 10018"/>
              <a:gd name="connsiteY17" fmla="*/ 8910 h 10000"/>
              <a:gd name="connsiteX18" fmla="*/ 10018 w 10018"/>
              <a:gd name="connsiteY18" fmla="*/ 8575 h 10000"/>
              <a:gd name="connsiteX0" fmla="*/ 0 w 10023"/>
              <a:gd name="connsiteY0" fmla="*/ 7857 h 10000"/>
              <a:gd name="connsiteX1" fmla="*/ 629 w 10023"/>
              <a:gd name="connsiteY1" fmla="*/ 7868 h 10000"/>
              <a:gd name="connsiteX2" fmla="*/ 691 w 10023"/>
              <a:gd name="connsiteY2" fmla="*/ 7533 h 10000"/>
              <a:gd name="connsiteX3" fmla="*/ 691 w 10023"/>
              <a:gd name="connsiteY3" fmla="*/ 1796 h 10000"/>
              <a:gd name="connsiteX4" fmla="*/ 751 w 10023"/>
              <a:gd name="connsiteY4" fmla="*/ 1461 h 10000"/>
              <a:gd name="connsiteX5" fmla="*/ 3522 w 10023"/>
              <a:gd name="connsiteY5" fmla="*/ 1461 h 10000"/>
              <a:gd name="connsiteX6" fmla="*/ 3582 w 10023"/>
              <a:gd name="connsiteY6" fmla="*/ 1796 h 10000"/>
              <a:gd name="connsiteX7" fmla="*/ 3582 w 10023"/>
              <a:gd name="connsiteY7" fmla="*/ 9665 h 10000"/>
              <a:gd name="connsiteX8" fmla="*/ 3644 w 10023"/>
              <a:gd name="connsiteY8" fmla="*/ 10000 h 10000"/>
              <a:gd name="connsiteX9" fmla="*/ 5556 w 10023"/>
              <a:gd name="connsiteY9" fmla="*/ 10000 h 10000"/>
              <a:gd name="connsiteX10" fmla="*/ 5617 w 10023"/>
              <a:gd name="connsiteY10" fmla="*/ 9665 h 10000"/>
              <a:gd name="connsiteX11" fmla="*/ 5617 w 10023"/>
              <a:gd name="connsiteY11" fmla="*/ 335 h 10000"/>
              <a:gd name="connsiteX12" fmla="*/ 5678 w 10023"/>
              <a:gd name="connsiteY12" fmla="*/ 0 h 10000"/>
              <a:gd name="connsiteX13" fmla="*/ 7050 w 10023"/>
              <a:gd name="connsiteY13" fmla="*/ 0 h 10000"/>
              <a:gd name="connsiteX14" fmla="*/ 7114 w 10023"/>
              <a:gd name="connsiteY14" fmla="*/ 335 h 10000"/>
              <a:gd name="connsiteX15" fmla="*/ 7114 w 10023"/>
              <a:gd name="connsiteY15" fmla="*/ 8575 h 10000"/>
              <a:gd name="connsiteX16" fmla="*/ 7176 w 10023"/>
              <a:gd name="connsiteY16" fmla="*/ 8910 h 10000"/>
              <a:gd name="connsiteX17" fmla="*/ 9963 w 10023"/>
              <a:gd name="connsiteY17" fmla="*/ 8910 h 10000"/>
              <a:gd name="connsiteX18" fmla="*/ 10023 w 10023"/>
              <a:gd name="connsiteY18" fmla="*/ 8575 h 10000"/>
              <a:gd name="connsiteX0" fmla="*/ 0 w 10023"/>
              <a:gd name="connsiteY0" fmla="*/ 7857 h 10000"/>
              <a:gd name="connsiteX1" fmla="*/ 629 w 10023"/>
              <a:gd name="connsiteY1" fmla="*/ 7868 h 10000"/>
              <a:gd name="connsiteX2" fmla="*/ 691 w 10023"/>
              <a:gd name="connsiteY2" fmla="*/ 7533 h 10000"/>
              <a:gd name="connsiteX3" fmla="*/ 691 w 10023"/>
              <a:gd name="connsiteY3" fmla="*/ 1796 h 10000"/>
              <a:gd name="connsiteX4" fmla="*/ 751 w 10023"/>
              <a:gd name="connsiteY4" fmla="*/ 1461 h 10000"/>
              <a:gd name="connsiteX5" fmla="*/ 3522 w 10023"/>
              <a:gd name="connsiteY5" fmla="*/ 1461 h 10000"/>
              <a:gd name="connsiteX6" fmla="*/ 3582 w 10023"/>
              <a:gd name="connsiteY6" fmla="*/ 1796 h 10000"/>
              <a:gd name="connsiteX7" fmla="*/ 3582 w 10023"/>
              <a:gd name="connsiteY7" fmla="*/ 9665 h 10000"/>
              <a:gd name="connsiteX8" fmla="*/ 3644 w 10023"/>
              <a:gd name="connsiteY8" fmla="*/ 10000 h 10000"/>
              <a:gd name="connsiteX9" fmla="*/ 5556 w 10023"/>
              <a:gd name="connsiteY9" fmla="*/ 10000 h 10000"/>
              <a:gd name="connsiteX10" fmla="*/ 5617 w 10023"/>
              <a:gd name="connsiteY10" fmla="*/ 9665 h 10000"/>
              <a:gd name="connsiteX11" fmla="*/ 5617 w 10023"/>
              <a:gd name="connsiteY11" fmla="*/ 335 h 10000"/>
              <a:gd name="connsiteX12" fmla="*/ 5678 w 10023"/>
              <a:gd name="connsiteY12" fmla="*/ 0 h 10000"/>
              <a:gd name="connsiteX13" fmla="*/ 7050 w 10023"/>
              <a:gd name="connsiteY13" fmla="*/ 0 h 10000"/>
              <a:gd name="connsiteX14" fmla="*/ 7114 w 10023"/>
              <a:gd name="connsiteY14" fmla="*/ 335 h 10000"/>
              <a:gd name="connsiteX15" fmla="*/ 7114 w 10023"/>
              <a:gd name="connsiteY15" fmla="*/ 8575 h 10000"/>
              <a:gd name="connsiteX16" fmla="*/ 7176 w 10023"/>
              <a:gd name="connsiteY16" fmla="*/ 8910 h 10000"/>
              <a:gd name="connsiteX17" fmla="*/ 10023 w 10023"/>
              <a:gd name="connsiteY17" fmla="*/ 8575 h 10000"/>
              <a:gd name="connsiteX0" fmla="*/ 0 w 8783"/>
              <a:gd name="connsiteY0" fmla="*/ 7857 h 10000"/>
              <a:gd name="connsiteX1" fmla="*/ 629 w 8783"/>
              <a:gd name="connsiteY1" fmla="*/ 7868 h 10000"/>
              <a:gd name="connsiteX2" fmla="*/ 691 w 8783"/>
              <a:gd name="connsiteY2" fmla="*/ 7533 h 10000"/>
              <a:gd name="connsiteX3" fmla="*/ 691 w 8783"/>
              <a:gd name="connsiteY3" fmla="*/ 1796 h 10000"/>
              <a:gd name="connsiteX4" fmla="*/ 751 w 8783"/>
              <a:gd name="connsiteY4" fmla="*/ 1461 h 10000"/>
              <a:gd name="connsiteX5" fmla="*/ 3522 w 8783"/>
              <a:gd name="connsiteY5" fmla="*/ 1461 h 10000"/>
              <a:gd name="connsiteX6" fmla="*/ 3582 w 8783"/>
              <a:gd name="connsiteY6" fmla="*/ 1796 h 10000"/>
              <a:gd name="connsiteX7" fmla="*/ 3582 w 8783"/>
              <a:gd name="connsiteY7" fmla="*/ 9665 h 10000"/>
              <a:gd name="connsiteX8" fmla="*/ 3644 w 8783"/>
              <a:gd name="connsiteY8" fmla="*/ 10000 h 10000"/>
              <a:gd name="connsiteX9" fmla="*/ 5556 w 8783"/>
              <a:gd name="connsiteY9" fmla="*/ 10000 h 10000"/>
              <a:gd name="connsiteX10" fmla="*/ 5617 w 8783"/>
              <a:gd name="connsiteY10" fmla="*/ 9665 h 10000"/>
              <a:gd name="connsiteX11" fmla="*/ 5617 w 8783"/>
              <a:gd name="connsiteY11" fmla="*/ 335 h 10000"/>
              <a:gd name="connsiteX12" fmla="*/ 5678 w 8783"/>
              <a:gd name="connsiteY12" fmla="*/ 0 h 10000"/>
              <a:gd name="connsiteX13" fmla="*/ 7050 w 8783"/>
              <a:gd name="connsiteY13" fmla="*/ 0 h 10000"/>
              <a:gd name="connsiteX14" fmla="*/ 7114 w 8783"/>
              <a:gd name="connsiteY14" fmla="*/ 335 h 10000"/>
              <a:gd name="connsiteX15" fmla="*/ 7114 w 8783"/>
              <a:gd name="connsiteY15" fmla="*/ 8575 h 10000"/>
              <a:gd name="connsiteX16" fmla="*/ 7176 w 8783"/>
              <a:gd name="connsiteY16" fmla="*/ 8910 h 10000"/>
              <a:gd name="connsiteX17" fmla="*/ 8783 w 8783"/>
              <a:gd name="connsiteY17" fmla="*/ 8893 h 10000"/>
              <a:gd name="connsiteX0" fmla="*/ 0 w 9997"/>
              <a:gd name="connsiteY0" fmla="*/ 7857 h 10000"/>
              <a:gd name="connsiteX1" fmla="*/ 716 w 9997"/>
              <a:gd name="connsiteY1" fmla="*/ 7868 h 10000"/>
              <a:gd name="connsiteX2" fmla="*/ 787 w 9997"/>
              <a:gd name="connsiteY2" fmla="*/ 7533 h 10000"/>
              <a:gd name="connsiteX3" fmla="*/ 787 w 9997"/>
              <a:gd name="connsiteY3" fmla="*/ 1796 h 10000"/>
              <a:gd name="connsiteX4" fmla="*/ 855 w 9997"/>
              <a:gd name="connsiteY4" fmla="*/ 1461 h 10000"/>
              <a:gd name="connsiteX5" fmla="*/ 4010 w 9997"/>
              <a:gd name="connsiteY5" fmla="*/ 1461 h 10000"/>
              <a:gd name="connsiteX6" fmla="*/ 4078 w 9997"/>
              <a:gd name="connsiteY6" fmla="*/ 1796 h 10000"/>
              <a:gd name="connsiteX7" fmla="*/ 4078 w 9997"/>
              <a:gd name="connsiteY7" fmla="*/ 9665 h 10000"/>
              <a:gd name="connsiteX8" fmla="*/ 4149 w 9997"/>
              <a:gd name="connsiteY8" fmla="*/ 10000 h 10000"/>
              <a:gd name="connsiteX9" fmla="*/ 6326 w 9997"/>
              <a:gd name="connsiteY9" fmla="*/ 10000 h 10000"/>
              <a:gd name="connsiteX10" fmla="*/ 6395 w 9997"/>
              <a:gd name="connsiteY10" fmla="*/ 9665 h 10000"/>
              <a:gd name="connsiteX11" fmla="*/ 6395 w 9997"/>
              <a:gd name="connsiteY11" fmla="*/ 335 h 10000"/>
              <a:gd name="connsiteX12" fmla="*/ 6465 w 9997"/>
              <a:gd name="connsiteY12" fmla="*/ 0 h 10000"/>
              <a:gd name="connsiteX13" fmla="*/ 8027 w 9997"/>
              <a:gd name="connsiteY13" fmla="*/ 0 h 10000"/>
              <a:gd name="connsiteX14" fmla="*/ 8100 w 9997"/>
              <a:gd name="connsiteY14" fmla="*/ 335 h 10000"/>
              <a:gd name="connsiteX15" fmla="*/ 8100 w 9997"/>
              <a:gd name="connsiteY15" fmla="*/ 8575 h 10000"/>
              <a:gd name="connsiteX16" fmla="*/ 8170 w 9997"/>
              <a:gd name="connsiteY16" fmla="*/ 8910 h 10000"/>
              <a:gd name="connsiteX17" fmla="*/ 9997 w 9997"/>
              <a:gd name="connsiteY17" fmla="*/ 8927 h 10000"/>
              <a:gd name="connsiteX0" fmla="*/ 0 w 10000"/>
              <a:gd name="connsiteY0" fmla="*/ 7857 h 10000"/>
              <a:gd name="connsiteX1" fmla="*/ 71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1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1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35 h 10000"/>
              <a:gd name="connsiteX17" fmla="*/ 10000 w 10000"/>
              <a:gd name="connsiteY17" fmla="*/ 8927 h 10000"/>
              <a:gd name="connsiteX0" fmla="*/ 0 w 10008"/>
              <a:gd name="connsiteY0" fmla="*/ 7857 h 10000"/>
              <a:gd name="connsiteX1" fmla="*/ 726 w 10008"/>
              <a:gd name="connsiteY1" fmla="*/ 7855 h 10000"/>
              <a:gd name="connsiteX2" fmla="*/ 787 w 10008"/>
              <a:gd name="connsiteY2" fmla="*/ 7533 h 10000"/>
              <a:gd name="connsiteX3" fmla="*/ 787 w 10008"/>
              <a:gd name="connsiteY3" fmla="*/ 1796 h 10000"/>
              <a:gd name="connsiteX4" fmla="*/ 855 w 10008"/>
              <a:gd name="connsiteY4" fmla="*/ 1461 h 10000"/>
              <a:gd name="connsiteX5" fmla="*/ 4011 w 10008"/>
              <a:gd name="connsiteY5" fmla="*/ 1461 h 10000"/>
              <a:gd name="connsiteX6" fmla="*/ 4079 w 10008"/>
              <a:gd name="connsiteY6" fmla="*/ 1796 h 10000"/>
              <a:gd name="connsiteX7" fmla="*/ 4079 w 10008"/>
              <a:gd name="connsiteY7" fmla="*/ 9665 h 10000"/>
              <a:gd name="connsiteX8" fmla="*/ 4150 w 10008"/>
              <a:gd name="connsiteY8" fmla="*/ 10000 h 10000"/>
              <a:gd name="connsiteX9" fmla="*/ 6328 w 10008"/>
              <a:gd name="connsiteY9" fmla="*/ 10000 h 10000"/>
              <a:gd name="connsiteX10" fmla="*/ 6397 w 10008"/>
              <a:gd name="connsiteY10" fmla="*/ 9665 h 10000"/>
              <a:gd name="connsiteX11" fmla="*/ 6397 w 10008"/>
              <a:gd name="connsiteY11" fmla="*/ 335 h 10000"/>
              <a:gd name="connsiteX12" fmla="*/ 6467 w 10008"/>
              <a:gd name="connsiteY12" fmla="*/ 0 h 10000"/>
              <a:gd name="connsiteX13" fmla="*/ 8029 w 10008"/>
              <a:gd name="connsiteY13" fmla="*/ 0 h 10000"/>
              <a:gd name="connsiteX14" fmla="*/ 8102 w 10008"/>
              <a:gd name="connsiteY14" fmla="*/ 335 h 10000"/>
              <a:gd name="connsiteX15" fmla="*/ 8102 w 10008"/>
              <a:gd name="connsiteY15" fmla="*/ 8575 h 10000"/>
              <a:gd name="connsiteX16" fmla="*/ 8172 w 10008"/>
              <a:gd name="connsiteY16" fmla="*/ 8935 h 10000"/>
              <a:gd name="connsiteX17" fmla="*/ 10008 w 10008"/>
              <a:gd name="connsiteY17" fmla="*/ 8927 h 10000"/>
              <a:gd name="connsiteX0" fmla="*/ 0 w 10016"/>
              <a:gd name="connsiteY0" fmla="*/ 7857 h 10000"/>
              <a:gd name="connsiteX1" fmla="*/ 726 w 10016"/>
              <a:gd name="connsiteY1" fmla="*/ 7855 h 10000"/>
              <a:gd name="connsiteX2" fmla="*/ 787 w 10016"/>
              <a:gd name="connsiteY2" fmla="*/ 7533 h 10000"/>
              <a:gd name="connsiteX3" fmla="*/ 787 w 10016"/>
              <a:gd name="connsiteY3" fmla="*/ 1796 h 10000"/>
              <a:gd name="connsiteX4" fmla="*/ 855 w 10016"/>
              <a:gd name="connsiteY4" fmla="*/ 1461 h 10000"/>
              <a:gd name="connsiteX5" fmla="*/ 4011 w 10016"/>
              <a:gd name="connsiteY5" fmla="*/ 1461 h 10000"/>
              <a:gd name="connsiteX6" fmla="*/ 4079 w 10016"/>
              <a:gd name="connsiteY6" fmla="*/ 1796 h 10000"/>
              <a:gd name="connsiteX7" fmla="*/ 4079 w 10016"/>
              <a:gd name="connsiteY7" fmla="*/ 9665 h 10000"/>
              <a:gd name="connsiteX8" fmla="*/ 4150 w 10016"/>
              <a:gd name="connsiteY8" fmla="*/ 10000 h 10000"/>
              <a:gd name="connsiteX9" fmla="*/ 6328 w 10016"/>
              <a:gd name="connsiteY9" fmla="*/ 10000 h 10000"/>
              <a:gd name="connsiteX10" fmla="*/ 6397 w 10016"/>
              <a:gd name="connsiteY10" fmla="*/ 9665 h 10000"/>
              <a:gd name="connsiteX11" fmla="*/ 6397 w 10016"/>
              <a:gd name="connsiteY11" fmla="*/ 335 h 10000"/>
              <a:gd name="connsiteX12" fmla="*/ 6467 w 10016"/>
              <a:gd name="connsiteY12" fmla="*/ 0 h 10000"/>
              <a:gd name="connsiteX13" fmla="*/ 8029 w 10016"/>
              <a:gd name="connsiteY13" fmla="*/ 0 h 10000"/>
              <a:gd name="connsiteX14" fmla="*/ 8102 w 10016"/>
              <a:gd name="connsiteY14" fmla="*/ 335 h 10000"/>
              <a:gd name="connsiteX15" fmla="*/ 8102 w 10016"/>
              <a:gd name="connsiteY15" fmla="*/ 8575 h 10000"/>
              <a:gd name="connsiteX16" fmla="*/ 8172 w 10016"/>
              <a:gd name="connsiteY16" fmla="*/ 8935 h 10000"/>
              <a:gd name="connsiteX17" fmla="*/ 10016 w 10016"/>
              <a:gd name="connsiteY17" fmla="*/ 8940 h 10000"/>
              <a:gd name="connsiteX0" fmla="*/ 0 w 10016"/>
              <a:gd name="connsiteY0" fmla="*/ 7857 h 10000"/>
              <a:gd name="connsiteX1" fmla="*/ 726 w 10016"/>
              <a:gd name="connsiteY1" fmla="*/ 7855 h 10000"/>
              <a:gd name="connsiteX2" fmla="*/ 787 w 10016"/>
              <a:gd name="connsiteY2" fmla="*/ 7533 h 10000"/>
              <a:gd name="connsiteX3" fmla="*/ 787 w 10016"/>
              <a:gd name="connsiteY3" fmla="*/ 1796 h 10000"/>
              <a:gd name="connsiteX4" fmla="*/ 855 w 10016"/>
              <a:gd name="connsiteY4" fmla="*/ 1461 h 10000"/>
              <a:gd name="connsiteX5" fmla="*/ 4011 w 10016"/>
              <a:gd name="connsiteY5" fmla="*/ 1461 h 10000"/>
              <a:gd name="connsiteX6" fmla="*/ 4079 w 10016"/>
              <a:gd name="connsiteY6" fmla="*/ 1796 h 10000"/>
              <a:gd name="connsiteX7" fmla="*/ 4079 w 10016"/>
              <a:gd name="connsiteY7" fmla="*/ 9665 h 10000"/>
              <a:gd name="connsiteX8" fmla="*/ 4150 w 10016"/>
              <a:gd name="connsiteY8" fmla="*/ 10000 h 10000"/>
              <a:gd name="connsiteX9" fmla="*/ 6328 w 10016"/>
              <a:gd name="connsiteY9" fmla="*/ 10000 h 10000"/>
              <a:gd name="connsiteX10" fmla="*/ 6397 w 10016"/>
              <a:gd name="connsiteY10" fmla="*/ 9665 h 10000"/>
              <a:gd name="connsiteX11" fmla="*/ 6397 w 10016"/>
              <a:gd name="connsiteY11" fmla="*/ 335 h 10000"/>
              <a:gd name="connsiteX12" fmla="*/ 6467 w 10016"/>
              <a:gd name="connsiteY12" fmla="*/ 0 h 10000"/>
              <a:gd name="connsiteX13" fmla="*/ 8029 w 10016"/>
              <a:gd name="connsiteY13" fmla="*/ 0 h 10000"/>
              <a:gd name="connsiteX14" fmla="*/ 8102 w 10016"/>
              <a:gd name="connsiteY14" fmla="*/ 335 h 10000"/>
              <a:gd name="connsiteX15" fmla="*/ 8102 w 10016"/>
              <a:gd name="connsiteY15" fmla="*/ 8575 h 10000"/>
              <a:gd name="connsiteX16" fmla="*/ 8172 w 10016"/>
              <a:gd name="connsiteY16" fmla="*/ 8935 h 10000"/>
              <a:gd name="connsiteX17" fmla="*/ 10016 w 10016"/>
              <a:gd name="connsiteY17" fmla="*/ 8927 h 10000"/>
              <a:gd name="connsiteX0" fmla="*/ 0 w 10050"/>
              <a:gd name="connsiteY0" fmla="*/ 7857 h 10000"/>
              <a:gd name="connsiteX1" fmla="*/ 726 w 10050"/>
              <a:gd name="connsiteY1" fmla="*/ 7855 h 10000"/>
              <a:gd name="connsiteX2" fmla="*/ 787 w 10050"/>
              <a:gd name="connsiteY2" fmla="*/ 7533 h 10000"/>
              <a:gd name="connsiteX3" fmla="*/ 787 w 10050"/>
              <a:gd name="connsiteY3" fmla="*/ 1796 h 10000"/>
              <a:gd name="connsiteX4" fmla="*/ 855 w 10050"/>
              <a:gd name="connsiteY4" fmla="*/ 1461 h 10000"/>
              <a:gd name="connsiteX5" fmla="*/ 4011 w 10050"/>
              <a:gd name="connsiteY5" fmla="*/ 1461 h 10000"/>
              <a:gd name="connsiteX6" fmla="*/ 4079 w 10050"/>
              <a:gd name="connsiteY6" fmla="*/ 1796 h 10000"/>
              <a:gd name="connsiteX7" fmla="*/ 4079 w 10050"/>
              <a:gd name="connsiteY7" fmla="*/ 9665 h 10000"/>
              <a:gd name="connsiteX8" fmla="*/ 4150 w 10050"/>
              <a:gd name="connsiteY8" fmla="*/ 10000 h 10000"/>
              <a:gd name="connsiteX9" fmla="*/ 6328 w 10050"/>
              <a:gd name="connsiteY9" fmla="*/ 10000 h 10000"/>
              <a:gd name="connsiteX10" fmla="*/ 6397 w 10050"/>
              <a:gd name="connsiteY10" fmla="*/ 9665 h 10000"/>
              <a:gd name="connsiteX11" fmla="*/ 6397 w 10050"/>
              <a:gd name="connsiteY11" fmla="*/ 335 h 10000"/>
              <a:gd name="connsiteX12" fmla="*/ 6467 w 10050"/>
              <a:gd name="connsiteY12" fmla="*/ 0 h 10000"/>
              <a:gd name="connsiteX13" fmla="*/ 8029 w 10050"/>
              <a:gd name="connsiteY13" fmla="*/ 0 h 10000"/>
              <a:gd name="connsiteX14" fmla="*/ 8102 w 10050"/>
              <a:gd name="connsiteY14" fmla="*/ 335 h 10000"/>
              <a:gd name="connsiteX15" fmla="*/ 8102 w 10050"/>
              <a:gd name="connsiteY15" fmla="*/ 8575 h 10000"/>
              <a:gd name="connsiteX16" fmla="*/ 8172 w 10050"/>
              <a:gd name="connsiteY16" fmla="*/ 8935 h 10000"/>
              <a:gd name="connsiteX17" fmla="*/ 10050 w 10050"/>
              <a:gd name="connsiteY17" fmla="*/ 8927 h 10000"/>
              <a:gd name="connsiteX0" fmla="*/ 0 w 10037"/>
              <a:gd name="connsiteY0" fmla="*/ 7857 h 10000"/>
              <a:gd name="connsiteX1" fmla="*/ 726 w 10037"/>
              <a:gd name="connsiteY1" fmla="*/ 7855 h 10000"/>
              <a:gd name="connsiteX2" fmla="*/ 787 w 10037"/>
              <a:gd name="connsiteY2" fmla="*/ 7533 h 10000"/>
              <a:gd name="connsiteX3" fmla="*/ 787 w 10037"/>
              <a:gd name="connsiteY3" fmla="*/ 1796 h 10000"/>
              <a:gd name="connsiteX4" fmla="*/ 855 w 10037"/>
              <a:gd name="connsiteY4" fmla="*/ 1461 h 10000"/>
              <a:gd name="connsiteX5" fmla="*/ 4011 w 10037"/>
              <a:gd name="connsiteY5" fmla="*/ 1461 h 10000"/>
              <a:gd name="connsiteX6" fmla="*/ 4079 w 10037"/>
              <a:gd name="connsiteY6" fmla="*/ 1796 h 10000"/>
              <a:gd name="connsiteX7" fmla="*/ 4079 w 10037"/>
              <a:gd name="connsiteY7" fmla="*/ 9665 h 10000"/>
              <a:gd name="connsiteX8" fmla="*/ 4150 w 10037"/>
              <a:gd name="connsiteY8" fmla="*/ 10000 h 10000"/>
              <a:gd name="connsiteX9" fmla="*/ 6328 w 10037"/>
              <a:gd name="connsiteY9" fmla="*/ 10000 h 10000"/>
              <a:gd name="connsiteX10" fmla="*/ 6397 w 10037"/>
              <a:gd name="connsiteY10" fmla="*/ 9665 h 10000"/>
              <a:gd name="connsiteX11" fmla="*/ 6397 w 10037"/>
              <a:gd name="connsiteY11" fmla="*/ 335 h 10000"/>
              <a:gd name="connsiteX12" fmla="*/ 6467 w 10037"/>
              <a:gd name="connsiteY12" fmla="*/ 0 h 10000"/>
              <a:gd name="connsiteX13" fmla="*/ 8029 w 10037"/>
              <a:gd name="connsiteY13" fmla="*/ 0 h 10000"/>
              <a:gd name="connsiteX14" fmla="*/ 8102 w 10037"/>
              <a:gd name="connsiteY14" fmla="*/ 335 h 10000"/>
              <a:gd name="connsiteX15" fmla="*/ 8102 w 10037"/>
              <a:gd name="connsiteY15" fmla="*/ 8575 h 10000"/>
              <a:gd name="connsiteX16" fmla="*/ 8172 w 10037"/>
              <a:gd name="connsiteY16" fmla="*/ 8935 h 10000"/>
              <a:gd name="connsiteX17" fmla="*/ 10037 w 10037"/>
              <a:gd name="connsiteY17" fmla="*/ 8940 h 10000"/>
              <a:gd name="connsiteX0" fmla="*/ 0 w 10037"/>
              <a:gd name="connsiteY0" fmla="*/ 7857 h 10000"/>
              <a:gd name="connsiteX1" fmla="*/ 726 w 10037"/>
              <a:gd name="connsiteY1" fmla="*/ 7855 h 10000"/>
              <a:gd name="connsiteX2" fmla="*/ 787 w 10037"/>
              <a:gd name="connsiteY2" fmla="*/ 7533 h 10000"/>
              <a:gd name="connsiteX3" fmla="*/ 787 w 10037"/>
              <a:gd name="connsiteY3" fmla="*/ 1796 h 10000"/>
              <a:gd name="connsiteX4" fmla="*/ 855 w 10037"/>
              <a:gd name="connsiteY4" fmla="*/ 1461 h 10000"/>
              <a:gd name="connsiteX5" fmla="*/ 4011 w 10037"/>
              <a:gd name="connsiteY5" fmla="*/ 1461 h 10000"/>
              <a:gd name="connsiteX6" fmla="*/ 4079 w 10037"/>
              <a:gd name="connsiteY6" fmla="*/ 1796 h 10000"/>
              <a:gd name="connsiteX7" fmla="*/ 4079 w 10037"/>
              <a:gd name="connsiteY7" fmla="*/ 9665 h 10000"/>
              <a:gd name="connsiteX8" fmla="*/ 4150 w 10037"/>
              <a:gd name="connsiteY8" fmla="*/ 10000 h 10000"/>
              <a:gd name="connsiteX9" fmla="*/ 6328 w 10037"/>
              <a:gd name="connsiteY9" fmla="*/ 10000 h 10000"/>
              <a:gd name="connsiteX10" fmla="*/ 6397 w 10037"/>
              <a:gd name="connsiteY10" fmla="*/ 9665 h 10000"/>
              <a:gd name="connsiteX11" fmla="*/ 6397 w 10037"/>
              <a:gd name="connsiteY11" fmla="*/ 335 h 10000"/>
              <a:gd name="connsiteX12" fmla="*/ 6467 w 10037"/>
              <a:gd name="connsiteY12" fmla="*/ 0 h 10000"/>
              <a:gd name="connsiteX13" fmla="*/ 8029 w 10037"/>
              <a:gd name="connsiteY13" fmla="*/ 0 h 10000"/>
              <a:gd name="connsiteX14" fmla="*/ 8102 w 10037"/>
              <a:gd name="connsiteY14" fmla="*/ 335 h 10000"/>
              <a:gd name="connsiteX15" fmla="*/ 8102 w 10037"/>
              <a:gd name="connsiteY15" fmla="*/ 8575 h 10000"/>
              <a:gd name="connsiteX16" fmla="*/ 8172 w 10037"/>
              <a:gd name="connsiteY16" fmla="*/ 8935 h 10000"/>
              <a:gd name="connsiteX17" fmla="*/ 10037 w 10037"/>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28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28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66 h 10000"/>
              <a:gd name="connsiteX0" fmla="*/ 0 w 9995"/>
              <a:gd name="connsiteY0" fmla="*/ 7857 h 10000"/>
              <a:gd name="connsiteX1" fmla="*/ 726 w 9995"/>
              <a:gd name="connsiteY1" fmla="*/ 7855 h 10000"/>
              <a:gd name="connsiteX2" fmla="*/ 787 w 9995"/>
              <a:gd name="connsiteY2" fmla="*/ 7533 h 10000"/>
              <a:gd name="connsiteX3" fmla="*/ 787 w 9995"/>
              <a:gd name="connsiteY3" fmla="*/ 1796 h 10000"/>
              <a:gd name="connsiteX4" fmla="*/ 855 w 9995"/>
              <a:gd name="connsiteY4" fmla="*/ 1461 h 10000"/>
              <a:gd name="connsiteX5" fmla="*/ 4011 w 9995"/>
              <a:gd name="connsiteY5" fmla="*/ 1461 h 10000"/>
              <a:gd name="connsiteX6" fmla="*/ 4079 w 9995"/>
              <a:gd name="connsiteY6" fmla="*/ 1796 h 10000"/>
              <a:gd name="connsiteX7" fmla="*/ 4079 w 9995"/>
              <a:gd name="connsiteY7" fmla="*/ 9665 h 10000"/>
              <a:gd name="connsiteX8" fmla="*/ 4150 w 9995"/>
              <a:gd name="connsiteY8" fmla="*/ 10000 h 10000"/>
              <a:gd name="connsiteX9" fmla="*/ 6328 w 9995"/>
              <a:gd name="connsiteY9" fmla="*/ 10000 h 10000"/>
              <a:gd name="connsiteX10" fmla="*/ 6397 w 9995"/>
              <a:gd name="connsiteY10" fmla="*/ 9665 h 10000"/>
              <a:gd name="connsiteX11" fmla="*/ 6397 w 9995"/>
              <a:gd name="connsiteY11" fmla="*/ 335 h 10000"/>
              <a:gd name="connsiteX12" fmla="*/ 6467 w 9995"/>
              <a:gd name="connsiteY12" fmla="*/ 0 h 10000"/>
              <a:gd name="connsiteX13" fmla="*/ 8029 w 9995"/>
              <a:gd name="connsiteY13" fmla="*/ 0 h 10000"/>
              <a:gd name="connsiteX14" fmla="*/ 8102 w 9995"/>
              <a:gd name="connsiteY14" fmla="*/ 335 h 10000"/>
              <a:gd name="connsiteX15" fmla="*/ 8102 w 9995"/>
              <a:gd name="connsiteY15" fmla="*/ 8575 h 10000"/>
              <a:gd name="connsiteX16" fmla="*/ 8172 w 9995"/>
              <a:gd name="connsiteY16" fmla="*/ 8935 h 10000"/>
              <a:gd name="connsiteX17" fmla="*/ 9995 w 9995"/>
              <a:gd name="connsiteY17" fmla="*/ 8916 h 10000"/>
              <a:gd name="connsiteX0" fmla="*/ 0 w 10005"/>
              <a:gd name="connsiteY0" fmla="*/ 7857 h 10000"/>
              <a:gd name="connsiteX1" fmla="*/ 726 w 10005"/>
              <a:gd name="connsiteY1" fmla="*/ 7855 h 10000"/>
              <a:gd name="connsiteX2" fmla="*/ 787 w 10005"/>
              <a:gd name="connsiteY2" fmla="*/ 7533 h 10000"/>
              <a:gd name="connsiteX3" fmla="*/ 787 w 10005"/>
              <a:gd name="connsiteY3" fmla="*/ 1796 h 10000"/>
              <a:gd name="connsiteX4" fmla="*/ 855 w 10005"/>
              <a:gd name="connsiteY4" fmla="*/ 1461 h 10000"/>
              <a:gd name="connsiteX5" fmla="*/ 4013 w 10005"/>
              <a:gd name="connsiteY5" fmla="*/ 1461 h 10000"/>
              <a:gd name="connsiteX6" fmla="*/ 4081 w 10005"/>
              <a:gd name="connsiteY6" fmla="*/ 1796 h 10000"/>
              <a:gd name="connsiteX7" fmla="*/ 4081 w 10005"/>
              <a:gd name="connsiteY7" fmla="*/ 9665 h 10000"/>
              <a:gd name="connsiteX8" fmla="*/ 4152 w 10005"/>
              <a:gd name="connsiteY8" fmla="*/ 10000 h 10000"/>
              <a:gd name="connsiteX9" fmla="*/ 6331 w 10005"/>
              <a:gd name="connsiteY9" fmla="*/ 10000 h 10000"/>
              <a:gd name="connsiteX10" fmla="*/ 6400 w 10005"/>
              <a:gd name="connsiteY10" fmla="*/ 9665 h 10000"/>
              <a:gd name="connsiteX11" fmla="*/ 6400 w 10005"/>
              <a:gd name="connsiteY11" fmla="*/ 335 h 10000"/>
              <a:gd name="connsiteX12" fmla="*/ 6470 w 10005"/>
              <a:gd name="connsiteY12" fmla="*/ 0 h 10000"/>
              <a:gd name="connsiteX13" fmla="*/ 8033 w 10005"/>
              <a:gd name="connsiteY13" fmla="*/ 0 h 10000"/>
              <a:gd name="connsiteX14" fmla="*/ 8106 w 10005"/>
              <a:gd name="connsiteY14" fmla="*/ 335 h 10000"/>
              <a:gd name="connsiteX15" fmla="*/ 8106 w 10005"/>
              <a:gd name="connsiteY15" fmla="*/ 8575 h 10000"/>
              <a:gd name="connsiteX16" fmla="*/ 8176 w 10005"/>
              <a:gd name="connsiteY16" fmla="*/ 8935 h 10000"/>
              <a:gd name="connsiteX17" fmla="*/ 10005 w 10005"/>
              <a:gd name="connsiteY17" fmla="*/ 8941 h 10000"/>
              <a:gd name="connsiteX0" fmla="*/ 0 w 10005"/>
              <a:gd name="connsiteY0" fmla="*/ 7857 h 10000"/>
              <a:gd name="connsiteX1" fmla="*/ 726 w 10005"/>
              <a:gd name="connsiteY1" fmla="*/ 7855 h 10000"/>
              <a:gd name="connsiteX2" fmla="*/ 787 w 10005"/>
              <a:gd name="connsiteY2" fmla="*/ 7533 h 10000"/>
              <a:gd name="connsiteX3" fmla="*/ 787 w 10005"/>
              <a:gd name="connsiteY3" fmla="*/ 1796 h 10000"/>
              <a:gd name="connsiteX4" fmla="*/ 855 w 10005"/>
              <a:gd name="connsiteY4" fmla="*/ 1461 h 10000"/>
              <a:gd name="connsiteX5" fmla="*/ 4013 w 10005"/>
              <a:gd name="connsiteY5" fmla="*/ 1461 h 10000"/>
              <a:gd name="connsiteX6" fmla="*/ 4081 w 10005"/>
              <a:gd name="connsiteY6" fmla="*/ 1796 h 10000"/>
              <a:gd name="connsiteX7" fmla="*/ 4081 w 10005"/>
              <a:gd name="connsiteY7" fmla="*/ 9665 h 10000"/>
              <a:gd name="connsiteX8" fmla="*/ 4152 w 10005"/>
              <a:gd name="connsiteY8" fmla="*/ 10000 h 10000"/>
              <a:gd name="connsiteX9" fmla="*/ 6331 w 10005"/>
              <a:gd name="connsiteY9" fmla="*/ 10000 h 10000"/>
              <a:gd name="connsiteX10" fmla="*/ 6400 w 10005"/>
              <a:gd name="connsiteY10" fmla="*/ 9665 h 10000"/>
              <a:gd name="connsiteX11" fmla="*/ 6400 w 10005"/>
              <a:gd name="connsiteY11" fmla="*/ 335 h 10000"/>
              <a:gd name="connsiteX12" fmla="*/ 6470 w 10005"/>
              <a:gd name="connsiteY12" fmla="*/ 0 h 10000"/>
              <a:gd name="connsiteX13" fmla="*/ 8033 w 10005"/>
              <a:gd name="connsiteY13" fmla="*/ 0 h 10000"/>
              <a:gd name="connsiteX14" fmla="*/ 8106 w 10005"/>
              <a:gd name="connsiteY14" fmla="*/ 335 h 10000"/>
              <a:gd name="connsiteX15" fmla="*/ 8106 w 10005"/>
              <a:gd name="connsiteY15" fmla="*/ 8575 h 10000"/>
              <a:gd name="connsiteX16" fmla="*/ 8176 w 10005"/>
              <a:gd name="connsiteY16" fmla="*/ 8935 h 10000"/>
              <a:gd name="connsiteX17" fmla="*/ 10005 w 10005"/>
              <a:gd name="connsiteY17" fmla="*/ 8941 h 10000"/>
              <a:gd name="connsiteX0" fmla="*/ 0 w 10005"/>
              <a:gd name="connsiteY0" fmla="*/ 7857 h 10000"/>
              <a:gd name="connsiteX1" fmla="*/ 726 w 10005"/>
              <a:gd name="connsiteY1" fmla="*/ 7855 h 10000"/>
              <a:gd name="connsiteX2" fmla="*/ 787 w 10005"/>
              <a:gd name="connsiteY2" fmla="*/ 7533 h 10000"/>
              <a:gd name="connsiteX3" fmla="*/ 787 w 10005"/>
              <a:gd name="connsiteY3" fmla="*/ 1796 h 10000"/>
              <a:gd name="connsiteX4" fmla="*/ 855 w 10005"/>
              <a:gd name="connsiteY4" fmla="*/ 1461 h 10000"/>
              <a:gd name="connsiteX5" fmla="*/ 4013 w 10005"/>
              <a:gd name="connsiteY5" fmla="*/ 1461 h 10000"/>
              <a:gd name="connsiteX6" fmla="*/ 4081 w 10005"/>
              <a:gd name="connsiteY6" fmla="*/ 1796 h 10000"/>
              <a:gd name="connsiteX7" fmla="*/ 4081 w 10005"/>
              <a:gd name="connsiteY7" fmla="*/ 9665 h 10000"/>
              <a:gd name="connsiteX8" fmla="*/ 4152 w 10005"/>
              <a:gd name="connsiteY8" fmla="*/ 10000 h 10000"/>
              <a:gd name="connsiteX9" fmla="*/ 6331 w 10005"/>
              <a:gd name="connsiteY9" fmla="*/ 10000 h 10000"/>
              <a:gd name="connsiteX10" fmla="*/ 6400 w 10005"/>
              <a:gd name="connsiteY10" fmla="*/ 9665 h 10000"/>
              <a:gd name="connsiteX11" fmla="*/ 6400 w 10005"/>
              <a:gd name="connsiteY11" fmla="*/ 335 h 10000"/>
              <a:gd name="connsiteX12" fmla="*/ 6470 w 10005"/>
              <a:gd name="connsiteY12" fmla="*/ 0 h 10000"/>
              <a:gd name="connsiteX13" fmla="*/ 8033 w 10005"/>
              <a:gd name="connsiteY13" fmla="*/ 0 h 10000"/>
              <a:gd name="connsiteX14" fmla="*/ 8106 w 10005"/>
              <a:gd name="connsiteY14" fmla="*/ 335 h 10000"/>
              <a:gd name="connsiteX15" fmla="*/ 8106 w 10005"/>
              <a:gd name="connsiteY15" fmla="*/ 8575 h 10000"/>
              <a:gd name="connsiteX16" fmla="*/ 8176 w 10005"/>
              <a:gd name="connsiteY16" fmla="*/ 8935 h 10000"/>
              <a:gd name="connsiteX17" fmla="*/ 10005 w 10005"/>
              <a:gd name="connsiteY17" fmla="*/ 8941 h 10000"/>
              <a:gd name="connsiteX0" fmla="*/ 0 w 10015"/>
              <a:gd name="connsiteY0" fmla="*/ 7857 h 10000"/>
              <a:gd name="connsiteX1" fmla="*/ 726 w 10015"/>
              <a:gd name="connsiteY1" fmla="*/ 7855 h 10000"/>
              <a:gd name="connsiteX2" fmla="*/ 787 w 10015"/>
              <a:gd name="connsiteY2" fmla="*/ 7533 h 10000"/>
              <a:gd name="connsiteX3" fmla="*/ 787 w 10015"/>
              <a:gd name="connsiteY3" fmla="*/ 1796 h 10000"/>
              <a:gd name="connsiteX4" fmla="*/ 855 w 10015"/>
              <a:gd name="connsiteY4" fmla="*/ 1461 h 10000"/>
              <a:gd name="connsiteX5" fmla="*/ 4013 w 10015"/>
              <a:gd name="connsiteY5" fmla="*/ 1461 h 10000"/>
              <a:gd name="connsiteX6" fmla="*/ 4081 w 10015"/>
              <a:gd name="connsiteY6" fmla="*/ 1796 h 10000"/>
              <a:gd name="connsiteX7" fmla="*/ 4081 w 10015"/>
              <a:gd name="connsiteY7" fmla="*/ 9665 h 10000"/>
              <a:gd name="connsiteX8" fmla="*/ 4152 w 10015"/>
              <a:gd name="connsiteY8" fmla="*/ 10000 h 10000"/>
              <a:gd name="connsiteX9" fmla="*/ 6331 w 10015"/>
              <a:gd name="connsiteY9" fmla="*/ 10000 h 10000"/>
              <a:gd name="connsiteX10" fmla="*/ 6400 w 10015"/>
              <a:gd name="connsiteY10" fmla="*/ 9665 h 10000"/>
              <a:gd name="connsiteX11" fmla="*/ 6400 w 10015"/>
              <a:gd name="connsiteY11" fmla="*/ 335 h 10000"/>
              <a:gd name="connsiteX12" fmla="*/ 6470 w 10015"/>
              <a:gd name="connsiteY12" fmla="*/ 0 h 10000"/>
              <a:gd name="connsiteX13" fmla="*/ 8033 w 10015"/>
              <a:gd name="connsiteY13" fmla="*/ 0 h 10000"/>
              <a:gd name="connsiteX14" fmla="*/ 8106 w 10015"/>
              <a:gd name="connsiteY14" fmla="*/ 335 h 10000"/>
              <a:gd name="connsiteX15" fmla="*/ 8106 w 10015"/>
              <a:gd name="connsiteY15" fmla="*/ 8575 h 10000"/>
              <a:gd name="connsiteX16" fmla="*/ 8176 w 10015"/>
              <a:gd name="connsiteY16" fmla="*/ 8935 h 10000"/>
              <a:gd name="connsiteX17" fmla="*/ 10015 w 10015"/>
              <a:gd name="connsiteY17" fmla="*/ 894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015" h="10000">
                <a:moveTo>
                  <a:pt x="0" y="7857"/>
                </a:moveTo>
                <a:cubicBezTo>
                  <a:pt x="34" y="7853"/>
                  <a:pt x="360" y="7855"/>
                  <a:pt x="726" y="7855"/>
                </a:cubicBezTo>
                <a:cubicBezTo>
                  <a:pt x="766" y="7855"/>
                  <a:pt x="787" y="7713"/>
                  <a:pt x="787" y="7533"/>
                </a:cubicBezTo>
                <a:lnTo>
                  <a:pt x="787" y="1796"/>
                </a:lnTo>
                <a:cubicBezTo>
                  <a:pt x="787" y="1605"/>
                  <a:pt x="815" y="1461"/>
                  <a:pt x="855" y="1461"/>
                </a:cubicBezTo>
                <a:lnTo>
                  <a:pt x="4013" y="1461"/>
                </a:lnTo>
                <a:cubicBezTo>
                  <a:pt x="4049" y="1461"/>
                  <a:pt x="4081" y="1605"/>
                  <a:pt x="4081" y="1796"/>
                </a:cubicBezTo>
                <a:lnTo>
                  <a:pt x="4081" y="9665"/>
                </a:lnTo>
                <a:cubicBezTo>
                  <a:pt x="4081" y="9844"/>
                  <a:pt x="4112" y="10000"/>
                  <a:pt x="4152" y="10000"/>
                </a:cubicBezTo>
                <a:lnTo>
                  <a:pt x="6331" y="10000"/>
                </a:lnTo>
                <a:cubicBezTo>
                  <a:pt x="6371" y="10000"/>
                  <a:pt x="6400" y="9844"/>
                  <a:pt x="6400" y="9665"/>
                </a:cubicBezTo>
                <a:lnTo>
                  <a:pt x="6400" y="335"/>
                </a:lnTo>
                <a:cubicBezTo>
                  <a:pt x="6400" y="156"/>
                  <a:pt x="6432" y="0"/>
                  <a:pt x="6470" y="0"/>
                </a:cubicBezTo>
                <a:lnTo>
                  <a:pt x="8033" y="0"/>
                </a:lnTo>
                <a:cubicBezTo>
                  <a:pt x="8075" y="0"/>
                  <a:pt x="8106" y="156"/>
                  <a:pt x="8106" y="335"/>
                </a:cubicBezTo>
                <a:lnTo>
                  <a:pt x="8106" y="8575"/>
                </a:lnTo>
                <a:cubicBezTo>
                  <a:pt x="8106" y="8754"/>
                  <a:pt x="8138" y="8935"/>
                  <a:pt x="8176" y="8935"/>
                </a:cubicBezTo>
                <a:cubicBezTo>
                  <a:pt x="8276" y="8937"/>
                  <a:pt x="9405" y="8939"/>
                  <a:pt x="10015" y="8941"/>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Freeform 10"/>
          <p:cNvSpPr>
            <a:spLocks/>
          </p:cNvSpPr>
          <p:nvPr/>
        </p:nvSpPr>
        <p:spPr bwMode="gray">
          <a:xfrm>
            <a:off x="3" y="4482313"/>
            <a:ext cx="9143997" cy="1084634"/>
          </a:xfrm>
          <a:custGeom>
            <a:avLst/>
            <a:gdLst>
              <a:gd name="T0" fmla="*/ 0 w 8479"/>
              <a:gd name="T1" fmla="*/ 130 h 583"/>
              <a:gd name="T2" fmla="*/ 419 w 8479"/>
              <a:gd name="T3" fmla="*/ 130 h 583"/>
              <a:gd name="T4" fmla="*/ 447 w 8479"/>
              <a:gd name="T5" fmla="*/ 158 h 583"/>
              <a:gd name="T6" fmla="*/ 447 w 8479"/>
              <a:gd name="T7" fmla="*/ 458 h 583"/>
              <a:gd name="T8" fmla="*/ 475 w 8479"/>
              <a:gd name="T9" fmla="*/ 486 h 583"/>
              <a:gd name="T10" fmla="*/ 1724 w 8479"/>
              <a:gd name="T11" fmla="*/ 486 h 583"/>
              <a:gd name="T12" fmla="*/ 1752 w 8479"/>
              <a:gd name="T13" fmla="*/ 458 h 583"/>
              <a:gd name="T14" fmla="*/ 1752 w 8479"/>
              <a:gd name="T15" fmla="*/ 36 h 583"/>
              <a:gd name="T16" fmla="*/ 1780 w 8479"/>
              <a:gd name="T17" fmla="*/ 8 h 583"/>
              <a:gd name="T18" fmla="*/ 2675 w 8479"/>
              <a:gd name="T19" fmla="*/ 8 h 583"/>
              <a:gd name="T20" fmla="*/ 2703 w 8479"/>
              <a:gd name="T21" fmla="*/ 36 h 583"/>
              <a:gd name="T22" fmla="*/ 2703 w 8479"/>
              <a:gd name="T23" fmla="*/ 458 h 583"/>
              <a:gd name="T24" fmla="*/ 2731 w 8479"/>
              <a:gd name="T25" fmla="*/ 486 h 583"/>
              <a:gd name="T26" fmla="*/ 4228 w 8479"/>
              <a:gd name="T27" fmla="*/ 486 h 583"/>
              <a:gd name="T28" fmla="*/ 4256 w 8479"/>
              <a:gd name="T29" fmla="*/ 458 h 583"/>
              <a:gd name="T30" fmla="*/ 4256 w 8479"/>
              <a:gd name="T31" fmla="*/ 214 h 583"/>
              <a:gd name="T32" fmla="*/ 4284 w 8479"/>
              <a:gd name="T33" fmla="*/ 186 h 583"/>
              <a:gd name="T34" fmla="*/ 5867 w 8479"/>
              <a:gd name="T35" fmla="*/ 186 h 583"/>
              <a:gd name="T36" fmla="*/ 5895 w 8479"/>
              <a:gd name="T37" fmla="*/ 214 h 583"/>
              <a:gd name="T38" fmla="*/ 5895 w 8479"/>
              <a:gd name="T39" fmla="*/ 309 h 583"/>
              <a:gd name="T40" fmla="*/ 5923 w 8479"/>
              <a:gd name="T41" fmla="*/ 337 h 583"/>
              <a:gd name="T42" fmla="*/ 6495 w 8479"/>
              <a:gd name="T43" fmla="*/ 337 h 583"/>
              <a:gd name="T44" fmla="*/ 6523 w 8479"/>
              <a:gd name="T45" fmla="*/ 309 h 583"/>
              <a:gd name="T46" fmla="*/ 6523 w 8479"/>
              <a:gd name="T47" fmla="*/ 28 h 583"/>
              <a:gd name="T48" fmla="*/ 6551 w 8479"/>
              <a:gd name="T49" fmla="*/ 0 h 583"/>
              <a:gd name="T50" fmla="*/ 7543 w 8479"/>
              <a:gd name="T51" fmla="*/ 0 h 583"/>
              <a:gd name="T52" fmla="*/ 7571 w 8479"/>
              <a:gd name="T53" fmla="*/ 28 h 583"/>
              <a:gd name="T54" fmla="*/ 7571 w 8479"/>
              <a:gd name="T55" fmla="*/ 555 h 583"/>
              <a:gd name="T56" fmla="*/ 7599 w 8479"/>
              <a:gd name="T57" fmla="*/ 583 h 583"/>
              <a:gd name="T58" fmla="*/ 8479 w 8479"/>
              <a:gd name="T59" fmla="*/ 583 h 583"/>
              <a:gd name="connsiteX0" fmla="*/ 0 w 9506"/>
              <a:gd name="connsiteY0" fmla="*/ 2230 h 10000"/>
              <a:gd name="connsiteX1" fmla="*/ 33 w 9506"/>
              <a:gd name="connsiteY1" fmla="*/ 2710 h 10000"/>
              <a:gd name="connsiteX2" fmla="*/ 33 w 9506"/>
              <a:gd name="connsiteY2" fmla="*/ 7856 h 10000"/>
              <a:gd name="connsiteX3" fmla="*/ 66 w 9506"/>
              <a:gd name="connsiteY3" fmla="*/ 8336 h 10000"/>
              <a:gd name="connsiteX4" fmla="*/ 1539 w 9506"/>
              <a:gd name="connsiteY4" fmla="*/ 8336 h 10000"/>
              <a:gd name="connsiteX5" fmla="*/ 1572 w 9506"/>
              <a:gd name="connsiteY5" fmla="*/ 7856 h 10000"/>
              <a:gd name="connsiteX6" fmla="*/ 1572 w 9506"/>
              <a:gd name="connsiteY6" fmla="*/ 617 h 10000"/>
              <a:gd name="connsiteX7" fmla="*/ 1605 w 9506"/>
              <a:gd name="connsiteY7" fmla="*/ 137 h 10000"/>
              <a:gd name="connsiteX8" fmla="*/ 2661 w 9506"/>
              <a:gd name="connsiteY8" fmla="*/ 137 h 10000"/>
              <a:gd name="connsiteX9" fmla="*/ 2694 w 9506"/>
              <a:gd name="connsiteY9" fmla="*/ 617 h 10000"/>
              <a:gd name="connsiteX10" fmla="*/ 2694 w 9506"/>
              <a:gd name="connsiteY10" fmla="*/ 7856 h 10000"/>
              <a:gd name="connsiteX11" fmla="*/ 2727 w 9506"/>
              <a:gd name="connsiteY11" fmla="*/ 8336 h 10000"/>
              <a:gd name="connsiteX12" fmla="*/ 4492 w 9506"/>
              <a:gd name="connsiteY12" fmla="*/ 8336 h 10000"/>
              <a:gd name="connsiteX13" fmla="*/ 4525 w 9506"/>
              <a:gd name="connsiteY13" fmla="*/ 7856 h 10000"/>
              <a:gd name="connsiteX14" fmla="*/ 4525 w 9506"/>
              <a:gd name="connsiteY14" fmla="*/ 3671 h 10000"/>
              <a:gd name="connsiteX15" fmla="*/ 4558 w 9506"/>
              <a:gd name="connsiteY15" fmla="*/ 3190 h 10000"/>
              <a:gd name="connsiteX16" fmla="*/ 6425 w 9506"/>
              <a:gd name="connsiteY16" fmla="*/ 3190 h 10000"/>
              <a:gd name="connsiteX17" fmla="*/ 6458 w 9506"/>
              <a:gd name="connsiteY17" fmla="*/ 3671 h 10000"/>
              <a:gd name="connsiteX18" fmla="*/ 6458 w 9506"/>
              <a:gd name="connsiteY18" fmla="*/ 5300 h 10000"/>
              <a:gd name="connsiteX19" fmla="*/ 6491 w 9506"/>
              <a:gd name="connsiteY19" fmla="*/ 5780 h 10000"/>
              <a:gd name="connsiteX20" fmla="*/ 7166 w 9506"/>
              <a:gd name="connsiteY20" fmla="*/ 5780 h 10000"/>
              <a:gd name="connsiteX21" fmla="*/ 7199 w 9506"/>
              <a:gd name="connsiteY21" fmla="*/ 5300 h 10000"/>
              <a:gd name="connsiteX22" fmla="*/ 7199 w 9506"/>
              <a:gd name="connsiteY22" fmla="*/ 480 h 10000"/>
              <a:gd name="connsiteX23" fmla="*/ 7232 w 9506"/>
              <a:gd name="connsiteY23" fmla="*/ 0 h 10000"/>
              <a:gd name="connsiteX24" fmla="*/ 8402 w 9506"/>
              <a:gd name="connsiteY24" fmla="*/ 0 h 10000"/>
              <a:gd name="connsiteX25" fmla="*/ 8435 w 9506"/>
              <a:gd name="connsiteY25" fmla="*/ 480 h 10000"/>
              <a:gd name="connsiteX26" fmla="*/ 8435 w 9506"/>
              <a:gd name="connsiteY26" fmla="*/ 9520 h 10000"/>
              <a:gd name="connsiteX27" fmla="*/ 8468 w 9506"/>
              <a:gd name="connsiteY27" fmla="*/ 10000 h 10000"/>
              <a:gd name="connsiteX28" fmla="*/ 9506 w 9506"/>
              <a:gd name="connsiteY28" fmla="*/ 10000 h 10000"/>
              <a:gd name="connsiteX0" fmla="*/ 0 w 9965"/>
              <a:gd name="connsiteY0" fmla="*/ 2710 h 10000"/>
              <a:gd name="connsiteX1" fmla="*/ 0 w 9965"/>
              <a:gd name="connsiteY1" fmla="*/ 7856 h 10000"/>
              <a:gd name="connsiteX2" fmla="*/ 34 w 9965"/>
              <a:gd name="connsiteY2" fmla="*/ 8336 h 10000"/>
              <a:gd name="connsiteX3" fmla="*/ 1584 w 9965"/>
              <a:gd name="connsiteY3" fmla="*/ 8336 h 10000"/>
              <a:gd name="connsiteX4" fmla="*/ 1619 w 9965"/>
              <a:gd name="connsiteY4" fmla="*/ 7856 h 10000"/>
              <a:gd name="connsiteX5" fmla="*/ 1619 w 9965"/>
              <a:gd name="connsiteY5" fmla="*/ 617 h 10000"/>
              <a:gd name="connsiteX6" fmla="*/ 1653 w 9965"/>
              <a:gd name="connsiteY6" fmla="*/ 137 h 10000"/>
              <a:gd name="connsiteX7" fmla="*/ 2764 w 9965"/>
              <a:gd name="connsiteY7" fmla="*/ 137 h 10000"/>
              <a:gd name="connsiteX8" fmla="*/ 2799 w 9965"/>
              <a:gd name="connsiteY8" fmla="*/ 617 h 10000"/>
              <a:gd name="connsiteX9" fmla="*/ 2799 w 9965"/>
              <a:gd name="connsiteY9" fmla="*/ 7856 h 10000"/>
              <a:gd name="connsiteX10" fmla="*/ 2834 w 9965"/>
              <a:gd name="connsiteY10" fmla="*/ 8336 h 10000"/>
              <a:gd name="connsiteX11" fmla="*/ 4690 w 9965"/>
              <a:gd name="connsiteY11" fmla="*/ 8336 h 10000"/>
              <a:gd name="connsiteX12" fmla="*/ 4725 w 9965"/>
              <a:gd name="connsiteY12" fmla="*/ 7856 h 10000"/>
              <a:gd name="connsiteX13" fmla="*/ 4725 w 9965"/>
              <a:gd name="connsiteY13" fmla="*/ 3671 h 10000"/>
              <a:gd name="connsiteX14" fmla="*/ 4760 w 9965"/>
              <a:gd name="connsiteY14" fmla="*/ 3190 h 10000"/>
              <a:gd name="connsiteX15" fmla="*/ 6724 w 9965"/>
              <a:gd name="connsiteY15" fmla="*/ 3190 h 10000"/>
              <a:gd name="connsiteX16" fmla="*/ 6759 w 9965"/>
              <a:gd name="connsiteY16" fmla="*/ 3671 h 10000"/>
              <a:gd name="connsiteX17" fmla="*/ 6759 w 9965"/>
              <a:gd name="connsiteY17" fmla="*/ 5300 h 10000"/>
              <a:gd name="connsiteX18" fmla="*/ 6793 w 9965"/>
              <a:gd name="connsiteY18" fmla="*/ 5780 h 10000"/>
              <a:gd name="connsiteX19" fmla="*/ 7503 w 9965"/>
              <a:gd name="connsiteY19" fmla="*/ 5780 h 10000"/>
              <a:gd name="connsiteX20" fmla="*/ 7538 w 9965"/>
              <a:gd name="connsiteY20" fmla="*/ 5300 h 10000"/>
              <a:gd name="connsiteX21" fmla="*/ 7538 w 9965"/>
              <a:gd name="connsiteY21" fmla="*/ 480 h 10000"/>
              <a:gd name="connsiteX22" fmla="*/ 7573 w 9965"/>
              <a:gd name="connsiteY22" fmla="*/ 0 h 10000"/>
              <a:gd name="connsiteX23" fmla="*/ 8804 w 9965"/>
              <a:gd name="connsiteY23" fmla="*/ 0 h 10000"/>
              <a:gd name="connsiteX24" fmla="*/ 8838 w 9965"/>
              <a:gd name="connsiteY24" fmla="*/ 480 h 10000"/>
              <a:gd name="connsiteX25" fmla="*/ 8838 w 9965"/>
              <a:gd name="connsiteY25" fmla="*/ 9520 h 10000"/>
              <a:gd name="connsiteX26" fmla="*/ 8873 w 9965"/>
              <a:gd name="connsiteY26" fmla="*/ 10000 h 10000"/>
              <a:gd name="connsiteX27" fmla="*/ 9965 w 9965"/>
              <a:gd name="connsiteY27" fmla="*/ 10000 h 10000"/>
              <a:gd name="connsiteX0" fmla="*/ 0 w 10000"/>
              <a:gd name="connsiteY0" fmla="*/ 7856 h 10000"/>
              <a:gd name="connsiteX1" fmla="*/ 34 w 10000"/>
              <a:gd name="connsiteY1" fmla="*/ 8336 h 10000"/>
              <a:gd name="connsiteX2" fmla="*/ 1590 w 10000"/>
              <a:gd name="connsiteY2" fmla="*/ 8336 h 10000"/>
              <a:gd name="connsiteX3" fmla="*/ 1625 w 10000"/>
              <a:gd name="connsiteY3" fmla="*/ 7856 h 10000"/>
              <a:gd name="connsiteX4" fmla="*/ 1625 w 10000"/>
              <a:gd name="connsiteY4" fmla="*/ 617 h 10000"/>
              <a:gd name="connsiteX5" fmla="*/ 1659 w 10000"/>
              <a:gd name="connsiteY5" fmla="*/ 137 h 10000"/>
              <a:gd name="connsiteX6" fmla="*/ 2774 w 10000"/>
              <a:gd name="connsiteY6" fmla="*/ 137 h 10000"/>
              <a:gd name="connsiteX7" fmla="*/ 2809 w 10000"/>
              <a:gd name="connsiteY7" fmla="*/ 617 h 10000"/>
              <a:gd name="connsiteX8" fmla="*/ 2809 w 10000"/>
              <a:gd name="connsiteY8" fmla="*/ 7856 h 10000"/>
              <a:gd name="connsiteX9" fmla="*/ 2844 w 10000"/>
              <a:gd name="connsiteY9" fmla="*/ 8336 h 10000"/>
              <a:gd name="connsiteX10" fmla="*/ 4706 w 10000"/>
              <a:gd name="connsiteY10" fmla="*/ 8336 h 10000"/>
              <a:gd name="connsiteX11" fmla="*/ 4742 w 10000"/>
              <a:gd name="connsiteY11" fmla="*/ 7856 h 10000"/>
              <a:gd name="connsiteX12" fmla="*/ 4742 w 10000"/>
              <a:gd name="connsiteY12" fmla="*/ 3671 h 10000"/>
              <a:gd name="connsiteX13" fmla="*/ 4777 w 10000"/>
              <a:gd name="connsiteY13" fmla="*/ 3190 h 10000"/>
              <a:gd name="connsiteX14" fmla="*/ 6748 w 10000"/>
              <a:gd name="connsiteY14" fmla="*/ 3190 h 10000"/>
              <a:gd name="connsiteX15" fmla="*/ 6783 w 10000"/>
              <a:gd name="connsiteY15" fmla="*/ 3671 h 10000"/>
              <a:gd name="connsiteX16" fmla="*/ 6783 w 10000"/>
              <a:gd name="connsiteY16" fmla="*/ 5300 h 10000"/>
              <a:gd name="connsiteX17" fmla="*/ 6817 w 10000"/>
              <a:gd name="connsiteY17" fmla="*/ 5780 h 10000"/>
              <a:gd name="connsiteX18" fmla="*/ 7529 w 10000"/>
              <a:gd name="connsiteY18" fmla="*/ 5780 h 10000"/>
              <a:gd name="connsiteX19" fmla="*/ 7564 w 10000"/>
              <a:gd name="connsiteY19" fmla="*/ 5300 h 10000"/>
              <a:gd name="connsiteX20" fmla="*/ 7564 w 10000"/>
              <a:gd name="connsiteY20" fmla="*/ 480 h 10000"/>
              <a:gd name="connsiteX21" fmla="*/ 7600 w 10000"/>
              <a:gd name="connsiteY21" fmla="*/ 0 h 10000"/>
              <a:gd name="connsiteX22" fmla="*/ 8835 w 10000"/>
              <a:gd name="connsiteY22" fmla="*/ 0 h 10000"/>
              <a:gd name="connsiteX23" fmla="*/ 8869 w 10000"/>
              <a:gd name="connsiteY23" fmla="*/ 480 h 10000"/>
              <a:gd name="connsiteX24" fmla="*/ 8869 w 10000"/>
              <a:gd name="connsiteY24" fmla="*/ 9520 h 10000"/>
              <a:gd name="connsiteX25" fmla="*/ 8904 w 10000"/>
              <a:gd name="connsiteY25" fmla="*/ 10000 h 10000"/>
              <a:gd name="connsiteX26" fmla="*/ 10000 w 10000"/>
              <a:gd name="connsiteY26" fmla="*/ 10000 h 10000"/>
              <a:gd name="connsiteX0" fmla="*/ 0 w 9966"/>
              <a:gd name="connsiteY0" fmla="*/ 8336 h 10000"/>
              <a:gd name="connsiteX1" fmla="*/ 1556 w 9966"/>
              <a:gd name="connsiteY1" fmla="*/ 8336 h 10000"/>
              <a:gd name="connsiteX2" fmla="*/ 1591 w 9966"/>
              <a:gd name="connsiteY2" fmla="*/ 7856 h 10000"/>
              <a:gd name="connsiteX3" fmla="*/ 1591 w 9966"/>
              <a:gd name="connsiteY3" fmla="*/ 617 h 10000"/>
              <a:gd name="connsiteX4" fmla="*/ 1625 w 9966"/>
              <a:gd name="connsiteY4" fmla="*/ 137 h 10000"/>
              <a:gd name="connsiteX5" fmla="*/ 2740 w 9966"/>
              <a:gd name="connsiteY5" fmla="*/ 137 h 10000"/>
              <a:gd name="connsiteX6" fmla="*/ 2775 w 9966"/>
              <a:gd name="connsiteY6" fmla="*/ 617 h 10000"/>
              <a:gd name="connsiteX7" fmla="*/ 2775 w 9966"/>
              <a:gd name="connsiteY7" fmla="*/ 7856 h 10000"/>
              <a:gd name="connsiteX8" fmla="*/ 2810 w 9966"/>
              <a:gd name="connsiteY8" fmla="*/ 8336 h 10000"/>
              <a:gd name="connsiteX9" fmla="*/ 4672 w 9966"/>
              <a:gd name="connsiteY9" fmla="*/ 8336 h 10000"/>
              <a:gd name="connsiteX10" fmla="*/ 4708 w 9966"/>
              <a:gd name="connsiteY10" fmla="*/ 7856 h 10000"/>
              <a:gd name="connsiteX11" fmla="*/ 4708 w 9966"/>
              <a:gd name="connsiteY11" fmla="*/ 3671 h 10000"/>
              <a:gd name="connsiteX12" fmla="*/ 4743 w 9966"/>
              <a:gd name="connsiteY12" fmla="*/ 3190 h 10000"/>
              <a:gd name="connsiteX13" fmla="*/ 6714 w 9966"/>
              <a:gd name="connsiteY13" fmla="*/ 3190 h 10000"/>
              <a:gd name="connsiteX14" fmla="*/ 6749 w 9966"/>
              <a:gd name="connsiteY14" fmla="*/ 3671 h 10000"/>
              <a:gd name="connsiteX15" fmla="*/ 6749 w 9966"/>
              <a:gd name="connsiteY15" fmla="*/ 5300 h 10000"/>
              <a:gd name="connsiteX16" fmla="*/ 6783 w 9966"/>
              <a:gd name="connsiteY16" fmla="*/ 5780 h 10000"/>
              <a:gd name="connsiteX17" fmla="*/ 7495 w 9966"/>
              <a:gd name="connsiteY17" fmla="*/ 5780 h 10000"/>
              <a:gd name="connsiteX18" fmla="*/ 7530 w 9966"/>
              <a:gd name="connsiteY18" fmla="*/ 5300 h 10000"/>
              <a:gd name="connsiteX19" fmla="*/ 7530 w 9966"/>
              <a:gd name="connsiteY19" fmla="*/ 480 h 10000"/>
              <a:gd name="connsiteX20" fmla="*/ 7566 w 9966"/>
              <a:gd name="connsiteY20" fmla="*/ 0 h 10000"/>
              <a:gd name="connsiteX21" fmla="*/ 8801 w 9966"/>
              <a:gd name="connsiteY21" fmla="*/ 0 h 10000"/>
              <a:gd name="connsiteX22" fmla="*/ 8835 w 9966"/>
              <a:gd name="connsiteY22" fmla="*/ 480 h 10000"/>
              <a:gd name="connsiteX23" fmla="*/ 8835 w 9966"/>
              <a:gd name="connsiteY23" fmla="*/ 9520 h 10000"/>
              <a:gd name="connsiteX24" fmla="*/ 8870 w 9966"/>
              <a:gd name="connsiteY24" fmla="*/ 10000 h 10000"/>
              <a:gd name="connsiteX25" fmla="*/ 9966 w 9966"/>
              <a:gd name="connsiteY25" fmla="*/ 10000 h 10000"/>
              <a:gd name="connsiteX0" fmla="*/ 0 w 8439"/>
              <a:gd name="connsiteY0" fmla="*/ 8336 h 10000"/>
              <a:gd name="connsiteX1" fmla="*/ 35 w 8439"/>
              <a:gd name="connsiteY1" fmla="*/ 7856 h 10000"/>
              <a:gd name="connsiteX2" fmla="*/ 35 w 8439"/>
              <a:gd name="connsiteY2" fmla="*/ 617 h 10000"/>
              <a:gd name="connsiteX3" fmla="*/ 70 w 8439"/>
              <a:gd name="connsiteY3" fmla="*/ 137 h 10000"/>
              <a:gd name="connsiteX4" fmla="*/ 1188 w 8439"/>
              <a:gd name="connsiteY4" fmla="*/ 137 h 10000"/>
              <a:gd name="connsiteX5" fmla="*/ 1223 w 8439"/>
              <a:gd name="connsiteY5" fmla="*/ 617 h 10000"/>
              <a:gd name="connsiteX6" fmla="*/ 1223 w 8439"/>
              <a:gd name="connsiteY6" fmla="*/ 7856 h 10000"/>
              <a:gd name="connsiteX7" fmla="*/ 1259 w 8439"/>
              <a:gd name="connsiteY7" fmla="*/ 8336 h 10000"/>
              <a:gd name="connsiteX8" fmla="*/ 3127 w 8439"/>
              <a:gd name="connsiteY8" fmla="*/ 8336 h 10000"/>
              <a:gd name="connsiteX9" fmla="*/ 3163 w 8439"/>
              <a:gd name="connsiteY9" fmla="*/ 7856 h 10000"/>
              <a:gd name="connsiteX10" fmla="*/ 3163 w 8439"/>
              <a:gd name="connsiteY10" fmla="*/ 3671 h 10000"/>
              <a:gd name="connsiteX11" fmla="*/ 3198 w 8439"/>
              <a:gd name="connsiteY11" fmla="*/ 3190 h 10000"/>
              <a:gd name="connsiteX12" fmla="*/ 5176 w 8439"/>
              <a:gd name="connsiteY12" fmla="*/ 3190 h 10000"/>
              <a:gd name="connsiteX13" fmla="*/ 5211 w 8439"/>
              <a:gd name="connsiteY13" fmla="*/ 3671 h 10000"/>
              <a:gd name="connsiteX14" fmla="*/ 5211 w 8439"/>
              <a:gd name="connsiteY14" fmla="*/ 5300 h 10000"/>
              <a:gd name="connsiteX15" fmla="*/ 5245 w 8439"/>
              <a:gd name="connsiteY15" fmla="*/ 5780 h 10000"/>
              <a:gd name="connsiteX16" fmla="*/ 5960 w 8439"/>
              <a:gd name="connsiteY16" fmla="*/ 5780 h 10000"/>
              <a:gd name="connsiteX17" fmla="*/ 5995 w 8439"/>
              <a:gd name="connsiteY17" fmla="*/ 5300 h 10000"/>
              <a:gd name="connsiteX18" fmla="*/ 5995 w 8439"/>
              <a:gd name="connsiteY18" fmla="*/ 480 h 10000"/>
              <a:gd name="connsiteX19" fmla="*/ 6031 w 8439"/>
              <a:gd name="connsiteY19" fmla="*/ 0 h 10000"/>
              <a:gd name="connsiteX20" fmla="*/ 7270 w 8439"/>
              <a:gd name="connsiteY20" fmla="*/ 0 h 10000"/>
              <a:gd name="connsiteX21" fmla="*/ 7304 w 8439"/>
              <a:gd name="connsiteY21" fmla="*/ 480 h 10000"/>
              <a:gd name="connsiteX22" fmla="*/ 7304 w 8439"/>
              <a:gd name="connsiteY22" fmla="*/ 9520 h 10000"/>
              <a:gd name="connsiteX23" fmla="*/ 7339 w 8439"/>
              <a:gd name="connsiteY23" fmla="*/ 10000 h 10000"/>
              <a:gd name="connsiteX24" fmla="*/ 8439 w 8439"/>
              <a:gd name="connsiteY24" fmla="*/ 10000 h 10000"/>
              <a:gd name="connsiteX0" fmla="*/ 0 w 9959"/>
              <a:gd name="connsiteY0" fmla="*/ 7856 h 10000"/>
              <a:gd name="connsiteX1" fmla="*/ 0 w 9959"/>
              <a:gd name="connsiteY1" fmla="*/ 617 h 10000"/>
              <a:gd name="connsiteX2" fmla="*/ 42 w 9959"/>
              <a:gd name="connsiteY2" fmla="*/ 137 h 10000"/>
              <a:gd name="connsiteX3" fmla="*/ 1367 w 9959"/>
              <a:gd name="connsiteY3" fmla="*/ 137 h 10000"/>
              <a:gd name="connsiteX4" fmla="*/ 1408 w 9959"/>
              <a:gd name="connsiteY4" fmla="*/ 617 h 10000"/>
              <a:gd name="connsiteX5" fmla="*/ 1408 w 9959"/>
              <a:gd name="connsiteY5" fmla="*/ 7856 h 10000"/>
              <a:gd name="connsiteX6" fmla="*/ 1451 w 9959"/>
              <a:gd name="connsiteY6" fmla="*/ 8336 h 10000"/>
              <a:gd name="connsiteX7" fmla="*/ 3664 w 9959"/>
              <a:gd name="connsiteY7" fmla="*/ 8336 h 10000"/>
              <a:gd name="connsiteX8" fmla="*/ 3707 w 9959"/>
              <a:gd name="connsiteY8" fmla="*/ 7856 h 10000"/>
              <a:gd name="connsiteX9" fmla="*/ 3707 w 9959"/>
              <a:gd name="connsiteY9" fmla="*/ 3671 h 10000"/>
              <a:gd name="connsiteX10" fmla="*/ 3749 w 9959"/>
              <a:gd name="connsiteY10" fmla="*/ 3190 h 10000"/>
              <a:gd name="connsiteX11" fmla="*/ 6092 w 9959"/>
              <a:gd name="connsiteY11" fmla="*/ 3190 h 10000"/>
              <a:gd name="connsiteX12" fmla="*/ 6134 w 9959"/>
              <a:gd name="connsiteY12" fmla="*/ 3671 h 10000"/>
              <a:gd name="connsiteX13" fmla="*/ 6134 w 9959"/>
              <a:gd name="connsiteY13" fmla="*/ 5300 h 10000"/>
              <a:gd name="connsiteX14" fmla="*/ 6174 w 9959"/>
              <a:gd name="connsiteY14" fmla="*/ 5780 h 10000"/>
              <a:gd name="connsiteX15" fmla="*/ 7021 w 9959"/>
              <a:gd name="connsiteY15" fmla="*/ 5780 h 10000"/>
              <a:gd name="connsiteX16" fmla="*/ 7063 w 9959"/>
              <a:gd name="connsiteY16" fmla="*/ 5300 h 10000"/>
              <a:gd name="connsiteX17" fmla="*/ 7063 w 9959"/>
              <a:gd name="connsiteY17" fmla="*/ 480 h 10000"/>
              <a:gd name="connsiteX18" fmla="*/ 7106 w 9959"/>
              <a:gd name="connsiteY18" fmla="*/ 0 h 10000"/>
              <a:gd name="connsiteX19" fmla="*/ 8574 w 9959"/>
              <a:gd name="connsiteY19" fmla="*/ 0 h 10000"/>
              <a:gd name="connsiteX20" fmla="*/ 8614 w 9959"/>
              <a:gd name="connsiteY20" fmla="*/ 480 h 10000"/>
              <a:gd name="connsiteX21" fmla="*/ 8614 w 9959"/>
              <a:gd name="connsiteY21" fmla="*/ 9520 h 10000"/>
              <a:gd name="connsiteX22" fmla="*/ 8656 w 9959"/>
              <a:gd name="connsiteY22" fmla="*/ 10000 h 10000"/>
              <a:gd name="connsiteX23" fmla="*/ 9959 w 9959"/>
              <a:gd name="connsiteY23" fmla="*/ 10000 h 10000"/>
              <a:gd name="connsiteX0" fmla="*/ 0 w 10000"/>
              <a:gd name="connsiteY0" fmla="*/ 617 h 10000"/>
              <a:gd name="connsiteX1" fmla="*/ 42 w 10000"/>
              <a:gd name="connsiteY1" fmla="*/ 137 h 10000"/>
              <a:gd name="connsiteX2" fmla="*/ 1373 w 10000"/>
              <a:gd name="connsiteY2" fmla="*/ 137 h 10000"/>
              <a:gd name="connsiteX3" fmla="*/ 1414 w 10000"/>
              <a:gd name="connsiteY3" fmla="*/ 617 h 10000"/>
              <a:gd name="connsiteX4" fmla="*/ 1414 w 10000"/>
              <a:gd name="connsiteY4" fmla="*/ 7856 h 10000"/>
              <a:gd name="connsiteX5" fmla="*/ 1457 w 10000"/>
              <a:gd name="connsiteY5" fmla="*/ 8336 h 10000"/>
              <a:gd name="connsiteX6" fmla="*/ 3679 w 10000"/>
              <a:gd name="connsiteY6" fmla="*/ 8336 h 10000"/>
              <a:gd name="connsiteX7" fmla="*/ 3722 w 10000"/>
              <a:gd name="connsiteY7" fmla="*/ 7856 h 10000"/>
              <a:gd name="connsiteX8" fmla="*/ 3722 w 10000"/>
              <a:gd name="connsiteY8" fmla="*/ 3671 h 10000"/>
              <a:gd name="connsiteX9" fmla="*/ 3764 w 10000"/>
              <a:gd name="connsiteY9" fmla="*/ 3190 h 10000"/>
              <a:gd name="connsiteX10" fmla="*/ 6117 w 10000"/>
              <a:gd name="connsiteY10" fmla="*/ 3190 h 10000"/>
              <a:gd name="connsiteX11" fmla="*/ 6159 w 10000"/>
              <a:gd name="connsiteY11" fmla="*/ 3671 h 10000"/>
              <a:gd name="connsiteX12" fmla="*/ 6159 w 10000"/>
              <a:gd name="connsiteY12" fmla="*/ 5300 h 10000"/>
              <a:gd name="connsiteX13" fmla="*/ 6199 w 10000"/>
              <a:gd name="connsiteY13" fmla="*/ 5780 h 10000"/>
              <a:gd name="connsiteX14" fmla="*/ 7050 w 10000"/>
              <a:gd name="connsiteY14" fmla="*/ 5780 h 10000"/>
              <a:gd name="connsiteX15" fmla="*/ 7092 w 10000"/>
              <a:gd name="connsiteY15" fmla="*/ 5300 h 10000"/>
              <a:gd name="connsiteX16" fmla="*/ 7092 w 10000"/>
              <a:gd name="connsiteY16" fmla="*/ 480 h 10000"/>
              <a:gd name="connsiteX17" fmla="*/ 7135 w 10000"/>
              <a:gd name="connsiteY17" fmla="*/ 0 h 10000"/>
              <a:gd name="connsiteX18" fmla="*/ 8609 w 10000"/>
              <a:gd name="connsiteY18" fmla="*/ 0 h 10000"/>
              <a:gd name="connsiteX19" fmla="*/ 8649 w 10000"/>
              <a:gd name="connsiteY19" fmla="*/ 480 h 10000"/>
              <a:gd name="connsiteX20" fmla="*/ 8649 w 10000"/>
              <a:gd name="connsiteY20" fmla="*/ 9520 h 10000"/>
              <a:gd name="connsiteX21" fmla="*/ 8692 w 10000"/>
              <a:gd name="connsiteY21" fmla="*/ 10000 h 10000"/>
              <a:gd name="connsiteX22" fmla="*/ 10000 w 10000"/>
              <a:gd name="connsiteY22" fmla="*/ 10000 h 10000"/>
              <a:gd name="connsiteX0" fmla="*/ 0 w 8692"/>
              <a:gd name="connsiteY0" fmla="*/ 617 h 10000"/>
              <a:gd name="connsiteX1" fmla="*/ 42 w 8692"/>
              <a:gd name="connsiteY1" fmla="*/ 137 h 10000"/>
              <a:gd name="connsiteX2" fmla="*/ 1373 w 8692"/>
              <a:gd name="connsiteY2" fmla="*/ 137 h 10000"/>
              <a:gd name="connsiteX3" fmla="*/ 1414 w 8692"/>
              <a:gd name="connsiteY3" fmla="*/ 617 h 10000"/>
              <a:gd name="connsiteX4" fmla="*/ 1414 w 8692"/>
              <a:gd name="connsiteY4" fmla="*/ 7856 h 10000"/>
              <a:gd name="connsiteX5" fmla="*/ 1457 w 8692"/>
              <a:gd name="connsiteY5" fmla="*/ 8336 h 10000"/>
              <a:gd name="connsiteX6" fmla="*/ 3679 w 8692"/>
              <a:gd name="connsiteY6" fmla="*/ 8336 h 10000"/>
              <a:gd name="connsiteX7" fmla="*/ 3722 w 8692"/>
              <a:gd name="connsiteY7" fmla="*/ 7856 h 10000"/>
              <a:gd name="connsiteX8" fmla="*/ 3722 w 8692"/>
              <a:gd name="connsiteY8" fmla="*/ 3671 h 10000"/>
              <a:gd name="connsiteX9" fmla="*/ 3764 w 8692"/>
              <a:gd name="connsiteY9" fmla="*/ 3190 h 10000"/>
              <a:gd name="connsiteX10" fmla="*/ 6117 w 8692"/>
              <a:gd name="connsiteY10" fmla="*/ 3190 h 10000"/>
              <a:gd name="connsiteX11" fmla="*/ 6159 w 8692"/>
              <a:gd name="connsiteY11" fmla="*/ 3671 h 10000"/>
              <a:gd name="connsiteX12" fmla="*/ 6159 w 8692"/>
              <a:gd name="connsiteY12" fmla="*/ 5300 h 10000"/>
              <a:gd name="connsiteX13" fmla="*/ 6199 w 8692"/>
              <a:gd name="connsiteY13" fmla="*/ 5780 h 10000"/>
              <a:gd name="connsiteX14" fmla="*/ 7050 w 8692"/>
              <a:gd name="connsiteY14" fmla="*/ 5780 h 10000"/>
              <a:gd name="connsiteX15" fmla="*/ 7092 w 8692"/>
              <a:gd name="connsiteY15" fmla="*/ 5300 h 10000"/>
              <a:gd name="connsiteX16" fmla="*/ 7092 w 8692"/>
              <a:gd name="connsiteY16" fmla="*/ 480 h 10000"/>
              <a:gd name="connsiteX17" fmla="*/ 7135 w 8692"/>
              <a:gd name="connsiteY17" fmla="*/ 0 h 10000"/>
              <a:gd name="connsiteX18" fmla="*/ 8609 w 8692"/>
              <a:gd name="connsiteY18" fmla="*/ 0 h 10000"/>
              <a:gd name="connsiteX19" fmla="*/ 8649 w 8692"/>
              <a:gd name="connsiteY19" fmla="*/ 480 h 10000"/>
              <a:gd name="connsiteX20" fmla="*/ 8649 w 8692"/>
              <a:gd name="connsiteY20" fmla="*/ 9520 h 10000"/>
              <a:gd name="connsiteX21" fmla="*/ 8692 w 8692"/>
              <a:gd name="connsiteY21" fmla="*/ 10000 h 10000"/>
              <a:gd name="connsiteX0" fmla="*/ 0 w 9951"/>
              <a:gd name="connsiteY0" fmla="*/ 617 h 9520"/>
              <a:gd name="connsiteX1" fmla="*/ 48 w 9951"/>
              <a:gd name="connsiteY1" fmla="*/ 137 h 9520"/>
              <a:gd name="connsiteX2" fmla="*/ 1580 w 9951"/>
              <a:gd name="connsiteY2" fmla="*/ 137 h 9520"/>
              <a:gd name="connsiteX3" fmla="*/ 1627 w 9951"/>
              <a:gd name="connsiteY3" fmla="*/ 617 h 9520"/>
              <a:gd name="connsiteX4" fmla="*/ 1627 w 9951"/>
              <a:gd name="connsiteY4" fmla="*/ 7856 h 9520"/>
              <a:gd name="connsiteX5" fmla="*/ 1676 w 9951"/>
              <a:gd name="connsiteY5" fmla="*/ 8336 h 9520"/>
              <a:gd name="connsiteX6" fmla="*/ 4233 w 9951"/>
              <a:gd name="connsiteY6" fmla="*/ 8336 h 9520"/>
              <a:gd name="connsiteX7" fmla="*/ 4282 w 9951"/>
              <a:gd name="connsiteY7" fmla="*/ 7856 h 9520"/>
              <a:gd name="connsiteX8" fmla="*/ 4282 w 9951"/>
              <a:gd name="connsiteY8" fmla="*/ 3671 h 9520"/>
              <a:gd name="connsiteX9" fmla="*/ 4330 w 9951"/>
              <a:gd name="connsiteY9" fmla="*/ 3190 h 9520"/>
              <a:gd name="connsiteX10" fmla="*/ 7038 w 9951"/>
              <a:gd name="connsiteY10" fmla="*/ 3190 h 9520"/>
              <a:gd name="connsiteX11" fmla="*/ 7086 w 9951"/>
              <a:gd name="connsiteY11" fmla="*/ 3671 h 9520"/>
              <a:gd name="connsiteX12" fmla="*/ 7086 w 9951"/>
              <a:gd name="connsiteY12" fmla="*/ 5300 h 9520"/>
              <a:gd name="connsiteX13" fmla="*/ 7132 w 9951"/>
              <a:gd name="connsiteY13" fmla="*/ 5780 h 9520"/>
              <a:gd name="connsiteX14" fmla="*/ 8111 w 9951"/>
              <a:gd name="connsiteY14" fmla="*/ 5780 h 9520"/>
              <a:gd name="connsiteX15" fmla="*/ 8159 w 9951"/>
              <a:gd name="connsiteY15" fmla="*/ 5300 h 9520"/>
              <a:gd name="connsiteX16" fmla="*/ 8159 w 9951"/>
              <a:gd name="connsiteY16" fmla="*/ 480 h 9520"/>
              <a:gd name="connsiteX17" fmla="*/ 8209 w 9951"/>
              <a:gd name="connsiteY17" fmla="*/ 0 h 9520"/>
              <a:gd name="connsiteX18" fmla="*/ 9905 w 9951"/>
              <a:gd name="connsiteY18" fmla="*/ 0 h 9520"/>
              <a:gd name="connsiteX19" fmla="*/ 9951 w 9951"/>
              <a:gd name="connsiteY19" fmla="*/ 480 h 9520"/>
              <a:gd name="connsiteX20" fmla="*/ 9951 w 9951"/>
              <a:gd name="connsiteY20" fmla="*/ 9520 h 9520"/>
              <a:gd name="connsiteX0" fmla="*/ 0 w 10000"/>
              <a:gd name="connsiteY0" fmla="*/ 648 h 8756"/>
              <a:gd name="connsiteX1" fmla="*/ 48 w 10000"/>
              <a:gd name="connsiteY1" fmla="*/ 144 h 8756"/>
              <a:gd name="connsiteX2" fmla="*/ 1588 w 10000"/>
              <a:gd name="connsiteY2" fmla="*/ 144 h 8756"/>
              <a:gd name="connsiteX3" fmla="*/ 1635 w 10000"/>
              <a:gd name="connsiteY3" fmla="*/ 648 h 8756"/>
              <a:gd name="connsiteX4" fmla="*/ 1635 w 10000"/>
              <a:gd name="connsiteY4" fmla="*/ 8252 h 8756"/>
              <a:gd name="connsiteX5" fmla="*/ 1684 w 10000"/>
              <a:gd name="connsiteY5" fmla="*/ 8756 h 8756"/>
              <a:gd name="connsiteX6" fmla="*/ 4254 w 10000"/>
              <a:gd name="connsiteY6" fmla="*/ 8756 h 8756"/>
              <a:gd name="connsiteX7" fmla="*/ 4303 w 10000"/>
              <a:gd name="connsiteY7" fmla="*/ 8252 h 8756"/>
              <a:gd name="connsiteX8" fmla="*/ 4303 w 10000"/>
              <a:gd name="connsiteY8" fmla="*/ 3856 h 8756"/>
              <a:gd name="connsiteX9" fmla="*/ 4351 w 10000"/>
              <a:gd name="connsiteY9" fmla="*/ 3351 h 8756"/>
              <a:gd name="connsiteX10" fmla="*/ 7073 w 10000"/>
              <a:gd name="connsiteY10" fmla="*/ 3351 h 8756"/>
              <a:gd name="connsiteX11" fmla="*/ 7121 w 10000"/>
              <a:gd name="connsiteY11" fmla="*/ 3856 h 8756"/>
              <a:gd name="connsiteX12" fmla="*/ 7121 w 10000"/>
              <a:gd name="connsiteY12" fmla="*/ 5567 h 8756"/>
              <a:gd name="connsiteX13" fmla="*/ 7167 w 10000"/>
              <a:gd name="connsiteY13" fmla="*/ 6071 h 8756"/>
              <a:gd name="connsiteX14" fmla="*/ 8151 w 10000"/>
              <a:gd name="connsiteY14" fmla="*/ 6071 h 8756"/>
              <a:gd name="connsiteX15" fmla="*/ 8199 w 10000"/>
              <a:gd name="connsiteY15" fmla="*/ 5567 h 8756"/>
              <a:gd name="connsiteX16" fmla="*/ 8199 w 10000"/>
              <a:gd name="connsiteY16" fmla="*/ 504 h 8756"/>
              <a:gd name="connsiteX17" fmla="*/ 8249 w 10000"/>
              <a:gd name="connsiteY17" fmla="*/ 0 h 8756"/>
              <a:gd name="connsiteX18" fmla="*/ 9954 w 10000"/>
              <a:gd name="connsiteY18" fmla="*/ 0 h 8756"/>
              <a:gd name="connsiteX19" fmla="*/ 10000 w 10000"/>
              <a:gd name="connsiteY19" fmla="*/ 504 h 8756"/>
              <a:gd name="connsiteX0" fmla="*/ 0 w 9954"/>
              <a:gd name="connsiteY0" fmla="*/ 740 h 10000"/>
              <a:gd name="connsiteX1" fmla="*/ 48 w 9954"/>
              <a:gd name="connsiteY1" fmla="*/ 164 h 10000"/>
              <a:gd name="connsiteX2" fmla="*/ 1588 w 9954"/>
              <a:gd name="connsiteY2" fmla="*/ 164 h 10000"/>
              <a:gd name="connsiteX3" fmla="*/ 1635 w 9954"/>
              <a:gd name="connsiteY3" fmla="*/ 740 h 10000"/>
              <a:gd name="connsiteX4" fmla="*/ 1635 w 9954"/>
              <a:gd name="connsiteY4" fmla="*/ 9424 h 10000"/>
              <a:gd name="connsiteX5" fmla="*/ 1684 w 9954"/>
              <a:gd name="connsiteY5" fmla="*/ 10000 h 10000"/>
              <a:gd name="connsiteX6" fmla="*/ 4254 w 9954"/>
              <a:gd name="connsiteY6" fmla="*/ 10000 h 10000"/>
              <a:gd name="connsiteX7" fmla="*/ 4303 w 9954"/>
              <a:gd name="connsiteY7" fmla="*/ 9424 h 10000"/>
              <a:gd name="connsiteX8" fmla="*/ 4303 w 9954"/>
              <a:gd name="connsiteY8" fmla="*/ 4404 h 10000"/>
              <a:gd name="connsiteX9" fmla="*/ 4351 w 9954"/>
              <a:gd name="connsiteY9" fmla="*/ 3827 h 10000"/>
              <a:gd name="connsiteX10" fmla="*/ 7073 w 9954"/>
              <a:gd name="connsiteY10" fmla="*/ 3827 h 10000"/>
              <a:gd name="connsiteX11" fmla="*/ 7121 w 9954"/>
              <a:gd name="connsiteY11" fmla="*/ 4404 h 10000"/>
              <a:gd name="connsiteX12" fmla="*/ 7121 w 9954"/>
              <a:gd name="connsiteY12" fmla="*/ 6358 h 10000"/>
              <a:gd name="connsiteX13" fmla="*/ 7167 w 9954"/>
              <a:gd name="connsiteY13" fmla="*/ 6934 h 10000"/>
              <a:gd name="connsiteX14" fmla="*/ 8151 w 9954"/>
              <a:gd name="connsiteY14" fmla="*/ 6934 h 10000"/>
              <a:gd name="connsiteX15" fmla="*/ 8199 w 9954"/>
              <a:gd name="connsiteY15" fmla="*/ 6358 h 10000"/>
              <a:gd name="connsiteX16" fmla="*/ 8199 w 9954"/>
              <a:gd name="connsiteY16" fmla="*/ 576 h 10000"/>
              <a:gd name="connsiteX17" fmla="*/ 8249 w 9954"/>
              <a:gd name="connsiteY17" fmla="*/ 0 h 10000"/>
              <a:gd name="connsiteX18" fmla="*/ 9954 w 9954"/>
              <a:gd name="connsiteY18" fmla="*/ 0 h 10000"/>
              <a:gd name="connsiteX0" fmla="*/ 0 w 8287"/>
              <a:gd name="connsiteY0" fmla="*/ 740 h 10000"/>
              <a:gd name="connsiteX1" fmla="*/ 48 w 8287"/>
              <a:gd name="connsiteY1" fmla="*/ 164 h 10000"/>
              <a:gd name="connsiteX2" fmla="*/ 1595 w 8287"/>
              <a:gd name="connsiteY2" fmla="*/ 164 h 10000"/>
              <a:gd name="connsiteX3" fmla="*/ 1643 w 8287"/>
              <a:gd name="connsiteY3" fmla="*/ 740 h 10000"/>
              <a:gd name="connsiteX4" fmla="*/ 1643 w 8287"/>
              <a:gd name="connsiteY4" fmla="*/ 9424 h 10000"/>
              <a:gd name="connsiteX5" fmla="*/ 1692 w 8287"/>
              <a:gd name="connsiteY5" fmla="*/ 10000 h 10000"/>
              <a:gd name="connsiteX6" fmla="*/ 4274 w 8287"/>
              <a:gd name="connsiteY6" fmla="*/ 10000 h 10000"/>
              <a:gd name="connsiteX7" fmla="*/ 4323 w 8287"/>
              <a:gd name="connsiteY7" fmla="*/ 9424 h 10000"/>
              <a:gd name="connsiteX8" fmla="*/ 4323 w 8287"/>
              <a:gd name="connsiteY8" fmla="*/ 4404 h 10000"/>
              <a:gd name="connsiteX9" fmla="*/ 4371 w 8287"/>
              <a:gd name="connsiteY9" fmla="*/ 3827 h 10000"/>
              <a:gd name="connsiteX10" fmla="*/ 7106 w 8287"/>
              <a:gd name="connsiteY10" fmla="*/ 3827 h 10000"/>
              <a:gd name="connsiteX11" fmla="*/ 7154 w 8287"/>
              <a:gd name="connsiteY11" fmla="*/ 4404 h 10000"/>
              <a:gd name="connsiteX12" fmla="*/ 7154 w 8287"/>
              <a:gd name="connsiteY12" fmla="*/ 6358 h 10000"/>
              <a:gd name="connsiteX13" fmla="*/ 7200 w 8287"/>
              <a:gd name="connsiteY13" fmla="*/ 6934 h 10000"/>
              <a:gd name="connsiteX14" fmla="*/ 8189 w 8287"/>
              <a:gd name="connsiteY14" fmla="*/ 6934 h 10000"/>
              <a:gd name="connsiteX15" fmla="*/ 8237 w 8287"/>
              <a:gd name="connsiteY15" fmla="*/ 6358 h 10000"/>
              <a:gd name="connsiteX16" fmla="*/ 8237 w 8287"/>
              <a:gd name="connsiteY16" fmla="*/ 576 h 10000"/>
              <a:gd name="connsiteX17" fmla="*/ 8287 w 8287"/>
              <a:gd name="connsiteY17" fmla="*/ 0 h 10000"/>
              <a:gd name="connsiteX0" fmla="*/ 0 w 9940"/>
              <a:gd name="connsiteY0" fmla="*/ 576 h 9836"/>
              <a:gd name="connsiteX1" fmla="*/ 58 w 9940"/>
              <a:gd name="connsiteY1" fmla="*/ 0 h 9836"/>
              <a:gd name="connsiteX2" fmla="*/ 1925 w 9940"/>
              <a:gd name="connsiteY2" fmla="*/ 0 h 9836"/>
              <a:gd name="connsiteX3" fmla="*/ 1983 w 9940"/>
              <a:gd name="connsiteY3" fmla="*/ 576 h 9836"/>
              <a:gd name="connsiteX4" fmla="*/ 1983 w 9940"/>
              <a:gd name="connsiteY4" fmla="*/ 9260 h 9836"/>
              <a:gd name="connsiteX5" fmla="*/ 2042 w 9940"/>
              <a:gd name="connsiteY5" fmla="*/ 9836 h 9836"/>
              <a:gd name="connsiteX6" fmla="*/ 5157 w 9940"/>
              <a:gd name="connsiteY6" fmla="*/ 9836 h 9836"/>
              <a:gd name="connsiteX7" fmla="*/ 5217 w 9940"/>
              <a:gd name="connsiteY7" fmla="*/ 9260 h 9836"/>
              <a:gd name="connsiteX8" fmla="*/ 5217 w 9940"/>
              <a:gd name="connsiteY8" fmla="*/ 4240 h 9836"/>
              <a:gd name="connsiteX9" fmla="*/ 5275 w 9940"/>
              <a:gd name="connsiteY9" fmla="*/ 3663 h 9836"/>
              <a:gd name="connsiteX10" fmla="*/ 8575 w 9940"/>
              <a:gd name="connsiteY10" fmla="*/ 3663 h 9836"/>
              <a:gd name="connsiteX11" fmla="*/ 8633 w 9940"/>
              <a:gd name="connsiteY11" fmla="*/ 4240 h 9836"/>
              <a:gd name="connsiteX12" fmla="*/ 8633 w 9940"/>
              <a:gd name="connsiteY12" fmla="*/ 6194 h 9836"/>
              <a:gd name="connsiteX13" fmla="*/ 8688 w 9940"/>
              <a:gd name="connsiteY13" fmla="*/ 6770 h 9836"/>
              <a:gd name="connsiteX14" fmla="*/ 9882 w 9940"/>
              <a:gd name="connsiteY14" fmla="*/ 6770 h 9836"/>
              <a:gd name="connsiteX15" fmla="*/ 9940 w 9940"/>
              <a:gd name="connsiteY15" fmla="*/ 6194 h 9836"/>
              <a:gd name="connsiteX16" fmla="*/ 9940 w 9940"/>
              <a:gd name="connsiteY16" fmla="*/ 412 h 9836"/>
              <a:gd name="connsiteX0" fmla="*/ 0 w 10000"/>
              <a:gd name="connsiteY0" fmla="*/ 586 h 10000"/>
              <a:gd name="connsiteX1" fmla="*/ 58 w 10000"/>
              <a:gd name="connsiteY1" fmla="*/ 0 h 10000"/>
              <a:gd name="connsiteX2" fmla="*/ 1937 w 10000"/>
              <a:gd name="connsiteY2" fmla="*/ 0 h 10000"/>
              <a:gd name="connsiteX3" fmla="*/ 1995 w 10000"/>
              <a:gd name="connsiteY3" fmla="*/ 586 h 10000"/>
              <a:gd name="connsiteX4" fmla="*/ 1995 w 10000"/>
              <a:gd name="connsiteY4" fmla="*/ 9414 h 10000"/>
              <a:gd name="connsiteX5" fmla="*/ 2054 w 10000"/>
              <a:gd name="connsiteY5" fmla="*/ 10000 h 10000"/>
              <a:gd name="connsiteX6" fmla="*/ 5188 w 10000"/>
              <a:gd name="connsiteY6" fmla="*/ 10000 h 10000"/>
              <a:gd name="connsiteX7" fmla="*/ 5248 w 10000"/>
              <a:gd name="connsiteY7" fmla="*/ 9414 h 10000"/>
              <a:gd name="connsiteX8" fmla="*/ 5248 w 10000"/>
              <a:gd name="connsiteY8" fmla="*/ 4311 h 10000"/>
              <a:gd name="connsiteX9" fmla="*/ 5307 w 10000"/>
              <a:gd name="connsiteY9" fmla="*/ 3724 h 10000"/>
              <a:gd name="connsiteX10" fmla="*/ 8627 w 10000"/>
              <a:gd name="connsiteY10" fmla="*/ 3724 h 10000"/>
              <a:gd name="connsiteX11" fmla="*/ 8685 w 10000"/>
              <a:gd name="connsiteY11" fmla="*/ 4311 h 10000"/>
              <a:gd name="connsiteX12" fmla="*/ 8685 w 10000"/>
              <a:gd name="connsiteY12" fmla="*/ 6297 h 10000"/>
              <a:gd name="connsiteX13" fmla="*/ 8740 w 10000"/>
              <a:gd name="connsiteY13" fmla="*/ 6883 h 10000"/>
              <a:gd name="connsiteX14" fmla="*/ 9942 w 10000"/>
              <a:gd name="connsiteY14" fmla="*/ 6883 h 10000"/>
              <a:gd name="connsiteX15" fmla="*/ 10000 w 10000"/>
              <a:gd name="connsiteY15" fmla="*/ 6297 h 10000"/>
              <a:gd name="connsiteX0" fmla="*/ 0 w 10000"/>
              <a:gd name="connsiteY0" fmla="*/ 586 h 10000"/>
              <a:gd name="connsiteX1" fmla="*/ 1937 w 10000"/>
              <a:gd name="connsiteY1" fmla="*/ 0 h 10000"/>
              <a:gd name="connsiteX2" fmla="*/ 1995 w 10000"/>
              <a:gd name="connsiteY2" fmla="*/ 586 h 10000"/>
              <a:gd name="connsiteX3" fmla="*/ 1995 w 10000"/>
              <a:gd name="connsiteY3" fmla="*/ 9414 h 10000"/>
              <a:gd name="connsiteX4" fmla="*/ 2054 w 10000"/>
              <a:gd name="connsiteY4" fmla="*/ 10000 h 10000"/>
              <a:gd name="connsiteX5" fmla="*/ 5188 w 10000"/>
              <a:gd name="connsiteY5" fmla="*/ 10000 h 10000"/>
              <a:gd name="connsiteX6" fmla="*/ 5248 w 10000"/>
              <a:gd name="connsiteY6" fmla="*/ 9414 h 10000"/>
              <a:gd name="connsiteX7" fmla="*/ 5248 w 10000"/>
              <a:gd name="connsiteY7" fmla="*/ 4311 h 10000"/>
              <a:gd name="connsiteX8" fmla="*/ 5307 w 10000"/>
              <a:gd name="connsiteY8" fmla="*/ 3724 h 10000"/>
              <a:gd name="connsiteX9" fmla="*/ 8627 w 10000"/>
              <a:gd name="connsiteY9" fmla="*/ 3724 h 10000"/>
              <a:gd name="connsiteX10" fmla="*/ 8685 w 10000"/>
              <a:gd name="connsiteY10" fmla="*/ 4311 h 10000"/>
              <a:gd name="connsiteX11" fmla="*/ 8685 w 10000"/>
              <a:gd name="connsiteY11" fmla="*/ 6297 h 10000"/>
              <a:gd name="connsiteX12" fmla="*/ 8740 w 10000"/>
              <a:gd name="connsiteY12" fmla="*/ 6883 h 10000"/>
              <a:gd name="connsiteX13" fmla="*/ 9942 w 10000"/>
              <a:gd name="connsiteY13" fmla="*/ 6883 h 10000"/>
              <a:gd name="connsiteX14" fmla="*/ 10000 w 10000"/>
              <a:gd name="connsiteY14" fmla="*/ 6297 h 10000"/>
              <a:gd name="connsiteX0" fmla="*/ 0 w 8803"/>
              <a:gd name="connsiteY0" fmla="*/ 40 h 10113"/>
              <a:gd name="connsiteX1" fmla="*/ 740 w 8803"/>
              <a:gd name="connsiteY1" fmla="*/ 113 h 10113"/>
              <a:gd name="connsiteX2" fmla="*/ 798 w 8803"/>
              <a:gd name="connsiteY2" fmla="*/ 699 h 10113"/>
              <a:gd name="connsiteX3" fmla="*/ 798 w 8803"/>
              <a:gd name="connsiteY3" fmla="*/ 9527 h 10113"/>
              <a:gd name="connsiteX4" fmla="*/ 857 w 8803"/>
              <a:gd name="connsiteY4" fmla="*/ 10113 h 10113"/>
              <a:gd name="connsiteX5" fmla="*/ 3991 w 8803"/>
              <a:gd name="connsiteY5" fmla="*/ 10113 h 10113"/>
              <a:gd name="connsiteX6" fmla="*/ 4051 w 8803"/>
              <a:gd name="connsiteY6" fmla="*/ 9527 h 10113"/>
              <a:gd name="connsiteX7" fmla="*/ 4051 w 8803"/>
              <a:gd name="connsiteY7" fmla="*/ 4424 h 10113"/>
              <a:gd name="connsiteX8" fmla="*/ 4110 w 8803"/>
              <a:gd name="connsiteY8" fmla="*/ 3837 h 10113"/>
              <a:gd name="connsiteX9" fmla="*/ 7430 w 8803"/>
              <a:gd name="connsiteY9" fmla="*/ 3837 h 10113"/>
              <a:gd name="connsiteX10" fmla="*/ 7488 w 8803"/>
              <a:gd name="connsiteY10" fmla="*/ 4424 h 10113"/>
              <a:gd name="connsiteX11" fmla="*/ 7488 w 8803"/>
              <a:gd name="connsiteY11" fmla="*/ 6410 h 10113"/>
              <a:gd name="connsiteX12" fmla="*/ 7543 w 8803"/>
              <a:gd name="connsiteY12" fmla="*/ 6996 h 10113"/>
              <a:gd name="connsiteX13" fmla="*/ 8745 w 8803"/>
              <a:gd name="connsiteY13" fmla="*/ 6996 h 10113"/>
              <a:gd name="connsiteX14" fmla="*/ 8803 w 8803"/>
              <a:gd name="connsiteY14" fmla="*/ 6410 h 10113"/>
              <a:gd name="connsiteX0" fmla="*/ 0 w 10000"/>
              <a:gd name="connsiteY0" fmla="*/ 75 h 9905"/>
              <a:gd name="connsiteX1" fmla="*/ 841 w 10000"/>
              <a:gd name="connsiteY1" fmla="*/ 17 h 9905"/>
              <a:gd name="connsiteX2" fmla="*/ 907 w 10000"/>
              <a:gd name="connsiteY2" fmla="*/ 596 h 9905"/>
              <a:gd name="connsiteX3" fmla="*/ 907 w 10000"/>
              <a:gd name="connsiteY3" fmla="*/ 9326 h 9905"/>
              <a:gd name="connsiteX4" fmla="*/ 974 w 10000"/>
              <a:gd name="connsiteY4" fmla="*/ 9905 h 9905"/>
              <a:gd name="connsiteX5" fmla="*/ 4534 w 10000"/>
              <a:gd name="connsiteY5" fmla="*/ 9905 h 9905"/>
              <a:gd name="connsiteX6" fmla="*/ 4602 w 10000"/>
              <a:gd name="connsiteY6" fmla="*/ 9326 h 9905"/>
              <a:gd name="connsiteX7" fmla="*/ 4602 w 10000"/>
              <a:gd name="connsiteY7" fmla="*/ 4280 h 9905"/>
              <a:gd name="connsiteX8" fmla="*/ 4669 w 10000"/>
              <a:gd name="connsiteY8" fmla="*/ 3699 h 9905"/>
              <a:gd name="connsiteX9" fmla="*/ 8440 w 10000"/>
              <a:gd name="connsiteY9" fmla="*/ 3699 h 9905"/>
              <a:gd name="connsiteX10" fmla="*/ 8506 w 10000"/>
              <a:gd name="connsiteY10" fmla="*/ 4280 h 9905"/>
              <a:gd name="connsiteX11" fmla="*/ 8506 w 10000"/>
              <a:gd name="connsiteY11" fmla="*/ 6243 h 9905"/>
              <a:gd name="connsiteX12" fmla="*/ 8569 w 10000"/>
              <a:gd name="connsiteY12" fmla="*/ 6823 h 9905"/>
              <a:gd name="connsiteX13" fmla="*/ 9934 w 10000"/>
              <a:gd name="connsiteY13" fmla="*/ 6823 h 9905"/>
              <a:gd name="connsiteX14" fmla="*/ 10000 w 10000"/>
              <a:gd name="connsiteY14" fmla="*/ 6243 h 9905"/>
              <a:gd name="connsiteX0" fmla="*/ 0 w 10000"/>
              <a:gd name="connsiteY0" fmla="*/ 59 h 9983"/>
              <a:gd name="connsiteX1" fmla="*/ 841 w 10000"/>
              <a:gd name="connsiteY1" fmla="*/ 0 h 9983"/>
              <a:gd name="connsiteX2" fmla="*/ 907 w 10000"/>
              <a:gd name="connsiteY2" fmla="*/ 585 h 9983"/>
              <a:gd name="connsiteX3" fmla="*/ 907 w 10000"/>
              <a:gd name="connsiteY3" fmla="*/ 9398 h 9983"/>
              <a:gd name="connsiteX4" fmla="*/ 974 w 10000"/>
              <a:gd name="connsiteY4" fmla="*/ 9983 h 9983"/>
              <a:gd name="connsiteX5" fmla="*/ 4534 w 10000"/>
              <a:gd name="connsiteY5" fmla="*/ 9983 h 9983"/>
              <a:gd name="connsiteX6" fmla="*/ 4602 w 10000"/>
              <a:gd name="connsiteY6" fmla="*/ 9398 h 9983"/>
              <a:gd name="connsiteX7" fmla="*/ 4602 w 10000"/>
              <a:gd name="connsiteY7" fmla="*/ 4304 h 9983"/>
              <a:gd name="connsiteX8" fmla="*/ 4669 w 10000"/>
              <a:gd name="connsiteY8" fmla="*/ 3717 h 9983"/>
              <a:gd name="connsiteX9" fmla="*/ 8440 w 10000"/>
              <a:gd name="connsiteY9" fmla="*/ 3717 h 9983"/>
              <a:gd name="connsiteX10" fmla="*/ 8506 w 10000"/>
              <a:gd name="connsiteY10" fmla="*/ 4304 h 9983"/>
              <a:gd name="connsiteX11" fmla="*/ 8506 w 10000"/>
              <a:gd name="connsiteY11" fmla="*/ 6286 h 9983"/>
              <a:gd name="connsiteX12" fmla="*/ 8569 w 10000"/>
              <a:gd name="connsiteY12" fmla="*/ 6871 h 9983"/>
              <a:gd name="connsiteX13" fmla="*/ 9934 w 10000"/>
              <a:gd name="connsiteY13" fmla="*/ 6871 h 9983"/>
              <a:gd name="connsiteX14" fmla="*/ 10000 w 10000"/>
              <a:gd name="connsiteY14" fmla="*/ 6286 h 9983"/>
              <a:gd name="connsiteX0" fmla="*/ 0 w 10003"/>
              <a:gd name="connsiteY0" fmla="*/ 0 h 10029"/>
              <a:gd name="connsiteX1" fmla="*/ 844 w 10003"/>
              <a:gd name="connsiteY1" fmla="*/ 29 h 10029"/>
              <a:gd name="connsiteX2" fmla="*/ 910 w 10003"/>
              <a:gd name="connsiteY2" fmla="*/ 615 h 10029"/>
              <a:gd name="connsiteX3" fmla="*/ 910 w 10003"/>
              <a:gd name="connsiteY3" fmla="*/ 9443 h 10029"/>
              <a:gd name="connsiteX4" fmla="*/ 977 w 10003"/>
              <a:gd name="connsiteY4" fmla="*/ 10029 h 10029"/>
              <a:gd name="connsiteX5" fmla="*/ 4537 w 10003"/>
              <a:gd name="connsiteY5" fmla="*/ 10029 h 10029"/>
              <a:gd name="connsiteX6" fmla="*/ 4605 w 10003"/>
              <a:gd name="connsiteY6" fmla="*/ 9443 h 10029"/>
              <a:gd name="connsiteX7" fmla="*/ 4605 w 10003"/>
              <a:gd name="connsiteY7" fmla="*/ 4340 h 10029"/>
              <a:gd name="connsiteX8" fmla="*/ 4672 w 10003"/>
              <a:gd name="connsiteY8" fmla="*/ 3752 h 10029"/>
              <a:gd name="connsiteX9" fmla="*/ 8443 w 10003"/>
              <a:gd name="connsiteY9" fmla="*/ 3752 h 10029"/>
              <a:gd name="connsiteX10" fmla="*/ 8509 w 10003"/>
              <a:gd name="connsiteY10" fmla="*/ 4340 h 10029"/>
              <a:gd name="connsiteX11" fmla="*/ 8509 w 10003"/>
              <a:gd name="connsiteY11" fmla="*/ 6326 h 10029"/>
              <a:gd name="connsiteX12" fmla="*/ 8572 w 10003"/>
              <a:gd name="connsiteY12" fmla="*/ 6912 h 10029"/>
              <a:gd name="connsiteX13" fmla="*/ 9937 w 10003"/>
              <a:gd name="connsiteY13" fmla="*/ 6912 h 10029"/>
              <a:gd name="connsiteX14" fmla="*/ 10003 w 10003"/>
              <a:gd name="connsiteY14" fmla="*/ 6326 h 10029"/>
              <a:gd name="connsiteX0" fmla="*/ 0 w 10003"/>
              <a:gd name="connsiteY0" fmla="*/ 59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0 h 10029"/>
              <a:gd name="connsiteX1" fmla="*/ 844 w 10003"/>
              <a:gd name="connsiteY1" fmla="*/ 29 h 10029"/>
              <a:gd name="connsiteX2" fmla="*/ 910 w 10003"/>
              <a:gd name="connsiteY2" fmla="*/ 615 h 10029"/>
              <a:gd name="connsiteX3" fmla="*/ 910 w 10003"/>
              <a:gd name="connsiteY3" fmla="*/ 9443 h 10029"/>
              <a:gd name="connsiteX4" fmla="*/ 977 w 10003"/>
              <a:gd name="connsiteY4" fmla="*/ 10029 h 10029"/>
              <a:gd name="connsiteX5" fmla="*/ 4537 w 10003"/>
              <a:gd name="connsiteY5" fmla="*/ 10029 h 10029"/>
              <a:gd name="connsiteX6" fmla="*/ 4605 w 10003"/>
              <a:gd name="connsiteY6" fmla="*/ 9443 h 10029"/>
              <a:gd name="connsiteX7" fmla="*/ 4605 w 10003"/>
              <a:gd name="connsiteY7" fmla="*/ 4340 h 10029"/>
              <a:gd name="connsiteX8" fmla="*/ 4672 w 10003"/>
              <a:gd name="connsiteY8" fmla="*/ 3752 h 10029"/>
              <a:gd name="connsiteX9" fmla="*/ 8443 w 10003"/>
              <a:gd name="connsiteY9" fmla="*/ 3752 h 10029"/>
              <a:gd name="connsiteX10" fmla="*/ 8509 w 10003"/>
              <a:gd name="connsiteY10" fmla="*/ 4340 h 10029"/>
              <a:gd name="connsiteX11" fmla="*/ 8509 w 10003"/>
              <a:gd name="connsiteY11" fmla="*/ 6326 h 10029"/>
              <a:gd name="connsiteX12" fmla="*/ 8572 w 10003"/>
              <a:gd name="connsiteY12" fmla="*/ 6912 h 10029"/>
              <a:gd name="connsiteX13" fmla="*/ 9937 w 10003"/>
              <a:gd name="connsiteY13" fmla="*/ 6912 h 10029"/>
              <a:gd name="connsiteX14" fmla="*/ 10003 w 10003"/>
              <a:gd name="connsiteY14" fmla="*/ 6326 h 10029"/>
              <a:gd name="connsiteX0" fmla="*/ 0 w 10003"/>
              <a:gd name="connsiteY0" fmla="*/ 30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0 h 10029"/>
              <a:gd name="connsiteX1" fmla="*/ 844 w 10003"/>
              <a:gd name="connsiteY1" fmla="*/ 29 h 10029"/>
              <a:gd name="connsiteX2" fmla="*/ 910 w 10003"/>
              <a:gd name="connsiteY2" fmla="*/ 615 h 10029"/>
              <a:gd name="connsiteX3" fmla="*/ 910 w 10003"/>
              <a:gd name="connsiteY3" fmla="*/ 9443 h 10029"/>
              <a:gd name="connsiteX4" fmla="*/ 977 w 10003"/>
              <a:gd name="connsiteY4" fmla="*/ 10029 h 10029"/>
              <a:gd name="connsiteX5" fmla="*/ 4537 w 10003"/>
              <a:gd name="connsiteY5" fmla="*/ 10029 h 10029"/>
              <a:gd name="connsiteX6" fmla="*/ 4605 w 10003"/>
              <a:gd name="connsiteY6" fmla="*/ 9443 h 10029"/>
              <a:gd name="connsiteX7" fmla="*/ 4605 w 10003"/>
              <a:gd name="connsiteY7" fmla="*/ 4340 h 10029"/>
              <a:gd name="connsiteX8" fmla="*/ 4672 w 10003"/>
              <a:gd name="connsiteY8" fmla="*/ 3752 h 10029"/>
              <a:gd name="connsiteX9" fmla="*/ 8443 w 10003"/>
              <a:gd name="connsiteY9" fmla="*/ 3752 h 10029"/>
              <a:gd name="connsiteX10" fmla="*/ 8509 w 10003"/>
              <a:gd name="connsiteY10" fmla="*/ 4340 h 10029"/>
              <a:gd name="connsiteX11" fmla="*/ 8509 w 10003"/>
              <a:gd name="connsiteY11" fmla="*/ 6326 h 10029"/>
              <a:gd name="connsiteX12" fmla="*/ 8572 w 10003"/>
              <a:gd name="connsiteY12" fmla="*/ 6912 h 10029"/>
              <a:gd name="connsiteX13" fmla="*/ 9937 w 10003"/>
              <a:gd name="connsiteY13" fmla="*/ 6912 h 10029"/>
              <a:gd name="connsiteX14" fmla="*/ 10003 w 10003"/>
              <a:gd name="connsiteY14" fmla="*/ 6326 h 10029"/>
              <a:gd name="connsiteX0" fmla="*/ 0 w 10003"/>
              <a:gd name="connsiteY0" fmla="*/ 30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1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1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10003 w 10003"/>
              <a:gd name="connsiteY13" fmla="*/ 6297 h 10000"/>
              <a:gd name="connsiteX0" fmla="*/ 0 w 9498"/>
              <a:gd name="connsiteY0" fmla="*/ 1 h 10000"/>
              <a:gd name="connsiteX1" fmla="*/ 844 w 9498"/>
              <a:gd name="connsiteY1" fmla="*/ 0 h 10000"/>
              <a:gd name="connsiteX2" fmla="*/ 910 w 9498"/>
              <a:gd name="connsiteY2" fmla="*/ 586 h 10000"/>
              <a:gd name="connsiteX3" fmla="*/ 910 w 9498"/>
              <a:gd name="connsiteY3" fmla="*/ 9414 h 10000"/>
              <a:gd name="connsiteX4" fmla="*/ 977 w 9498"/>
              <a:gd name="connsiteY4" fmla="*/ 10000 h 10000"/>
              <a:gd name="connsiteX5" fmla="*/ 4537 w 9498"/>
              <a:gd name="connsiteY5" fmla="*/ 10000 h 10000"/>
              <a:gd name="connsiteX6" fmla="*/ 4605 w 9498"/>
              <a:gd name="connsiteY6" fmla="*/ 9414 h 10000"/>
              <a:gd name="connsiteX7" fmla="*/ 4605 w 9498"/>
              <a:gd name="connsiteY7" fmla="*/ 4311 h 10000"/>
              <a:gd name="connsiteX8" fmla="*/ 4672 w 9498"/>
              <a:gd name="connsiteY8" fmla="*/ 3723 h 10000"/>
              <a:gd name="connsiteX9" fmla="*/ 8443 w 9498"/>
              <a:gd name="connsiteY9" fmla="*/ 3723 h 10000"/>
              <a:gd name="connsiteX10" fmla="*/ 8509 w 9498"/>
              <a:gd name="connsiteY10" fmla="*/ 4311 h 10000"/>
              <a:gd name="connsiteX11" fmla="*/ 8509 w 9498"/>
              <a:gd name="connsiteY11" fmla="*/ 6297 h 10000"/>
              <a:gd name="connsiteX12" fmla="*/ 8572 w 9498"/>
              <a:gd name="connsiteY12" fmla="*/ 6883 h 10000"/>
              <a:gd name="connsiteX13" fmla="*/ 9498 w 9498"/>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49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1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1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1 w 10000"/>
              <a:gd name="connsiteY12" fmla="*/ 6861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27 h 10000"/>
              <a:gd name="connsiteX13" fmla="*/ 10000 w 10000"/>
              <a:gd name="connsiteY13" fmla="*/ 6912 h 10000"/>
              <a:gd name="connsiteX0" fmla="*/ 0 w 10029"/>
              <a:gd name="connsiteY0" fmla="*/ 1 h 10000"/>
              <a:gd name="connsiteX1" fmla="*/ 889 w 10029"/>
              <a:gd name="connsiteY1" fmla="*/ 0 h 10000"/>
              <a:gd name="connsiteX2" fmla="*/ 958 w 10029"/>
              <a:gd name="connsiteY2" fmla="*/ 586 h 10000"/>
              <a:gd name="connsiteX3" fmla="*/ 958 w 10029"/>
              <a:gd name="connsiteY3" fmla="*/ 9414 h 10000"/>
              <a:gd name="connsiteX4" fmla="*/ 1029 w 10029"/>
              <a:gd name="connsiteY4" fmla="*/ 10000 h 10000"/>
              <a:gd name="connsiteX5" fmla="*/ 4777 w 10029"/>
              <a:gd name="connsiteY5" fmla="*/ 10000 h 10000"/>
              <a:gd name="connsiteX6" fmla="*/ 4848 w 10029"/>
              <a:gd name="connsiteY6" fmla="*/ 9414 h 10000"/>
              <a:gd name="connsiteX7" fmla="*/ 4848 w 10029"/>
              <a:gd name="connsiteY7" fmla="*/ 4311 h 10000"/>
              <a:gd name="connsiteX8" fmla="*/ 4919 w 10029"/>
              <a:gd name="connsiteY8" fmla="*/ 3723 h 10000"/>
              <a:gd name="connsiteX9" fmla="*/ 8889 w 10029"/>
              <a:gd name="connsiteY9" fmla="*/ 3723 h 10000"/>
              <a:gd name="connsiteX10" fmla="*/ 8959 w 10029"/>
              <a:gd name="connsiteY10" fmla="*/ 4311 h 10000"/>
              <a:gd name="connsiteX11" fmla="*/ 8959 w 10029"/>
              <a:gd name="connsiteY11" fmla="*/ 6297 h 10000"/>
              <a:gd name="connsiteX12" fmla="*/ 9014 w 10029"/>
              <a:gd name="connsiteY12" fmla="*/ 6927 h 10000"/>
              <a:gd name="connsiteX13" fmla="*/ 10029 w 10029"/>
              <a:gd name="connsiteY13" fmla="*/ 6912 h 10000"/>
              <a:gd name="connsiteX0" fmla="*/ 0 w 10029"/>
              <a:gd name="connsiteY0" fmla="*/ 1 h 10000"/>
              <a:gd name="connsiteX1" fmla="*/ 889 w 10029"/>
              <a:gd name="connsiteY1" fmla="*/ 0 h 10000"/>
              <a:gd name="connsiteX2" fmla="*/ 958 w 10029"/>
              <a:gd name="connsiteY2" fmla="*/ 586 h 10000"/>
              <a:gd name="connsiteX3" fmla="*/ 958 w 10029"/>
              <a:gd name="connsiteY3" fmla="*/ 9414 h 10000"/>
              <a:gd name="connsiteX4" fmla="*/ 1029 w 10029"/>
              <a:gd name="connsiteY4" fmla="*/ 10000 h 10000"/>
              <a:gd name="connsiteX5" fmla="*/ 4777 w 10029"/>
              <a:gd name="connsiteY5" fmla="*/ 10000 h 10000"/>
              <a:gd name="connsiteX6" fmla="*/ 4848 w 10029"/>
              <a:gd name="connsiteY6" fmla="*/ 9414 h 10000"/>
              <a:gd name="connsiteX7" fmla="*/ 4848 w 10029"/>
              <a:gd name="connsiteY7" fmla="*/ 4311 h 10000"/>
              <a:gd name="connsiteX8" fmla="*/ 4919 w 10029"/>
              <a:gd name="connsiteY8" fmla="*/ 3723 h 10000"/>
              <a:gd name="connsiteX9" fmla="*/ 8889 w 10029"/>
              <a:gd name="connsiteY9" fmla="*/ 3723 h 10000"/>
              <a:gd name="connsiteX10" fmla="*/ 8959 w 10029"/>
              <a:gd name="connsiteY10" fmla="*/ 4311 h 10000"/>
              <a:gd name="connsiteX11" fmla="*/ 8959 w 10029"/>
              <a:gd name="connsiteY11" fmla="*/ 6297 h 10000"/>
              <a:gd name="connsiteX12" fmla="*/ 9014 w 10029"/>
              <a:gd name="connsiteY12" fmla="*/ 6927 h 10000"/>
              <a:gd name="connsiteX13" fmla="*/ 10029 w 10029"/>
              <a:gd name="connsiteY13" fmla="*/ 6912 h 10000"/>
              <a:gd name="connsiteX0" fmla="*/ 0 w 10063"/>
              <a:gd name="connsiteY0" fmla="*/ 1 h 10000"/>
              <a:gd name="connsiteX1" fmla="*/ 889 w 10063"/>
              <a:gd name="connsiteY1" fmla="*/ 0 h 10000"/>
              <a:gd name="connsiteX2" fmla="*/ 958 w 10063"/>
              <a:gd name="connsiteY2" fmla="*/ 586 h 10000"/>
              <a:gd name="connsiteX3" fmla="*/ 958 w 10063"/>
              <a:gd name="connsiteY3" fmla="*/ 9414 h 10000"/>
              <a:gd name="connsiteX4" fmla="*/ 1029 w 10063"/>
              <a:gd name="connsiteY4" fmla="*/ 10000 h 10000"/>
              <a:gd name="connsiteX5" fmla="*/ 4777 w 10063"/>
              <a:gd name="connsiteY5" fmla="*/ 10000 h 10000"/>
              <a:gd name="connsiteX6" fmla="*/ 4848 w 10063"/>
              <a:gd name="connsiteY6" fmla="*/ 9414 h 10000"/>
              <a:gd name="connsiteX7" fmla="*/ 4848 w 10063"/>
              <a:gd name="connsiteY7" fmla="*/ 4311 h 10000"/>
              <a:gd name="connsiteX8" fmla="*/ 4919 w 10063"/>
              <a:gd name="connsiteY8" fmla="*/ 3723 h 10000"/>
              <a:gd name="connsiteX9" fmla="*/ 8889 w 10063"/>
              <a:gd name="connsiteY9" fmla="*/ 3723 h 10000"/>
              <a:gd name="connsiteX10" fmla="*/ 8959 w 10063"/>
              <a:gd name="connsiteY10" fmla="*/ 4311 h 10000"/>
              <a:gd name="connsiteX11" fmla="*/ 8959 w 10063"/>
              <a:gd name="connsiteY11" fmla="*/ 6297 h 10000"/>
              <a:gd name="connsiteX12" fmla="*/ 9014 w 10063"/>
              <a:gd name="connsiteY12" fmla="*/ 6927 h 10000"/>
              <a:gd name="connsiteX13" fmla="*/ 10063 w 10063"/>
              <a:gd name="connsiteY13" fmla="*/ 6912 h 10000"/>
              <a:gd name="connsiteX0" fmla="*/ 0 w 9995"/>
              <a:gd name="connsiteY0" fmla="*/ 1 h 10000"/>
              <a:gd name="connsiteX1" fmla="*/ 889 w 9995"/>
              <a:gd name="connsiteY1" fmla="*/ 0 h 10000"/>
              <a:gd name="connsiteX2" fmla="*/ 958 w 9995"/>
              <a:gd name="connsiteY2" fmla="*/ 586 h 10000"/>
              <a:gd name="connsiteX3" fmla="*/ 958 w 9995"/>
              <a:gd name="connsiteY3" fmla="*/ 9414 h 10000"/>
              <a:gd name="connsiteX4" fmla="*/ 1029 w 9995"/>
              <a:gd name="connsiteY4" fmla="*/ 10000 h 10000"/>
              <a:gd name="connsiteX5" fmla="*/ 4777 w 9995"/>
              <a:gd name="connsiteY5" fmla="*/ 10000 h 10000"/>
              <a:gd name="connsiteX6" fmla="*/ 4848 w 9995"/>
              <a:gd name="connsiteY6" fmla="*/ 9414 h 10000"/>
              <a:gd name="connsiteX7" fmla="*/ 4848 w 9995"/>
              <a:gd name="connsiteY7" fmla="*/ 4311 h 10000"/>
              <a:gd name="connsiteX8" fmla="*/ 4919 w 9995"/>
              <a:gd name="connsiteY8" fmla="*/ 3723 h 10000"/>
              <a:gd name="connsiteX9" fmla="*/ 8889 w 9995"/>
              <a:gd name="connsiteY9" fmla="*/ 3723 h 10000"/>
              <a:gd name="connsiteX10" fmla="*/ 8959 w 9995"/>
              <a:gd name="connsiteY10" fmla="*/ 4311 h 10000"/>
              <a:gd name="connsiteX11" fmla="*/ 8959 w 9995"/>
              <a:gd name="connsiteY11" fmla="*/ 6297 h 10000"/>
              <a:gd name="connsiteX12" fmla="*/ 9014 w 9995"/>
              <a:gd name="connsiteY12" fmla="*/ 6927 h 10000"/>
              <a:gd name="connsiteX13" fmla="*/ 9995 w 9995"/>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78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34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22 w 10000"/>
              <a:gd name="connsiteY12" fmla="*/ 6949 h 10000"/>
              <a:gd name="connsiteX13" fmla="*/ 10000 w 10000"/>
              <a:gd name="connsiteY13" fmla="*/ 6934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49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7000 h 10000"/>
              <a:gd name="connsiteX0" fmla="*/ 0 w 10007"/>
              <a:gd name="connsiteY0" fmla="*/ 1 h 10000"/>
              <a:gd name="connsiteX1" fmla="*/ 889 w 10007"/>
              <a:gd name="connsiteY1" fmla="*/ 0 h 10000"/>
              <a:gd name="connsiteX2" fmla="*/ 958 w 10007"/>
              <a:gd name="connsiteY2" fmla="*/ 586 h 10000"/>
              <a:gd name="connsiteX3" fmla="*/ 958 w 10007"/>
              <a:gd name="connsiteY3" fmla="*/ 9414 h 10000"/>
              <a:gd name="connsiteX4" fmla="*/ 1030 w 10007"/>
              <a:gd name="connsiteY4" fmla="*/ 10000 h 10000"/>
              <a:gd name="connsiteX5" fmla="*/ 4779 w 10007"/>
              <a:gd name="connsiteY5" fmla="*/ 10000 h 10000"/>
              <a:gd name="connsiteX6" fmla="*/ 4850 w 10007"/>
              <a:gd name="connsiteY6" fmla="*/ 9414 h 10000"/>
              <a:gd name="connsiteX7" fmla="*/ 4850 w 10007"/>
              <a:gd name="connsiteY7" fmla="*/ 4311 h 10000"/>
              <a:gd name="connsiteX8" fmla="*/ 4921 w 10007"/>
              <a:gd name="connsiteY8" fmla="*/ 3723 h 10000"/>
              <a:gd name="connsiteX9" fmla="*/ 8893 w 10007"/>
              <a:gd name="connsiteY9" fmla="*/ 3723 h 10000"/>
              <a:gd name="connsiteX10" fmla="*/ 8963 w 10007"/>
              <a:gd name="connsiteY10" fmla="*/ 4311 h 10000"/>
              <a:gd name="connsiteX11" fmla="*/ 8963 w 10007"/>
              <a:gd name="connsiteY11" fmla="*/ 6297 h 10000"/>
              <a:gd name="connsiteX12" fmla="*/ 9022 w 10007"/>
              <a:gd name="connsiteY12" fmla="*/ 6971 h 10000"/>
              <a:gd name="connsiteX13" fmla="*/ 10007 w 10007"/>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7000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7000 h 10000"/>
              <a:gd name="connsiteX0" fmla="*/ 0 w 10013"/>
              <a:gd name="connsiteY0" fmla="*/ 1 h 10000"/>
              <a:gd name="connsiteX1" fmla="*/ 889 w 10013"/>
              <a:gd name="connsiteY1" fmla="*/ 0 h 10000"/>
              <a:gd name="connsiteX2" fmla="*/ 958 w 10013"/>
              <a:gd name="connsiteY2" fmla="*/ 586 h 10000"/>
              <a:gd name="connsiteX3" fmla="*/ 958 w 10013"/>
              <a:gd name="connsiteY3" fmla="*/ 9414 h 10000"/>
              <a:gd name="connsiteX4" fmla="*/ 1030 w 10013"/>
              <a:gd name="connsiteY4" fmla="*/ 10000 h 10000"/>
              <a:gd name="connsiteX5" fmla="*/ 4779 w 10013"/>
              <a:gd name="connsiteY5" fmla="*/ 10000 h 10000"/>
              <a:gd name="connsiteX6" fmla="*/ 4850 w 10013"/>
              <a:gd name="connsiteY6" fmla="*/ 9414 h 10000"/>
              <a:gd name="connsiteX7" fmla="*/ 4850 w 10013"/>
              <a:gd name="connsiteY7" fmla="*/ 4311 h 10000"/>
              <a:gd name="connsiteX8" fmla="*/ 4921 w 10013"/>
              <a:gd name="connsiteY8" fmla="*/ 3723 h 10000"/>
              <a:gd name="connsiteX9" fmla="*/ 8893 w 10013"/>
              <a:gd name="connsiteY9" fmla="*/ 3723 h 10000"/>
              <a:gd name="connsiteX10" fmla="*/ 8963 w 10013"/>
              <a:gd name="connsiteY10" fmla="*/ 4311 h 10000"/>
              <a:gd name="connsiteX11" fmla="*/ 8963 w 10013"/>
              <a:gd name="connsiteY11" fmla="*/ 6297 h 10000"/>
              <a:gd name="connsiteX12" fmla="*/ 9022 w 10013"/>
              <a:gd name="connsiteY12" fmla="*/ 6971 h 10000"/>
              <a:gd name="connsiteX13" fmla="*/ 10013 w 10013"/>
              <a:gd name="connsiteY13" fmla="*/ 6956 h 10000"/>
              <a:gd name="connsiteX0" fmla="*/ 0 w 10081"/>
              <a:gd name="connsiteY0" fmla="*/ 1 h 10000"/>
              <a:gd name="connsiteX1" fmla="*/ 889 w 10081"/>
              <a:gd name="connsiteY1" fmla="*/ 0 h 10000"/>
              <a:gd name="connsiteX2" fmla="*/ 958 w 10081"/>
              <a:gd name="connsiteY2" fmla="*/ 586 h 10000"/>
              <a:gd name="connsiteX3" fmla="*/ 958 w 10081"/>
              <a:gd name="connsiteY3" fmla="*/ 9414 h 10000"/>
              <a:gd name="connsiteX4" fmla="*/ 1030 w 10081"/>
              <a:gd name="connsiteY4" fmla="*/ 10000 h 10000"/>
              <a:gd name="connsiteX5" fmla="*/ 4779 w 10081"/>
              <a:gd name="connsiteY5" fmla="*/ 10000 h 10000"/>
              <a:gd name="connsiteX6" fmla="*/ 4850 w 10081"/>
              <a:gd name="connsiteY6" fmla="*/ 9414 h 10000"/>
              <a:gd name="connsiteX7" fmla="*/ 4850 w 10081"/>
              <a:gd name="connsiteY7" fmla="*/ 4311 h 10000"/>
              <a:gd name="connsiteX8" fmla="*/ 4921 w 10081"/>
              <a:gd name="connsiteY8" fmla="*/ 3723 h 10000"/>
              <a:gd name="connsiteX9" fmla="*/ 8893 w 10081"/>
              <a:gd name="connsiteY9" fmla="*/ 3723 h 10000"/>
              <a:gd name="connsiteX10" fmla="*/ 8963 w 10081"/>
              <a:gd name="connsiteY10" fmla="*/ 4311 h 10000"/>
              <a:gd name="connsiteX11" fmla="*/ 8963 w 10081"/>
              <a:gd name="connsiteY11" fmla="*/ 6297 h 10000"/>
              <a:gd name="connsiteX12" fmla="*/ 9022 w 10081"/>
              <a:gd name="connsiteY12" fmla="*/ 6971 h 10000"/>
              <a:gd name="connsiteX13" fmla="*/ 10081 w 10081"/>
              <a:gd name="connsiteY13" fmla="*/ 6978 h 10000"/>
              <a:gd name="connsiteX0" fmla="*/ 0 w 10089"/>
              <a:gd name="connsiteY0" fmla="*/ 1 h 10000"/>
              <a:gd name="connsiteX1" fmla="*/ 889 w 10089"/>
              <a:gd name="connsiteY1" fmla="*/ 0 h 10000"/>
              <a:gd name="connsiteX2" fmla="*/ 958 w 10089"/>
              <a:gd name="connsiteY2" fmla="*/ 586 h 10000"/>
              <a:gd name="connsiteX3" fmla="*/ 958 w 10089"/>
              <a:gd name="connsiteY3" fmla="*/ 9414 h 10000"/>
              <a:gd name="connsiteX4" fmla="*/ 1030 w 10089"/>
              <a:gd name="connsiteY4" fmla="*/ 10000 h 10000"/>
              <a:gd name="connsiteX5" fmla="*/ 4779 w 10089"/>
              <a:gd name="connsiteY5" fmla="*/ 10000 h 10000"/>
              <a:gd name="connsiteX6" fmla="*/ 4850 w 10089"/>
              <a:gd name="connsiteY6" fmla="*/ 9414 h 10000"/>
              <a:gd name="connsiteX7" fmla="*/ 4850 w 10089"/>
              <a:gd name="connsiteY7" fmla="*/ 4311 h 10000"/>
              <a:gd name="connsiteX8" fmla="*/ 4921 w 10089"/>
              <a:gd name="connsiteY8" fmla="*/ 3723 h 10000"/>
              <a:gd name="connsiteX9" fmla="*/ 8893 w 10089"/>
              <a:gd name="connsiteY9" fmla="*/ 3723 h 10000"/>
              <a:gd name="connsiteX10" fmla="*/ 8963 w 10089"/>
              <a:gd name="connsiteY10" fmla="*/ 4311 h 10000"/>
              <a:gd name="connsiteX11" fmla="*/ 8963 w 10089"/>
              <a:gd name="connsiteY11" fmla="*/ 6297 h 10000"/>
              <a:gd name="connsiteX12" fmla="*/ 9022 w 10089"/>
              <a:gd name="connsiteY12" fmla="*/ 6971 h 10000"/>
              <a:gd name="connsiteX13" fmla="*/ 10089 w 10089"/>
              <a:gd name="connsiteY13" fmla="*/ 6956 h 10000"/>
              <a:gd name="connsiteX0" fmla="*/ 0 w 10092"/>
              <a:gd name="connsiteY0" fmla="*/ 1 h 10000"/>
              <a:gd name="connsiteX1" fmla="*/ 889 w 10092"/>
              <a:gd name="connsiteY1" fmla="*/ 0 h 10000"/>
              <a:gd name="connsiteX2" fmla="*/ 958 w 10092"/>
              <a:gd name="connsiteY2" fmla="*/ 586 h 10000"/>
              <a:gd name="connsiteX3" fmla="*/ 958 w 10092"/>
              <a:gd name="connsiteY3" fmla="*/ 9414 h 10000"/>
              <a:gd name="connsiteX4" fmla="*/ 1030 w 10092"/>
              <a:gd name="connsiteY4" fmla="*/ 10000 h 10000"/>
              <a:gd name="connsiteX5" fmla="*/ 4779 w 10092"/>
              <a:gd name="connsiteY5" fmla="*/ 10000 h 10000"/>
              <a:gd name="connsiteX6" fmla="*/ 4850 w 10092"/>
              <a:gd name="connsiteY6" fmla="*/ 9414 h 10000"/>
              <a:gd name="connsiteX7" fmla="*/ 4850 w 10092"/>
              <a:gd name="connsiteY7" fmla="*/ 4311 h 10000"/>
              <a:gd name="connsiteX8" fmla="*/ 4921 w 10092"/>
              <a:gd name="connsiteY8" fmla="*/ 3723 h 10000"/>
              <a:gd name="connsiteX9" fmla="*/ 8893 w 10092"/>
              <a:gd name="connsiteY9" fmla="*/ 3723 h 10000"/>
              <a:gd name="connsiteX10" fmla="*/ 8963 w 10092"/>
              <a:gd name="connsiteY10" fmla="*/ 4311 h 10000"/>
              <a:gd name="connsiteX11" fmla="*/ 8963 w 10092"/>
              <a:gd name="connsiteY11" fmla="*/ 6297 h 10000"/>
              <a:gd name="connsiteX12" fmla="*/ 9022 w 10092"/>
              <a:gd name="connsiteY12" fmla="*/ 6971 h 10000"/>
              <a:gd name="connsiteX13" fmla="*/ 10092 w 10092"/>
              <a:gd name="connsiteY13" fmla="*/ 6978 h 10000"/>
              <a:gd name="connsiteX0" fmla="*/ 0 w 10095"/>
              <a:gd name="connsiteY0" fmla="*/ 1 h 10000"/>
              <a:gd name="connsiteX1" fmla="*/ 889 w 10095"/>
              <a:gd name="connsiteY1" fmla="*/ 0 h 10000"/>
              <a:gd name="connsiteX2" fmla="*/ 958 w 10095"/>
              <a:gd name="connsiteY2" fmla="*/ 586 h 10000"/>
              <a:gd name="connsiteX3" fmla="*/ 958 w 10095"/>
              <a:gd name="connsiteY3" fmla="*/ 9414 h 10000"/>
              <a:gd name="connsiteX4" fmla="*/ 1030 w 10095"/>
              <a:gd name="connsiteY4" fmla="*/ 10000 h 10000"/>
              <a:gd name="connsiteX5" fmla="*/ 4779 w 10095"/>
              <a:gd name="connsiteY5" fmla="*/ 10000 h 10000"/>
              <a:gd name="connsiteX6" fmla="*/ 4850 w 10095"/>
              <a:gd name="connsiteY6" fmla="*/ 9414 h 10000"/>
              <a:gd name="connsiteX7" fmla="*/ 4850 w 10095"/>
              <a:gd name="connsiteY7" fmla="*/ 4311 h 10000"/>
              <a:gd name="connsiteX8" fmla="*/ 4921 w 10095"/>
              <a:gd name="connsiteY8" fmla="*/ 3723 h 10000"/>
              <a:gd name="connsiteX9" fmla="*/ 8893 w 10095"/>
              <a:gd name="connsiteY9" fmla="*/ 3723 h 10000"/>
              <a:gd name="connsiteX10" fmla="*/ 8963 w 10095"/>
              <a:gd name="connsiteY10" fmla="*/ 4311 h 10000"/>
              <a:gd name="connsiteX11" fmla="*/ 8963 w 10095"/>
              <a:gd name="connsiteY11" fmla="*/ 6297 h 10000"/>
              <a:gd name="connsiteX12" fmla="*/ 9022 w 10095"/>
              <a:gd name="connsiteY12" fmla="*/ 6971 h 10000"/>
              <a:gd name="connsiteX13" fmla="*/ 10095 w 10095"/>
              <a:gd name="connsiteY13" fmla="*/ 6978 h 10000"/>
              <a:gd name="connsiteX0" fmla="*/ 0 w 10095"/>
              <a:gd name="connsiteY0" fmla="*/ 1 h 10000"/>
              <a:gd name="connsiteX1" fmla="*/ 889 w 10095"/>
              <a:gd name="connsiteY1" fmla="*/ 0 h 10000"/>
              <a:gd name="connsiteX2" fmla="*/ 958 w 10095"/>
              <a:gd name="connsiteY2" fmla="*/ 586 h 10000"/>
              <a:gd name="connsiteX3" fmla="*/ 958 w 10095"/>
              <a:gd name="connsiteY3" fmla="*/ 9414 h 10000"/>
              <a:gd name="connsiteX4" fmla="*/ 1030 w 10095"/>
              <a:gd name="connsiteY4" fmla="*/ 10000 h 10000"/>
              <a:gd name="connsiteX5" fmla="*/ 4779 w 10095"/>
              <a:gd name="connsiteY5" fmla="*/ 10000 h 10000"/>
              <a:gd name="connsiteX6" fmla="*/ 4850 w 10095"/>
              <a:gd name="connsiteY6" fmla="*/ 9414 h 10000"/>
              <a:gd name="connsiteX7" fmla="*/ 4850 w 10095"/>
              <a:gd name="connsiteY7" fmla="*/ 4311 h 10000"/>
              <a:gd name="connsiteX8" fmla="*/ 4921 w 10095"/>
              <a:gd name="connsiteY8" fmla="*/ 3723 h 10000"/>
              <a:gd name="connsiteX9" fmla="*/ 8893 w 10095"/>
              <a:gd name="connsiteY9" fmla="*/ 3723 h 10000"/>
              <a:gd name="connsiteX10" fmla="*/ 8963 w 10095"/>
              <a:gd name="connsiteY10" fmla="*/ 4311 h 10000"/>
              <a:gd name="connsiteX11" fmla="*/ 8963 w 10095"/>
              <a:gd name="connsiteY11" fmla="*/ 6297 h 10000"/>
              <a:gd name="connsiteX12" fmla="*/ 9022 w 10095"/>
              <a:gd name="connsiteY12" fmla="*/ 6971 h 10000"/>
              <a:gd name="connsiteX13" fmla="*/ 10095 w 10095"/>
              <a:gd name="connsiteY13" fmla="*/ 6978 h 10000"/>
              <a:gd name="connsiteX0" fmla="*/ 0 w 10095"/>
              <a:gd name="connsiteY0" fmla="*/ 1 h 10000"/>
              <a:gd name="connsiteX1" fmla="*/ 889 w 10095"/>
              <a:gd name="connsiteY1" fmla="*/ 0 h 10000"/>
              <a:gd name="connsiteX2" fmla="*/ 958 w 10095"/>
              <a:gd name="connsiteY2" fmla="*/ 586 h 10000"/>
              <a:gd name="connsiteX3" fmla="*/ 958 w 10095"/>
              <a:gd name="connsiteY3" fmla="*/ 9414 h 10000"/>
              <a:gd name="connsiteX4" fmla="*/ 1030 w 10095"/>
              <a:gd name="connsiteY4" fmla="*/ 10000 h 10000"/>
              <a:gd name="connsiteX5" fmla="*/ 4779 w 10095"/>
              <a:gd name="connsiteY5" fmla="*/ 10000 h 10000"/>
              <a:gd name="connsiteX6" fmla="*/ 4850 w 10095"/>
              <a:gd name="connsiteY6" fmla="*/ 9414 h 10000"/>
              <a:gd name="connsiteX7" fmla="*/ 4850 w 10095"/>
              <a:gd name="connsiteY7" fmla="*/ 4311 h 10000"/>
              <a:gd name="connsiteX8" fmla="*/ 4921 w 10095"/>
              <a:gd name="connsiteY8" fmla="*/ 3723 h 10000"/>
              <a:gd name="connsiteX9" fmla="*/ 8893 w 10095"/>
              <a:gd name="connsiteY9" fmla="*/ 3723 h 10000"/>
              <a:gd name="connsiteX10" fmla="*/ 8963 w 10095"/>
              <a:gd name="connsiteY10" fmla="*/ 4311 h 10000"/>
              <a:gd name="connsiteX11" fmla="*/ 8963 w 10095"/>
              <a:gd name="connsiteY11" fmla="*/ 6297 h 10000"/>
              <a:gd name="connsiteX12" fmla="*/ 9022 w 10095"/>
              <a:gd name="connsiteY12" fmla="*/ 6971 h 10000"/>
              <a:gd name="connsiteX13" fmla="*/ 10095 w 10095"/>
              <a:gd name="connsiteY13" fmla="*/ 6912 h 10000"/>
              <a:gd name="connsiteX0" fmla="*/ 0 w 10105"/>
              <a:gd name="connsiteY0" fmla="*/ 1 h 10000"/>
              <a:gd name="connsiteX1" fmla="*/ 889 w 10105"/>
              <a:gd name="connsiteY1" fmla="*/ 0 h 10000"/>
              <a:gd name="connsiteX2" fmla="*/ 958 w 10105"/>
              <a:gd name="connsiteY2" fmla="*/ 586 h 10000"/>
              <a:gd name="connsiteX3" fmla="*/ 958 w 10105"/>
              <a:gd name="connsiteY3" fmla="*/ 9414 h 10000"/>
              <a:gd name="connsiteX4" fmla="*/ 1030 w 10105"/>
              <a:gd name="connsiteY4" fmla="*/ 10000 h 10000"/>
              <a:gd name="connsiteX5" fmla="*/ 4779 w 10105"/>
              <a:gd name="connsiteY5" fmla="*/ 10000 h 10000"/>
              <a:gd name="connsiteX6" fmla="*/ 4850 w 10105"/>
              <a:gd name="connsiteY6" fmla="*/ 9414 h 10000"/>
              <a:gd name="connsiteX7" fmla="*/ 4850 w 10105"/>
              <a:gd name="connsiteY7" fmla="*/ 4311 h 10000"/>
              <a:gd name="connsiteX8" fmla="*/ 4921 w 10105"/>
              <a:gd name="connsiteY8" fmla="*/ 3723 h 10000"/>
              <a:gd name="connsiteX9" fmla="*/ 8893 w 10105"/>
              <a:gd name="connsiteY9" fmla="*/ 3723 h 10000"/>
              <a:gd name="connsiteX10" fmla="*/ 8963 w 10105"/>
              <a:gd name="connsiteY10" fmla="*/ 4311 h 10000"/>
              <a:gd name="connsiteX11" fmla="*/ 8963 w 10105"/>
              <a:gd name="connsiteY11" fmla="*/ 6297 h 10000"/>
              <a:gd name="connsiteX12" fmla="*/ 9022 w 10105"/>
              <a:gd name="connsiteY12" fmla="*/ 6971 h 10000"/>
              <a:gd name="connsiteX13" fmla="*/ 10105 w 10105"/>
              <a:gd name="connsiteY13" fmla="*/ 6978 h 10000"/>
              <a:gd name="connsiteX0" fmla="*/ 0 w 10105"/>
              <a:gd name="connsiteY0" fmla="*/ 1 h 10000"/>
              <a:gd name="connsiteX1" fmla="*/ 889 w 10105"/>
              <a:gd name="connsiteY1" fmla="*/ 0 h 10000"/>
              <a:gd name="connsiteX2" fmla="*/ 958 w 10105"/>
              <a:gd name="connsiteY2" fmla="*/ 586 h 10000"/>
              <a:gd name="connsiteX3" fmla="*/ 958 w 10105"/>
              <a:gd name="connsiteY3" fmla="*/ 9414 h 10000"/>
              <a:gd name="connsiteX4" fmla="*/ 1030 w 10105"/>
              <a:gd name="connsiteY4" fmla="*/ 10000 h 10000"/>
              <a:gd name="connsiteX5" fmla="*/ 4779 w 10105"/>
              <a:gd name="connsiteY5" fmla="*/ 10000 h 10000"/>
              <a:gd name="connsiteX6" fmla="*/ 4850 w 10105"/>
              <a:gd name="connsiteY6" fmla="*/ 9414 h 10000"/>
              <a:gd name="connsiteX7" fmla="*/ 4850 w 10105"/>
              <a:gd name="connsiteY7" fmla="*/ 4311 h 10000"/>
              <a:gd name="connsiteX8" fmla="*/ 4921 w 10105"/>
              <a:gd name="connsiteY8" fmla="*/ 3723 h 10000"/>
              <a:gd name="connsiteX9" fmla="*/ 8893 w 10105"/>
              <a:gd name="connsiteY9" fmla="*/ 3723 h 10000"/>
              <a:gd name="connsiteX10" fmla="*/ 8963 w 10105"/>
              <a:gd name="connsiteY10" fmla="*/ 4311 h 10000"/>
              <a:gd name="connsiteX11" fmla="*/ 8963 w 10105"/>
              <a:gd name="connsiteY11" fmla="*/ 6297 h 10000"/>
              <a:gd name="connsiteX12" fmla="*/ 9022 w 10105"/>
              <a:gd name="connsiteY12" fmla="*/ 6971 h 10000"/>
              <a:gd name="connsiteX13" fmla="*/ 10105 w 10105"/>
              <a:gd name="connsiteY13" fmla="*/ 6978 h 10000"/>
              <a:gd name="connsiteX0" fmla="*/ 0 w 10105"/>
              <a:gd name="connsiteY0" fmla="*/ 1 h 10000"/>
              <a:gd name="connsiteX1" fmla="*/ 889 w 10105"/>
              <a:gd name="connsiteY1" fmla="*/ 0 h 10000"/>
              <a:gd name="connsiteX2" fmla="*/ 958 w 10105"/>
              <a:gd name="connsiteY2" fmla="*/ 586 h 10000"/>
              <a:gd name="connsiteX3" fmla="*/ 958 w 10105"/>
              <a:gd name="connsiteY3" fmla="*/ 9414 h 10000"/>
              <a:gd name="connsiteX4" fmla="*/ 1030 w 10105"/>
              <a:gd name="connsiteY4" fmla="*/ 10000 h 10000"/>
              <a:gd name="connsiteX5" fmla="*/ 4779 w 10105"/>
              <a:gd name="connsiteY5" fmla="*/ 10000 h 10000"/>
              <a:gd name="connsiteX6" fmla="*/ 4850 w 10105"/>
              <a:gd name="connsiteY6" fmla="*/ 9414 h 10000"/>
              <a:gd name="connsiteX7" fmla="*/ 4850 w 10105"/>
              <a:gd name="connsiteY7" fmla="*/ 4311 h 10000"/>
              <a:gd name="connsiteX8" fmla="*/ 4921 w 10105"/>
              <a:gd name="connsiteY8" fmla="*/ 3723 h 10000"/>
              <a:gd name="connsiteX9" fmla="*/ 8893 w 10105"/>
              <a:gd name="connsiteY9" fmla="*/ 3723 h 10000"/>
              <a:gd name="connsiteX10" fmla="*/ 8963 w 10105"/>
              <a:gd name="connsiteY10" fmla="*/ 4311 h 10000"/>
              <a:gd name="connsiteX11" fmla="*/ 8963 w 10105"/>
              <a:gd name="connsiteY11" fmla="*/ 6297 h 10000"/>
              <a:gd name="connsiteX12" fmla="*/ 9022 w 10105"/>
              <a:gd name="connsiteY12" fmla="*/ 6971 h 10000"/>
              <a:gd name="connsiteX13" fmla="*/ 10105 w 10105"/>
              <a:gd name="connsiteY13" fmla="*/ 6978 h 10000"/>
              <a:gd name="connsiteX0" fmla="*/ 0 w 10131"/>
              <a:gd name="connsiteY0" fmla="*/ 1 h 10000"/>
              <a:gd name="connsiteX1" fmla="*/ 889 w 10131"/>
              <a:gd name="connsiteY1" fmla="*/ 0 h 10000"/>
              <a:gd name="connsiteX2" fmla="*/ 958 w 10131"/>
              <a:gd name="connsiteY2" fmla="*/ 586 h 10000"/>
              <a:gd name="connsiteX3" fmla="*/ 958 w 10131"/>
              <a:gd name="connsiteY3" fmla="*/ 9414 h 10000"/>
              <a:gd name="connsiteX4" fmla="*/ 1030 w 10131"/>
              <a:gd name="connsiteY4" fmla="*/ 10000 h 10000"/>
              <a:gd name="connsiteX5" fmla="*/ 4779 w 10131"/>
              <a:gd name="connsiteY5" fmla="*/ 10000 h 10000"/>
              <a:gd name="connsiteX6" fmla="*/ 4850 w 10131"/>
              <a:gd name="connsiteY6" fmla="*/ 9414 h 10000"/>
              <a:gd name="connsiteX7" fmla="*/ 4850 w 10131"/>
              <a:gd name="connsiteY7" fmla="*/ 4311 h 10000"/>
              <a:gd name="connsiteX8" fmla="*/ 4921 w 10131"/>
              <a:gd name="connsiteY8" fmla="*/ 3723 h 10000"/>
              <a:gd name="connsiteX9" fmla="*/ 8893 w 10131"/>
              <a:gd name="connsiteY9" fmla="*/ 3723 h 10000"/>
              <a:gd name="connsiteX10" fmla="*/ 8963 w 10131"/>
              <a:gd name="connsiteY10" fmla="*/ 4311 h 10000"/>
              <a:gd name="connsiteX11" fmla="*/ 8963 w 10131"/>
              <a:gd name="connsiteY11" fmla="*/ 6297 h 10000"/>
              <a:gd name="connsiteX12" fmla="*/ 9022 w 10131"/>
              <a:gd name="connsiteY12" fmla="*/ 6971 h 10000"/>
              <a:gd name="connsiteX13" fmla="*/ 10131 w 10131"/>
              <a:gd name="connsiteY13" fmla="*/ 6978 h 10000"/>
              <a:gd name="connsiteX0" fmla="*/ 0 w 9996"/>
              <a:gd name="connsiteY0" fmla="*/ 1 h 10000"/>
              <a:gd name="connsiteX1" fmla="*/ 889 w 9996"/>
              <a:gd name="connsiteY1" fmla="*/ 0 h 10000"/>
              <a:gd name="connsiteX2" fmla="*/ 958 w 9996"/>
              <a:gd name="connsiteY2" fmla="*/ 586 h 10000"/>
              <a:gd name="connsiteX3" fmla="*/ 958 w 9996"/>
              <a:gd name="connsiteY3" fmla="*/ 9414 h 10000"/>
              <a:gd name="connsiteX4" fmla="*/ 1030 w 9996"/>
              <a:gd name="connsiteY4" fmla="*/ 10000 h 10000"/>
              <a:gd name="connsiteX5" fmla="*/ 4779 w 9996"/>
              <a:gd name="connsiteY5" fmla="*/ 10000 h 10000"/>
              <a:gd name="connsiteX6" fmla="*/ 4850 w 9996"/>
              <a:gd name="connsiteY6" fmla="*/ 9414 h 10000"/>
              <a:gd name="connsiteX7" fmla="*/ 4850 w 9996"/>
              <a:gd name="connsiteY7" fmla="*/ 4311 h 10000"/>
              <a:gd name="connsiteX8" fmla="*/ 4921 w 9996"/>
              <a:gd name="connsiteY8" fmla="*/ 3723 h 10000"/>
              <a:gd name="connsiteX9" fmla="*/ 8893 w 9996"/>
              <a:gd name="connsiteY9" fmla="*/ 3723 h 10000"/>
              <a:gd name="connsiteX10" fmla="*/ 8963 w 9996"/>
              <a:gd name="connsiteY10" fmla="*/ 4311 h 10000"/>
              <a:gd name="connsiteX11" fmla="*/ 8963 w 9996"/>
              <a:gd name="connsiteY11" fmla="*/ 6297 h 10000"/>
              <a:gd name="connsiteX12" fmla="*/ 9022 w 9996"/>
              <a:gd name="connsiteY12" fmla="*/ 6971 h 10000"/>
              <a:gd name="connsiteX13" fmla="*/ 9996 w 9996"/>
              <a:gd name="connsiteY13" fmla="*/ 6978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996" h="10000">
                <a:moveTo>
                  <a:pt x="0" y="1"/>
                </a:moveTo>
                <a:lnTo>
                  <a:pt x="889" y="0"/>
                </a:lnTo>
                <a:cubicBezTo>
                  <a:pt x="924" y="0"/>
                  <a:pt x="958" y="272"/>
                  <a:pt x="958" y="586"/>
                </a:cubicBezTo>
                <a:lnTo>
                  <a:pt x="958" y="9414"/>
                </a:lnTo>
                <a:cubicBezTo>
                  <a:pt x="958" y="9750"/>
                  <a:pt x="989" y="10000"/>
                  <a:pt x="1030" y="10000"/>
                </a:cubicBezTo>
                <a:lnTo>
                  <a:pt x="4779" y="10000"/>
                </a:lnTo>
                <a:cubicBezTo>
                  <a:pt x="4818" y="10000"/>
                  <a:pt x="4850" y="9750"/>
                  <a:pt x="4850" y="9414"/>
                </a:cubicBezTo>
                <a:lnTo>
                  <a:pt x="4850" y="4311"/>
                </a:lnTo>
                <a:cubicBezTo>
                  <a:pt x="4850" y="3996"/>
                  <a:pt x="4883" y="3723"/>
                  <a:pt x="4921" y="3723"/>
                </a:cubicBezTo>
                <a:lnTo>
                  <a:pt x="8893" y="3723"/>
                </a:lnTo>
                <a:cubicBezTo>
                  <a:pt x="8932" y="3723"/>
                  <a:pt x="8963" y="3996"/>
                  <a:pt x="8963" y="4311"/>
                </a:cubicBezTo>
                <a:lnTo>
                  <a:pt x="8963" y="6297"/>
                </a:lnTo>
                <a:cubicBezTo>
                  <a:pt x="8963" y="6633"/>
                  <a:pt x="8986" y="6971"/>
                  <a:pt x="9022" y="6971"/>
                </a:cubicBezTo>
                <a:cubicBezTo>
                  <a:pt x="9669" y="6959"/>
                  <a:pt x="9686" y="6968"/>
                  <a:pt x="9996" y="6978"/>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Freeform 11"/>
          <p:cNvSpPr>
            <a:spLocks/>
          </p:cNvSpPr>
          <p:nvPr/>
        </p:nvSpPr>
        <p:spPr bwMode="gray">
          <a:xfrm>
            <a:off x="-4979" y="4336985"/>
            <a:ext cx="9147342" cy="1757619"/>
          </a:xfrm>
          <a:custGeom>
            <a:avLst/>
            <a:gdLst>
              <a:gd name="T0" fmla="*/ 0 w 8479"/>
              <a:gd name="T1" fmla="*/ 772 h 894"/>
              <a:gd name="T2" fmla="*/ 1132 w 8479"/>
              <a:gd name="T3" fmla="*/ 772 h 894"/>
              <a:gd name="T4" fmla="*/ 1160 w 8479"/>
              <a:gd name="T5" fmla="*/ 744 h 894"/>
              <a:gd name="T6" fmla="*/ 1160 w 8479"/>
              <a:gd name="T7" fmla="*/ 263 h 894"/>
              <a:gd name="T8" fmla="*/ 1188 w 8479"/>
              <a:gd name="T9" fmla="*/ 235 h 894"/>
              <a:gd name="T10" fmla="*/ 2202 w 8479"/>
              <a:gd name="T11" fmla="*/ 235 h 894"/>
              <a:gd name="T12" fmla="*/ 2230 w 8479"/>
              <a:gd name="T13" fmla="*/ 263 h 894"/>
              <a:gd name="T14" fmla="*/ 2230 w 8479"/>
              <a:gd name="T15" fmla="*/ 745 h 894"/>
              <a:gd name="T16" fmla="*/ 2258 w 8479"/>
              <a:gd name="T17" fmla="*/ 773 h 894"/>
              <a:gd name="T18" fmla="*/ 3688 w 8479"/>
              <a:gd name="T19" fmla="*/ 773 h 894"/>
              <a:gd name="T20" fmla="*/ 3716 w 8479"/>
              <a:gd name="T21" fmla="*/ 745 h 894"/>
              <a:gd name="T22" fmla="*/ 3716 w 8479"/>
              <a:gd name="T23" fmla="*/ 28 h 894"/>
              <a:gd name="T24" fmla="*/ 3744 w 8479"/>
              <a:gd name="T25" fmla="*/ 0 h 894"/>
              <a:gd name="T26" fmla="*/ 5033 w 8479"/>
              <a:gd name="T27" fmla="*/ 0 h 894"/>
              <a:gd name="T28" fmla="*/ 5061 w 8479"/>
              <a:gd name="T29" fmla="*/ 28 h 894"/>
              <a:gd name="T30" fmla="*/ 5061 w 8479"/>
              <a:gd name="T31" fmla="*/ 516 h 894"/>
              <a:gd name="T32" fmla="*/ 5089 w 8479"/>
              <a:gd name="T33" fmla="*/ 544 h 894"/>
              <a:gd name="T34" fmla="*/ 5446 w 8479"/>
              <a:gd name="T35" fmla="*/ 544 h 894"/>
              <a:gd name="T36" fmla="*/ 5474 w 8479"/>
              <a:gd name="T37" fmla="*/ 516 h 894"/>
              <a:gd name="T38" fmla="*/ 5474 w 8479"/>
              <a:gd name="T39" fmla="*/ 205 h 894"/>
              <a:gd name="T40" fmla="*/ 5502 w 8479"/>
              <a:gd name="T41" fmla="*/ 177 h 894"/>
              <a:gd name="T42" fmla="*/ 6295 w 8479"/>
              <a:gd name="T43" fmla="*/ 177 h 894"/>
              <a:gd name="T44" fmla="*/ 6323 w 8479"/>
              <a:gd name="T45" fmla="*/ 205 h 894"/>
              <a:gd name="T46" fmla="*/ 6323 w 8479"/>
              <a:gd name="T47" fmla="*/ 866 h 894"/>
              <a:gd name="T48" fmla="*/ 6351 w 8479"/>
              <a:gd name="T49" fmla="*/ 894 h 894"/>
              <a:gd name="T50" fmla="*/ 7237 w 8479"/>
              <a:gd name="T51" fmla="*/ 894 h 894"/>
              <a:gd name="T52" fmla="*/ 7265 w 8479"/>
              <a:gd name="T53" fmla="*/ 866 h 894"/>
              <a:gd name="T54" fmla="*/ 7265 w 8479"/>
              <a:gd name="T55" fmla="*/ 563 h 894"/>
              <a:gd name="T56" fmla="*/ 7293 w 8479"/>
              <a:gd name="T57" fmla="*/ 535 h 894"/>
              <a:gd name="T58" fmla="*/ 8479 w 8479"/>
              <a:gd name="T59" fmla="*/ 535 h 894"/>
              <a:gd name="connsiteX0" fmla="*/ 0 w 8665"/>
              <a:gd name="connsiteY0" fmla="*/ 8635 h 10000"/>
              <a:gd name="connsiteX1" fmla="*/ 33 w 8665"/>
              <a:gd name="connsiteY1" fmla="*/ 8322 h 10000"/>
              <a:gd name="connsiteX2" fmla="*/ 33 w 8665"/>
              <a:gd name="connsiteY2" fmla="*/ 2942 h 10000"/>
              <a:gd name="connsiteX3" fmla="*/ 66 w 8665"/>
              <a:gd name="connsiteY3" fmla="*/ 2629 h 10000"/>
              <a:gd name="connsiteX4" fmla="*/ 1262 w 8665"/>
              <a:gd name="connsiteY4" fmla="*/ 2629 h 10000"/>
              <a:gd name="connsiteX5" fmla="*/ 1295 w 8665"/>
              <a:gd name="connsiteY5" fmla="*/ 2942 h 10000"/>
              <a:gd name="connsiteX6" fmla="*/ 1295 w 8665"/>
              <a:gd name="connsiteY6" fmla="*/ 8333 h 10000"/>
              <a:gd name="connsiteX7" fmla="*/ 1328 w 8665"/>
              <a:gd name="connsiteY7" fmla="*/ 8647 h 10000"/>
              <a:gd name="connsiteX8" fmla="*/ 3015 w 8665"/>
              <a:gd name="connsiteY8" fmla="*/ 8647 h 10000"/>
              <a:gd name="connsiteX9" fmla="*/ 3048 w 8665"/>
              <a:gd name="connsiteY9" fmla="*/ 8333 h 10000"/>
              <a:gd name="connsiteX10" fmla="*/ 3048 w 8665"/>
              <a:gd name="connsiteY10" fmla="*/ 313 h 10000"/>
              <a:gd name="connsiteX11" fmla="*/ 3081 w 8665"/>
              <a:gd name="connsiteY11" fmla="*/ 0 h 10000"/>
              <a:gd name="connsiteX12" fmla="*/ 4601 w 8665"/>
              <a:gd name="connsiteY12" fmla="*/ 0 h 10000"/>
              <a:gd name="connsiteX13" fmla="*/ 4634 w 8665"/>
              <a:gd name="connsiteY13" fmla="*/ 313 h 10000"/>
              <a:gd name="connsiteX14" fmla="*/ 4634 w 8665"/>
              <a:gd name="connsiteY14" fmla="*/ 5772 h 10000"/>
              <a:gd name="connsiteX15" fmla="*/ 4667 w 8665"/>
              <a:gd name="connsiteY15" fmla="*/ 6085 h 10000"/>
              <a:gd name="connsiteX16" fmla="*/ 5088 w 8665"/>
              <a:gd name="connsiteY16" fmla="*/ 6085 h 10000"/>
              <a:gd name="connsiteX17" fmla="*/ 5121 w 8665"/>
              <a:gd name="connsiteY17" fmla="*/ 5772 h 10000"/>
              <a:gd name="connsiteX18" fmla="*/ 5121 w 8665"/>
              <a:gd name="connsiteY18" fmla="*/ 2293 h 10000"/>
              <a:gd name="connsiteX19" fmla="*/ 5154 w 8665"/>
              <a:gd name="connsiteY19" fmla="*/ 1980 h 10000"/>
              <a:gd name="connsiteX20" fmla="*/ 6089 w 8665"/>
              <a:gd name="connsiteY20" fmla="*/ 1980 h 10000"/>
              <a:gd name="connsiteX21" fmla="*/ 6122 w 8665"/>
              <a:gd name="connsiteY21" fmla="*/ 2293 h 10000"/>
              <a:gd name="connsiteX22" fmla="*/ 6122 w 8665"/>
              <a:gd name="connsiteY22" fmla="*/ 9687 h 10000"/>
              <a:gd name="connsiteX23" fmla="*/ 6155 w 8665"/>
              <a:gd name="connsiteY23" fmla="*/ 10000 h 10000"/>
              <a:gd name="connsiteX24" fmla="*/ 7200 w 8665"/>
              <a:gd name="connsiteY24" fmla="*/ 10000 h 10000"/>
              <a:gd name="connsiteX25" fmla="*/ 7233 w 8665"/>
              <a:gd name="connsiteY25" fmla="*/ 9687 h 10000"/>
              <a:gd name="connsiteX26" fmla="*/ 7233 w 8665"/>
              <a:gd name="connsiteY26" fmla="*/ 6298 h 10000"/>
              <a:gd name="connsiteX27" fmla="*/ 7266 w 8665"/>
              <a:gd name="connsiteY27" fmla="*/ 5984 h 10000"/>
              <a:gd name="connsiteX28" fmla="*/ 8665 w 8665"/>
              <a:gd name="connsiteY28" fmla="*/ 5984 h 10000"/>
              <a:gd name="connsiteX0" fmla="*/ 0 w 9962"/>
              <a:gd name="connsiteY0" fmla="*/ 8322 h 10000"/>
              <a:gd name="connsiteX1" fmla="*/ 0 w 9962"/>
              <a:gd name="connsiteY1" fmla="*/ 2942 h 10000"/>
              <a:gd name="connsiteX2" fmla="*/ 38 w 9962"/>
              <a:gd name="connsiteY2" fmla="*/ 2629 h 10000"/>
              <a:gd name="connsiteX3" fmla="*/ 1418 w 9962"/>
              <a:gd name="connsiteY3" fmla="*/ 2629 h 10000"/>
              <a:gd name="connsiteX4" fmla="*/ 1457 w 9962"/>
              <a:gd name="connsiteY4" fmla="*/ 2942 h 10000"/>
              <a:gd name="connsiteX5" fmla="*/ 1457 w 9962"/>
              <a:gd name="connsiteY5" fmla="*/ 8333 h 10000"/>
              <a:gd name="connsiteX6" fmla="*/ 1495 w 9962"/>
              <a:gd name="connsiteY6" fmla="*/ 8647 h 10000"/>
              <a:gd name="connsiteX7" fmla="*/ 3442 w 9962"/>
              <a:gd name="connsiteY7" fmla="*/ 8647 h 10000"/>
              <a:gd name="connsiteX8" fmla="*/ 3480 w 9962"/>
              <a:gd name="connsiteY8" fmla="*/ 8333 h 10000"/>
              <a:gd name="connsiteX9" fmla="*/ 3480 w 9962"/>
              <a:gd name="connsiteY9" fmla="*/ 313 h 10000"/>
              <a:gd name="connsiteX10" fmla="*/ 3518 w 9962"/>
              <a:gd name="connsiteY10" fmla="*/ 0 h 10000"/>
              <a:gd name="connsiteX11" fmla="*/ 5272 w 9962"/>
              <a:gd name="connsiteY11" fmla="*/ 0 h 10000"/>
              <a:gd name="connsiteX12" fmla="*/ 5310 w 9962"/>
              <a:gd name="connsiteY12" fmla="*/ 313 h 10000"/>
              <a:gd name="connsiteX13" fmla="*/ 5310 w 9962"/>
              <a:gd name="connsiteY13" fmla="*/ 5772 h 10000"/>
              <a:gd name="connsiteX14" fmla="*/ 5348 w 9962"/>
              <a:gd name="connsiteY14" fmla="*/ 6085 h 10000"/>
              <a:gd name="connsiteX15" fmla="*/ 5834 w 9962"/>
              <a:gd name="connsiteY15" fmla="*/ 6085 h 10000"/>
              <a:gd name="connsiteX16" fmla="*/ 5872 w 9962"/>
              <a:gd name="connsiteY16" fmla="*/ 5772 h 10000"/>
              <a:gd name="connsiteX17" fmla="*/ 5872 w 9962"/>
              <a:gd name="connsiteY17" fmla="*/ 2293 h 10000"/>
              <a:gd name="connsiteX18" fmla="*/ 5910 w 9962"/>
              <a:gd name="connsiteY18" fmla="*/ 1980 h 10000"/>
              <a:gd name="connsiteX19" fmla="*/ 6989 w 9962"/>
              <a:gd name="connsiteY19" fmla="*/ 1980 h 10000"/>
              <a:gd name="connsiteX20" fmla="*/ 7027 w 9962"/>
              <a:gd name="connsiteY20" fmla="*/ 2293 h 10000"/>
              <a:gd name="connsiteX21" fmla="*/ 7027 w 9962"/>
              <a:gd name="connsiteY21" fmla="*/ 9687 h 10000"/>
              <a:gd name="connsiteX22" fmla="*/ 7065 w 9962"/>
              <a:gd name="connsiteY22" fmla="*/ 10000 h 10000"/>
              <a:gd name="connsiteX23" fmla="*/ 8271 w 9962"/>
              <a:gd name="connsiteY23" fmla="*/ 10000 h 10000"/>
              <a:gd name="connsiteX24" fmla="*/ 8309 w 9962"/>
              <a:gd name="connsiteY24" fmla="*/ 9687 h 10000"/>
              <a:gd name="connsiteX25" fmla="*/ 8309 w 9962"/>
              <a:gd name="connsiteY25" fmla="*/ 6298 h 10000"/>
              <a:gd name="connsiteX26" fmla="*/ 8347 w 9962"/>
              <a:gd name="connsiteY26" fmla="*/ 5984 h 10000"/>
              <a:gd name="connsiteX27" fmla="*/ 9962 w 9962"/>
              <a:gd name="connsiteY27" fmla="*/ 5984 h 10000"/>
              <a:gd name="connsiteX0" fmla="*/ 0 w 10000"/>
              <a:gd name="connsiteY0" fmla="*/ 2942 h 10000"/>
              <a:gd name="connsiteX1" fmla="*/ 38 w 10000"/>
              <a:gd name="connsiteY1" fmla="*/ 2629 h 10000"/>
              <a:gd name="connsiteX2" fmla="*/ 1423 w 10000"/>
              <a:gd name="connsiteY2" fmla="*/ 2629 h 10000"/>
              <a:gd name="connsiteX3" fmla="*/ 1463 w 10000"/>
              <a:gd name="connsiteY3" fmla="*/ 2942 h 10000"/>
              <a:gd name="connsiteX4" fmla="*/ 1463 w 10000"/>
              <a:gd name="connsiteY4" fmla="*/ 8333 h 10000"/>
              <a:gd name="connsiteX5" fmla="*/ 1501 w 10000"/>
              <a:gd name="connsiteY5" fmla="*/ 8647 h 10000"/>
              <a:gd name="connsiteX6" fmla="*/ 3455 w 10000"/>
              <a:gd name="connsiteY6" fmla="*/ 8647 h 10000"/>
              <a:gd name="connsiteX7" fmla="*/ 3493 w 10000"/>
              <a:gd name="connsiteY7" fmla="*/ 8333 h 10000"/>
              <a:gd name="connsiteX8" fmla="*/ 3493 w 10000"/>
              <a:gd name="connsiteY8" fmla="*/ 313 h 10000"/>
              <a:gd name="connsiteX9" fmla="*/ 3531 w 10000"/>
              <a:gd name="connsiteY9" fmla="*/ 0 h 10000"/>
              <a:gd name="connsiteX10" fmla="*/ 5292 w 10000"/>
              <a:gd name="connsiteY10" fmla="*/ 0 h 10000"/>
              <a:gd name="connsiteX11" fmla="*/ 5330 w 10000"/>
              <a:gd name="connsiteY11" fmla="*/ 313 h 10000"/>
              <a:gd name="connsiteX12" fmla="*/ 5330 w 10000"/>
              <a:gd name="connsiteY12" fmla="*/ 5772 h 10000"/>
              <a:gd name="connsiteX13" fmla="*/ 5368 w 10000"/>
              <a:gd name="connsiteY13" fmla="*/ 6085 h 10000"/>
              <a:gd name="connsiteX14" fmla="*/ 5856 w 10000"/>
              <a:gd name="connsiteY14" fmla="*/ 6085 h 10000"/>
              <a:gd name="connsiteX15" fmla="*/ 5894 w 10000"/>
              <a:gd name="connsiteY15" fmla="*/ 5772 h 10000"/>
              <a:gd name="connsiteX16" fmla="*/ 5894 w 10000"/>
              <a:gd name="connsiteY16" fmla="*/ 2293 h 10000"/>
              <a:gd name="connsiteX17" fmla="*/ 5933 w 10000"/>
              <a:gd name="connsiteY17" fmla="*/ 1980 h 10000"/>
              <a:gd name="connsiteX18" fmla="*/ 7016 w 10000"/>
              <a:gd name="connsiteY18" fmla="*/ 1980 h 10000"/>
              <a:gd name="connsiteX19" fmla="*/ 7054 w 10000"/>
              <a:gd name="connsiteY19" fmla="*/ 2293 h 10000"/>
              <a:gd name="connsiteX20" fmla="*/ 7054 w 10000"/>
              <a:gd name="connsiteY20" fmla="*/ 9687 h 10000"/>
              <a:gd name="connsiteX21" fmla="*/ 7092 w 10000"/>
              <a:gd name="connsiteY21" fmla="*/ 10000 h 10000"/>
              <a:gd name="connsiteX22" fmla="*/ 8303 w 10000"/>
              <a:gd name="connsiteY22" fmla="*/ 10000 h 10000"/>
              <a:gd name="connsiteX23" fmla="*/ 8341 w 10000"/>
              <a:gd name="connsiteY23" fmla="*/ 9687 h 10000"/>
              <a:gd name="connsiteX24" fmla="*/ 8341 w 10000"/>
              <a:gd name="connsiteY24" fmla="*/ 6298 h 10000"/>
              <a:gd name="connsiteX25" fmla="*/ 8379 w 10000"/>
              <a:gd name="connsiteY25" fmla="*/ 5984 h 10000"/>
              <a:gd name="connsiteX26" fmla="*/ 10000 w 10000"/>
              <a:gd name="connsiteY26" fmla="*/ 5984 h 10000"/>
              <a:gd name="connsiteX0" fmla="*/ 0 w 9962"/>
              <a:gd name="connsiteY0" fmla="*/ 2629 h 10000"/>
              <a:gd name="connsiteX1" fmla="*/ 1385 w 9962"/>
              <a:gd name="connsiteY1" fmla="*/ 2629 h 10000"/>
              <a:gd name="connsiteX2" fmla="*/ 1425 w 9962"/>
              <a:gd name="connsiteY2" fmla="*/ 2942 h 10000"/>
              <a:gd name="connsiteX3" fmla="*/ 1425 w 9962"/>
              <a:gd name="connsiteY3" fmla="*/ 8333 h 10000"/>
              <a:gd name="connsiteX4" fmla="*/ 1463 w 9962"/>
              <a:gd name="connsiteY4" fmla="*/ 8647 h 10000"/>
              <a:gd name="connsiteX5" fmla="*/ 3417 w 9962"/>
              <a:gd name="connsiteY5" fmla="*/ 8647 h 10000"/>
              <a:gd name="connsiteX6" fmla="*/ 3455 w 9962"/>
              <a:gd name="connsiteY6" fmla="*/ 8333 h 10000"/>
              <a:gd name="connsiteX7" fmla="*/ 3455 w 9962"/>
              <a:gd name="connsiteY7" fmla="*/ 313 h 10000"/>
              <a:gd name="connsiteX8" fmla="*/ 3493 w 9962"/>
              <a:gd name="connsiteY8" fmla="*/ 0 h 10000"/>
              <a:gd name="connsiteX9" fmla="*/ 5254 w 9962"/>
              <a:gd name="connsiteY9" fmla="*/ 0 h 10000"/>
              <a:gd name="connsiteX10" fmla="*/ 5292 w 9962"/>
              <a:gd name="connsiteY10" fmla="*/ 313 h 10000"/>
              <a:gd name="connsiteX11" fmla="*/ 5292 w 9962"/>
              <a:gd name="connsiteY11" fmla="*/ 5772 h 10000"/>
              <a:gd name="connsiteX12" fmla="*/ 5330 w 9962"/>
              <a:gd name="connsiteY12" fmla="*/ 6085 h 10000"/>
              <a:gd name="connsiteX13" fmla="*/ 5818 w 9962"/>
              <a:gd name="connsiteY13" fmla="*/ 6085 h 10000"/>
              <a:gd name="connsiteX14" fmla="*/ 5856 w 9962"/>
              <a:gd name="connsiteY14" fmla="*/ 5772 h 10000"/>
              <a:gd name="connsiteX15" fmla="*/ 5856 w 9962"/>
              <a:gd name="connsiteY15" fmla="*/ 2293 h 10000"/>
              <a:gd name="connsiteX16" fmla="*/ 5895 w 9962"/>
              <a:gd name="connsiteY16" fmla="*/ 1980 h 10000"/>
              <a:gd name="connsiteX17" fmla="*/ 6978 w 9962"/>
              <a:gd name="connsiteY17" fmla="*/ 1980 h 10000"/>
              <a:gd name="connsiteX18" fmla="*/ 7016 w 9962"/>
              <a:gd name="connsiteY18" fmla="*/ 2293 h 10000"/>
              <a:gd name="connsiteX19" fmla="*/ 7016 w 9962"/>
              <a:gd name="connsiteY19" fmla="*/ 9687 h 10000"/>
              <a:gd name="connsiteX20" fmla="*/ 7054 w 9962"/>
              <a:gd name="connsiteY20" fmla="*/ 10000 h 10000"/>
              <a:gd name="connsiteX21" fmla="*/ 8265 w 9962"/>
              <a:gd name="connsiteY21" fmla="*/ 10000 h 10000"/>
              <a:gd name="connsiteX22" fmla="*/ 8303 w 9962"/>
              <a:gd name="connsiteY22" fmla="*/ 9687 h 10000"/>
              <a:gd name="connsiteX23" fmla="*/ 8303 w 9962"/>
              <a:gd name="connsiteY23" fmla="*/ 6298 h 10000"/>
              <a:gd name="connsiteX24" fmla="*/ 8341 w 9962"/>
              <a:gd name="connsiteY24" fmla="*/ 5984 h 10000"/>
              <a:gd name="connsiteX25" fmla="*/ 9962 w 9962"/>
              <a:gd name="connsiteY25" fmla="*/ 5984 h 10000"/>
              <a:gd name="connsiteX0" fmla="*/ 0 w 8610"/>
              <a:gd name="connsiteY0" fmla="*/ 2629 h 10000"/>
              <a:gd name="connsiteX1" fmla="*/ 40 w 8610"/>
              <a:gd name="connsiteY1" fmla="*/ 2942 h 10000"/>
              <a:gd name="connsiteX2" fmla="*/ 40 w 8610"/>
              <a:gd name="connsiteY2" fmla="*/ 8333 h 10000"/>
              <a:gd name="connsiteX3" fmla="*/ 79 w 8610"/>
              <a:gd name="connsiteY3" fmla="*/ 8647 h 10000"/>
              <a:gd name="connsiteX4" fmla="*/ 2040 w 8610"/>
              <a:gd name="connsiteY4" fmla="*/ 8647 h 10000"/>
              <a:gd name="connsiteX5" fmla="*/ 2078 w 8610"/>
              <a:gd name="connsiteY5" fmla="*/ 8333 h 10000"/>
              <a:gd name="connsiteX6" fmla="*/ 2078 w 8610"/>
              <a:gd name="connsiteY6" fmla="*/ 313 h 10000"/>
              <a:gd name="connsiteX7" fmla="*/ 2116 w 8610"/>
              <a:gd name="connsiteY7" fmla="*/ 0 h 10000"/>
              <a:gd name="connsiteX8" fmla="*/ 3884 w 8610"/>
              <a:gd name="connsiteY8" fmla="*/ 0 h 10000"/>
              <a:gd name="connsiteX9" fmla="*/ 3922 w 8610"/>
              <a:gd name="connsiteY9" fmla="*/ 313 h 10000"/>
              <a:gd name="connsiteX10" fmla="*/ 3922 w 8610"/>
              <a:gd name="connsiteY10" fmla="*/ 5772 h 10000"/>
              <a:gd name="connsiteX11" fmla="*/ 3960 w 8610"/>
              <a:gd name="connsiteY11" fmla="*/ 6085 h 10000"/>
              <a:gd name="connsiteX12" fmla="*/ 4450 w 8610"/>
              <a:gd name="connsiteY12" fmla="*/ 6085 h 10000"/>
              <a:gd name="connsiteX13" fmla="*/ 4488 w 8610"/>
              <a:gd name="connsiteY13" fmla="*/ 5772 h 10000"/>
              <a:gd name="connsiteX14" fmla="*/ 4488 w 8610"/>
              <a:gd name="connsiteY14" fmla="*/ 2293 h 10000"/>
              <a:gd name="connsiteX15" fmla="*/ 4527 w 8610"/>
              <a:gd name="connsiteY15" fmla="*/ 1980 h 10000"/>
              <a:gd name="connsiteX16" fmla="*/ 5615 w 8610"/>
              <a:gd name="connsiteY16" fmla="*/ 1980 h 10000"/>
              <a:gd name="connsiteX17" fmla="*/ 5653 w 8610"/>
              <a:gd name="connsiteY17" fmla="*/ 2293 h 10000"/>
              <a:gd name="connsiteX18" fmla="*/ 5653 w 8610"/>
              <a:gd name="connsiteY18" fmla="*/ 9687 h 10000"/>
              <a:gd name="connsiteX19" fmla="*/ 5691 w 8610"/>
              <a:gd name="connsiteY19" fmla="*/ 10000 h 10000"/>
              <a:gd name="connsiteX20" fmla="*/ 6907 w 8610"/>
              <a:gd name="connsiteY20" fmla="*/ 10000 h 10000"/>
              <a:gd name="connsiteX21" fmla="*/ 6945 w 8610"/>
              <a:gd name="connsiteY21" fmla="*/ 9687 h 10000"/>
              <a:gd name="connsiteX22" fmla="*/ 6945 w 8610"/>
              <a:gd name="connsiteY22" fmla="*/ 6298 h 10000"/>
              <a:gd name="connsiteX23" fmla="*/ 6983 w 8610"/>
              <a:gd name="connsiteY23" fmla="*/ 5984 h 10000"/>
              <a:gd name="connsiteX24" fmla="*/ 8610 w 8610"/>
              <a:gd name="connsiteY24" fmla="*/ 5984 h 10000"/>
              <a:gd name="connsiteX0" fmla="*/ 0 w 9954"/>
              <a:gd name="connsiteY0" fmla="*/ 2942 h 10000"/>
              <a:gd name="connsiteX1" fmla="*/ 0 w 9954"/>
              <a:gd name="connsiteY1" fmla="*/ 8333 h 10000"/>
              <a:gd name="connsiteX2" fmla="*/ 46 w 9954"/>
              <a:gd name="connsiteY2" fmla="*/ 8647 h 10000"/>
              <a:gd name="connsiteX3" fmla="*/ 2323 w 9954"/>
              <a:gd name="connsiteY3" fmla="*/ 8647 h 10000"/>
              <a:gd name="connsiteX4" fmla="*/ 2367 w 9954"/>
              <a:gd name="connsiteY4" fmla="*/ 8333 h 10000"/>
              <a:gd name="connsiteX5" fmla="*/ 2367 w 9954"/>
              <a:gd name="connsiteY5" fmla="*/ 313 h 10000"/>
              <a:gd name="connsiteX6" fmla="*/ 2412 w 9954"/>
              <a:gd name="connsiteY6" fmla="*/ 0 h 10000"/>
              <a:gd name="connsiteX7" fmla="*/ 4465 w 9954"/>
              <a:gd name="connsiteY7" fmla="*/ 0 h 10000"/>
              <a:gd name="connsiteX8" fmla="*/ 4509 w 9954"/>
              <a:gd name="connsiteY8" fmla="*/ 313 h 10000"/>
              <a:gd name="connsiteX9" fmla="*/ 4509 w 9954"/>
              <a:gd name="connsiteY9" fmla="*/ 5772 h 10000"/>
              <a:gd name="connsiteX10" fmla="*/ 4553 w 9954"/>
              <a:gd name="connsiteY10" fmla="*/ 6085 h 10000"/>
              <a:gd name="connsiteX11" fmla="*/ 5122 w 9954"/>
              <a:gd name="connsiteY11" fmla="*/ 6085 h 10000"/>
              <a:gd name="connsiteX12" fmla="*/ 5167 w 9954"/>
              <a:gd name="connsiteY12" fmla="*/ 5772 h 10000"/>
              <a:gd name="connsiteX13" fmla="*/ 5167 w 9954"/>
              <a:gd name="connsiteY13" fmla="*/ 2293 h 10000"/>
              <a:gd name="connsiteX14" fmla="*/ 5212 w 9954"/>
              <a:gd name="connsiteY14" fmla="*/ 1980 h 10000"/>
              <a:gd name="connsiteX15" fmla="*/ 6475 w 9954"/>
              <a:gd name="connsiteY15" fmla="*/ 1980 h 10000"/>
              <a:gd name="connsiteX16" fmla="*/ 6520 w 9954"/>
              <a:gd name="connsiteY16" fmla="*/ 2293 h 10000"/>
              <a:gd name="connsiteX17" fmla="*/ 6520 w 9954"/>
              <a:gd name="connsiteY17" fmla="*/ 9687 h 10000"/>
              <a:gd name="connsiteX18" fmla="*/ 6564 w 9954"/>
              <a:gd name="connsiteY18" fmla="*/ 10000 h 10000"/>
              <a:gd name="connsiteX19" fmla="*/ 7976 w 9954"/>
              <a:gd name="connsiteY19" fmla="*/ 10000 h 10000"/>
              <a:gd name="connsiteX20" fmla="*/ 8020 w 9954"/>
              <a:gd name="connsiteY20" fmla="*/ 9687 h 10000"/>
              <a:gd name="connsiteX21" fmla="*/ 8020 w 9954"/>
              <a:gd name="connsiteY21" fmla="*/ 6298 h 10000"/>
              <a:gd name="connsiteX22" fmla="*/ 8064 w 9954"/>
              <a:gd name="connsiteY22" fmla="*/ 5984 h 10000"/>
              <a:gd name="connsiteX23" fmla="*/ 9954 w 9954"/>
              <a:gd name="connsiteY23" fmla="*/ 5984 h 10000"/>
              <a:gd name="connsiteX0" fmla="*/ 0 w 10000"/>
              <a:gd name="connsiteY0" fmla="*/ 8333 h 10000"/>
              <a:gd name="connsiteX1" fmla="*/ 46 w 10000"/>
              <a:gd name="connsiteY1" fmla="*/ 8647 h 10000"/>
              <a:gd name="connsiteX2" fmla="*/ 2334 w 10000"/>
              <a:gd name="connsiteY2" fmla="*/ 8647 h 10000"/>
              <a:gd name="connsiteX3" fmla="*/ 2378 w 10000"/>
              <a:gd name="connsiteY3" fmla="*/ 8333 h 10000"/>
              <a:gd name="connsiteX4" fmla="*/ 2378 w 10000"/>
              <a:gd name="connsiteY4" fmla="*/ 313 h 10000"/>
              <a:gd name="connsiteX5" fmla="*/ 2423 w 10000"/>
              <a:gd name="connsiteY5" fmla="*/ 0 h 10000"/>
              <a:gd name="connsiteX6" fmla="*/ 4486 w 10000"/>
              <a:gd name="connsiteY6" fmla="*/ 0 h 10000"/>
              <a:gd name="connsiteX7" fmla="*/ 4530 w 10000"/>
              <a:gd name="connsiteY7" fmla="*/ 313 h 10000"/>
              <a:gd name="connsiteX8" fmla="*/ 4530 w 10000"/>
              <a:gd name="connsiteY8" fmla="*/ 5772 h 10000"/>
              <a:gd name="connsiteX9" fmla="*/ 4574 w 10000"/>
              <a:gd name="connsiteY9" fmla="*/ 6085 h 10000"/>
              <a:gd name="connsiteX10" fmla="*/ 5146 w 10000"/>
              <a:gd name="connsiteY10" fmla="*/ 6085 h 10000"/>
              <a:gd name="connsiteX11" fmla="*/ 5191 w 10000"/>
              <a:gd name="connsiteY11" fmla="*/ 5772 h 10000"/>
              <a:gd name="connsiteX12" fmla="*/ 5191 w 10000"/>
              <a:gd name="connsiteY12" fmla="*/ 2293 h 10000"/>
              <a:gd name="connsiteX13" fmla="*/ 5236 w 10000"/>
              <a:gd name="connsiteY13" fmla="*/ 1980 h 10000"/>
              <a:gd name="connsiteX14" fmla="*/ 6505 w 10000"/>
              <a:gd name="connsiteY14" fmla="*/ 1980 h 10000"/>
              <a:gd name="connsiteX15" fmla="*/ 6550 w 10000"/>
              <a:gd name="connsiteY15" fmla="*/ 2293 h 10000"/>
              <a:gd name="connsiteX16" fmla="*/ 6550 w 10000"/>
              <a:gd name="connsiteY16" fmla="*/ 9687 h 10000"/>
              <a:gd name="connsiteX17" fmla="*/ 6594 w 10000"/>
              <a:gd name="connsiteY17" fmla="*/ 10000 h 10000"/>
              <a:gd name="connsiteX18" fmla="*/ 8013 w 10000"/>
              <a:gd name="connsiteY18" fmla="*/ 10000 h 10000"/>
              <a:gd name="connsiteX19" fmla="*/ 8057 w 10000"/>
              <a:gd name="connsiteY19" fmla="*/ 9687 h 10000"/>
              <a:gd name="connsiteX20" fmla="*/ 8057 w 10000"/>
              <a:gd name="connsiteY20" fmla="*/ 6298 h 10000"/>
              <a:gd name="connsiteX21" fmla="*/ 8101 w 10000"/>
              <a:gd name="connsiteY21" fmla="*/ 5984 h 10000"/>
              <a:gd name="connsiteX22" fmla="*/ 10000 w 10000"/>
              <a:gd name="connsiteY22" fmla="*/ 5984 h 10000"/>
              <a:gd name="connsiteX0" fmla="*/ 0 w 8101"/>
              <a:gd name="connsiteY0" fmla="*/ 8333 h 10000"/>
              <a:gd name="connsiteX1" fmla="*/ 46 w 8101"/>
              <a:gd name="connsiteY1" fmla="*/ 8647 h 10000"/>
              <a:gd name="connsiteX2" fmla="*/ 2334 w 8101"/>
              <a:gd name="connsiteY2" fmla="*/ 8647 h 10000"/>
              <a:gd name="connsiteX3" fmla="*/ 2378 w 8101"/>
              <a:gd name="connsiteY3" fmla="*/ 8333 h 10000"/>
              <a:gd name="connsiteX4" fmla="*/ 2378 w 8101"/>
              <a:gd name="connsiteY4" fmla="*/ 313 h 10000"/>
              <a:gd name="connsiteX5" fmla="*/ 2423 w 8101"/>
              <a:gd name="connsiteY5" fmla="*/ 0 h 10000"/>
              <a:gd name="connsiteX6" fmla="*/ 4486 w 8101"/>
              <a:gd name="connsiteY6" fmla="*/ 0 h 10000"/>
              <a:gd name="connsiteX7" fmla="*/ 4530 w 8101"/>
              <a:gd name="connsiteY7" fmla="*/ 313 h 10000"/>
              <a:gd name="connsiteX8" fmla="*/ 4530 w 8101"/>
              <a:gd name="connsiteY8" fmla="*/ 5772 h 10000"/>
              <a:gd name="connsiteX9" fmla="*/ 4574 w 8101"/>
              <a:gd name="connsiteY9" fmla="*/ 6085 h 10000"/>
              <a:gd name="connsiteX10" fmla="*/ 5146 w 8101"/>
              <a:gd name="connsiteY10" fmla="*/ 6085 h 10000"/>
              <a:gd name="connsiteX11" fmla="*/ 5191 w 8101"/>
              <a:gd name="connsiteY11" fmla="*/ 5772 h 10000"/>
              <a:gd name="connsiteX12" fmla="*/ 5191 w 8101"/>
              <a:gd name="connsiteY12" fmla="*/ 2293 h 10000"/>
              <a:gd name="connsiteX13" fmla="*/ 5236 w 8101"/>
              <a:gd name="connsiteY13" fmla="*/ 1980 h 10000"/>
              <a:gd name="connsiteX14" fmla="*/ 6505 w 8101"/>
              <a:gd name="connsiteY14" fmla="*/ 1980 h 10000"/>
              <a:gd name="connsiteX15" fmla="*/ 6550 w 8101"/>
              <a:gd name="connsiteY15" fmla="*/ 2293 h 10000"/>
              <a:gd name="connsiteX16" fmla="*/ 6550 w 8101"/>
              <a:gd name="connsiteY16" fmla="*/ 9687 h 10000"/>
              <a:gd name="connsiteX17" fmla="*/ 6594 w 8101"/>
              <a:gd name="connsiteY17" fmla="*/ 10000 h 10000"/>
              <a:gd name="connsiteX18" fmla="*/ 8013 w 8101"/>
              <a:gd name="connsiteY18" fmla="*/ 10000 h 10000"/>
              <a:gd name="connsiteX19" fmla="*/ 8057 w 8101"/>
              <a:gd name="connsiteY19" fmla="*/ 9687 h 10000"/>
              <a:gd name="connsiteX20" fmla="*/ 8057 w 8101"/>
              <a:gd name="connsiteY20" fmla="*/ 6298 h 10000"/>
              <a:gd name="connsiteX21" fmla="*/ 8101 w 8101"/>
              <a:gd name="connsiteY21" fmla="*/ 5984 h 10000"/>
              <a:gd name="connsiteX0" fmla="*/ 0 w 9946"/>
              <a:gd name="connsiteY0" fmla="*/ 8333 h 10000"/>
              <a:gd name="connsiteX1" fmla="*/ 57 w 9946"/>
              <a:gd name="connsiteY1" fmla="*/ 8647 h 10000"/>
              <a:gd name="connsiteX2" fmla="*/ 2881 w 9946"/>
              <a:gd name="connsiteY2" fmla="*/ 8647 h 10000"/>
              <a:gd name="connsiteX3" fmla="*/ 2935 w 9946"/>
              <a:gd name="connsiteY3" fmla="*/ 8333 h 10000"/>
              <a:gd name="connsiteX4" fmla="*/ 2935 w 9946"/>
              <a:gd name="connsiteY4" fmla="*/ 313 h 10000"/>
              <a:gd name="connsiteX5" fmla="*/ 2991 w 9946"/>
              <a:gd name="connsiteY5" fmla="*/ 0 h 10000"/>
              <a:gd name="connsiteX6" fmla="*/ 5538 w 9946"/>
              <a:gd name="connsiteY6" fmla="*/ 0 h 10000"/>
              <a:gd name="connsiteX7" fmla="*/ 5592 w 9946"/>
              <a:gd name="connsiteY7" fmla="*/ 313 h 10000"/>
              <a:gd name="connsiteX8" fmla="*/ 5592 w 9946"/>
              <a:gd name="connsiteY8" fmla="*/ 5772 h 10000"/>
              <a:gd name="connsiteX9" fmla="*/ 5646 w 9946"/>
              <a:gd name="connsiteY9" fmla="*/ 6085 h 10000"/>
              <a:gd name="connsiteX10" fmla="*/ 6352 w 9946"/>
              <a:gd name="connsiteY10" fmla="*/ 6085 h 10000"/>
              <a:gd name="connsiteX11" fmla="*/ 6408 w 9946"/>
              <a:gd name="connsiteY11" fmla="*/ 5772 h 10000"/>
              <a:gd name="connsiteX12" fmla="*/ 6408 w 9946"/>
              <a:gd name="connsiteY12" fmla="*/ 2293 h 10000"/>
              <a:gd name="connsiteX13" fmla="*/ 6463 w 9946"/>
              <a:gd name="connsiteY13" fmla="*/ 1980 h 10000"/>
              <a:gd name="connsiteX14" fmla="*/ 8030 w 9946"/>
              <a:gd name="connsiteY14" fmla="*/ 1980 h 10000"/>
              <a:gd name="connsiteX15" fmla="*/ 8085 w 9946"/>
              <a:gd name="connsiteY15" fmla="*/ 2293 h 10000"/>
              <a:gd name="connsiteX16" fmla="*/ 8085 w 9946"/>
              <a:gd name="connsiteY16" fmla="*/ 9687 h 10000"/>
              <a:gd name="connsiteX17" fmla="*/ 8140 w 9946"/>
              <a:gd name="connsiteY17" fmla="*/ 10000 h 10000"/>
              <a:gd name="connsiteX18" fmla="*/ 9891 w 9946"/>
              <a:gd name="connsiteY18" fmla="*/ 10000 h 10000"/>
              <a:gd name="connsiteX19" fmla="*/ 9946 w 9946"/>
              <a:gd name="connsiteY19" fmla="*/ 9687 h 10000"/>
              <a:gd name="connsiteX20" fmla="*/ 9946 w 9946"/>
              <a:gd name="connsiteY20" fmla="*/ 6298 h 10000"/>
              <a:gd name="connsiteX0" fmla="*/ 0 w 10000"/>
              <a:gd name="connsiteY0" fmla="*/ 8333 h 10000"/>
              <a:gd name="connsiteX1" fmla="*/ 57 w 10000"/>
              <a:gd name="connsiteY1" fmla="*/ 8647 h 10000"/>
              <a:gd name="connsiteX2" fmla="*/ 2897 w 10000"/>
              <a:gd name="connsiteY2" fmla="*/ 8647 h 10000"/>
              <a:gd name="connsiteX3" fmla="*/ 2951 w 10000"/>
              <a:gd name="connsiteY3" fmla="*/ 8333 h 10000"/>
              <a:gd name="connsiteX4" fmla="*/ 2951 w 10000"/>
              <a:gd name="connsiteY4" fmla="*/ 313 h 10000"/>
              <a:gd name="connsiteX5" fmla="*/ 3007 w 10000"/>
              <a:gd name="connsiteY5" fmla="*/ 0 h 10000"/>
              <a:gd name="connsiteX6" fmla="*/ 5568 w 10000"/>
              <a:gd name="connsiteY6" fmla="*/ 0 h 10000"/>
              <a:gd name="connsiteX7" fmla="*/ 5622 w 10000"/>
              <a:gd name="connsiteY7" fmla="*/ 313 h 10000"/>
              <a:gd name="connsiteX8" fmla="*/ 5622 w 10000"/>
              <a:gd name="connsiteY8" fmla="*/ 5772 h 10000"/>
              <a:gd name="connsiteX9" fmla="*/ 5677 w 10000"/>
              <a:gd name="connsiteY9" fmla="*/ 6085 h 10000"/>
              <a:gd name="connsiteX10" fmla="*/ 6386 w 10000"/>
              <a:gd name="connsiteY10" fmla="*/ 6085 h 10000"/>
              <a:gd name="connsiteX11" fmla="*/ 6443 w 10000"/>
              <a:gd name="connsiteY11" fmla="*/ 5772 h 10000"/>
              <a:gd name="connsiteX12" fmla="*/ 6443 w 10000"/>
              <a:gd name="connsiteY12" fmla="*/ 2293 h 10000"/>
              <a:gd name="connsiteX13" fmla="*/ 6498 w 10000"/>
              <a:gd name="connsiteY13" fmla="*/ 1980 h 10000"/>
              <a:gd name="connsiteX14" fmla="*/ 8074 w 10000"/>
              <a:gd name="connsiteY14" fmla="*/ 1980 h 10000"/>
              <a:gd name="connsiteX15" fmla="*/ 8129 w 10000"/>
              <a:gd name="connsiteY15" fmla="*/ 2293 h 10000"/>
              <a:gd name="connsiteX16" fmla="*/ 8129 w 10000"/>
              <a:gd name="connsiteY16" fmla="*/ 9687 h 10000"/>
              <a:gd name="connsiteX17" fmla="*/ 8184 w 10000"/>
              <a:gd name="connsiteY17" fmla="*/ 10000 h 10000"/>
              <a:gd name="connsiteX18" fmla="*/ 9945 w 10000"/>
              <a:gd name="connsiteY18" fmla="*/ 10000 h 10000"/>
              <a:gd name="connsiteX19" fmla="*/ 10000 w 10000"/>
              <a:gd name="connsiteY19" fmla="*/ 9687 h 10000"/>
              <a:gd name="connsiteX0" fmla="*/ 0 w 9945"/>
              <a:gd name="connsiteY0" fmla="*/ 8333 h 10000"/>
              <a:gd name="connsiteX1" fmla="*/ 57 w 9945"/>
              <a:gd name="connsiteY1" fmla="*/ 8647 h 10000"/>
              <a:gd name="connsiteX2" fmla="*/ 2897 w 9945"/>
              <a:gd name="connsiteY2" fmla="*/ 8647 h 10000"/>
              <a:gd name="connsiteX3" fmla="*/ 2951 w 9945"/>
              <a:gd name="connsiteY3" fmla="*/ 8333 h 10000"/>
              <a:gd name="connsiteX4" fmla="*/ 2951 w 9945"/>
              <a:gd name="connsiteY4" fmla="*/ 313 h 10000"/>
              <a:gd name="connsiteX5" fmla="*/ 3007 w 9945"/>
              <a:gd name="connsiteY5" fmla="*/ 0 h 10000"/>
              <a:gd name="connsiteX6" fmla="*/ 5568 w 9945"/>
              <a:gd name="connsiteY6" fmla="*/ 0 h 10000"/>
              <a:gd name="connsiteX7" fmla="*/ 5622 w 9945"/>
              <a:gd name="connsiteY7" fmla="*/ 313 h 10000"/>
              <a:gd name="connsiteX8" fmla="*/ 5622 w 9945"/>
              <a:gd name="connsiteY8" fmla="*/ 5772 h 10000"/>
              <a:gd name="connsiteX9" fmla="*/ 5677 w 9945"/>
              <a:gd name="connsiteY9" fmla="*/ 6085 h 10000"/>
              <a:gd name="connsiteX10" fmla="*/ 6386 w 9945"/>
              <a:gd name="connsiteY10" fmla="*/ 6085 h 10000"/>
              <a:gd name="connsiteX11" fmla="*/ 6443 w 9945"/>
              <a:gd name="connsiteY11" fmla="*/ 5772 h 10000"/>
              <a:gd name="connsiteX12" fmla="*/ 6443 w 9945"/>
              <a:gd name="connsiteY12" fmla="*/ 2293 h 10000"/>
              <a:gd name="connsiteX13" fmla="*/ 6498 w 9945"/>
              <a:gd name="connsiteY13" fmla="*/ 1980 h 10000"/>
              <a:gd name="connsiteX14" fmla="*/ 8074 w 9945"/>
              <a:gd name="connsiteY14" fmla="*/ 1980 h 10000"/>
              <a:gd name="connsiteX15" fmla="*/ 8129 w 9945"/>
              <a:gd name="connsiteY15" fmla="*/ 2293 h 10000"/>
              <a:gd name="connsiteX16" fmla="*/ 8129 w 9945"/>
              <a:gd name="connsiteY16" fmla="*/ 9687 h 10000"/>
              <a:gd name="connsiteX17" fmla="*/ 8184 w 9945"/>
              <a:gd name="connsiteY17" fmla="*/ 10000 h 10000"/>
              <a:gd name="connsiteX18" fmla="*/ 9945 w 9945"/>
              <a:gd name="connsiteY18" fmla="*/ 10000 h 10000"/>
              <a:gd name="connsiteX0" fmla="*/ 0 w 8229"/>
              <a:gd name="connsiteY0" fmla="*/ 8333 h 10000"/>
              <a:gd name="connsiteX1" fmla="*/ 57 w 8229"/>
              <a:gd name="connsiteY1" fmla="*/ 8647 h 10000"/>
              <a:gd name="connsiteX2" fmla="*/ 2913 w 8229"/>
              <a:gd name="connsiteY2" fmla="*/ 8647 h 10000"/>
              <a:gd name="connsiteX3" fmla="*/ 2967 w 8229"/>
              <a:gd name="connsiteY3" fmla="*/ 8333 h 10000"/>
              <a:gd name="connsiteX4" fmla="*/ 2967 w 8229"/>
              <a:gd name="connsiteY4" fmla="*/ 313 h 10000"/>
              <a:gd name="connsiteX5" fmla="*/ 3024 w 8229"/>
              <a:gd name="connsiteY5" fmla="*/ 0 h 10000"/>
              <a:gd name="connsiteX6" fmla="*/ 5599 w 8229"/>
              <a:gd name="connsiteY6" fmla="*/ 0 h 10000"/>
              <a:gd name="connsiteX7" fmla="*/ 5653 w 8229"/>
              <a:gd name="connsiteY7" fmla="*/ 313 h 10000"/>
              <a:gd name="connsiteX8" fmla="*/ 5653 w 8229"/>
              <a:gd name="connsiteY8" fmla="*/ 5772 h 10000"/>
              <a:gd name="connsiteX9" fmla="*/ 5708 w 8229"/>
              <a:gd name="connsiteY9" fmla="*/ 6085 h 10000"/>
              <a:gd name="connsiteX10" fmla="*/ 6421 w 8229"/>
              <a:gd name="connsiteY10" fmla="*/ 6085 h 10000"/>
              <a:gd name="connsiteX11" fmla="*/ 6479 w 8229"/>
              <a:gd name="connsiteY11" fmla="*/ 5772 h 10000"/>
              <a:gd name="connsiteX12" fmla="*/ 6479 w 8229"/>
              <a:gd name="connsiteY12" fmla="*/ 2293 h 10000"/>
              <a:gd name="connsiteX13" fmla="*/ 6534 w 8229"/>
              <a:gd name="connsiteY13" fmla="*/ 1980 h 10000"/>
              <a:gd name="connsiteX14" fmla="*/ 8119 w 8229"/>
              <a:gd name="connsiteY14" fmla="*/ 1980 h 10000"/>
              <a:gd name="connsiteX15" fmla="*/ 8174 w 8229"/>
              <a:gd name="connsiteY15" fmla="*/ 2293 h 10000"/>
              <a:gd name="connsiteX16" fmla="*/ 8174 w 8229"/>
              <a:gd name="connsiteY16" fmla="*/ 9687 h 10000"/>
              <a:gd name="connsiteX17" fmla="*/ 8229 w 8229"/>
              <a:gd name="connsiteY17" fmla="*/ 10000 h 10000"/>
              <a:gd name="connsiteX0" fmla="*/ 0 w 9933"/>
              <a:gd name="connsiteY0" fmla="*/ 8333 h 9687"/>
              <a:gd name="connsiteX1" fmla="*/ 69 w 9933"/>
              <a:gd name="connsiteY1" fmla="*/ 8647 h 9687"/>
              <a:gd name="connsiteX2" fmla="*/ 3540 w 9933"/>
              <a:gd name="connsiteY2" fmla="*/ 8647 h 9687"/>
              <a:gd name="connsiteX3" fmla="*/ 3606 w 9933"/>
              <a:gd name="connsiteY3" fmla="*/ 8333 h 9687"/>
              <a:gd name="connsiteX4" fmla="*/ 3606 w 9933"/>
              <a:gd name="connsiteY4" fmla="*/ 313 h 9687"/>
              <a:gd name="connsiteX5" fmla="*/ 3675 w 9933"/>
              <a:gd name="connsiteY5" fmla="*/ 0 h 9687"/>
              <a:gd name="connsiteX6" fmla="*/ 6804 w 9933"/>
              <a:gd name="connsiteY6" fmla="*/ 0 h 9687"/>
              <a:gd name="connsiteX7" fmla="*/ 6870 w 9933"/>
              <a:gd name="connsiteY7" fmla="*/ 313 h 9687"/>
              <a:gd name="connsiteX8" fmla="*/ 6870 w 9933"/>
              <a:gd name="connsiteY8" fmla="*/ 5772 h 9687"/>
              <a:gd name="connsiteX9" fmla="*/ 6936 w 9933"/>
              <a:gd name="connsiteY9" fmla="*/ 6085 h 9687"/>
              <a:gd name="connsiteX10" fmla="*/ 7803 w 9933"/>
              <a:gd name="connsiteY10" fmla="*/ 6085 h 9687"/>
              <a:gd name="connsiteX11" fmla="*/ 7873 w 9933"/>
              <a:gd name="connsiteY11" fmla="*/ 5772 h 9687"/>
              <a:gd name="connsiteX12" fmla="*/ 7873 w 9933"/>
              <a:gd name="connsiteY12" fmla="*/ 2293 h 9687"/>
              <a:gd name="connsiteX13" fmla="*/ 7940 w 9933"/>
              <a:gd name="connsiteY13" fmla="*/ 1980 h 9687"/>
              <a:gd name="connsiteX14" fmla="*/ 9866 w 9933"/>
              <a:gd name="connsiteY14" fmla="*/ 1980 h 9687"/>
              <a:gd name="connsiteX15" fmla="*/ 9933 w 9933"/>
              <a:gd name="connsiteY15" fmla="*/ 2293 h 9687"/>
              <a:gd name="connsiteX16" fmla="*/ 9933 w 9933"/>
              <a:gd name="connsiteY16" fmla="*/ 9687 h 9687"/>
              <a:gd name="connsiteX0" fmla="*/ 0 w 10000"/>
              <a:gd name="connsiteY0" fmla="*/ 8602 h 8926"/>
              <a:gd name="connsiteX1" fmla="*/ 69 w 10000"/>
              <a:gd name="connsiteY1" fmla="*/ 8926 h 8926"/>
              <a:gd name="connsiteX2" fmla="*/ 3564 w 10000"/>
              <a:gd name="connsiteY2" fmla="*/ 8926 h 8926"/>
              <a:gd name="connsiteX3" fmla="*/ 3630 w 10000"/>
              <a:gd name="connsiteY3" fmla="*/ 8602 h 8926"/>
              <a:gd name="connsiteX4" fmla="*/ 3630 w 10000"/>
              <a:gd name="connsiteY4" fmla="*/ 323 h 8926"/>
              <a:gd name="connsiteX5" fmla="*/ 3700 w 10000"/>
              <a:gd name="connsiteY5" fmla="*/ 0 h 8926"/>
              <a:gd name="connsiteX6" fmla="*/ 6850 w 10000"/>
              <a:gd name="connsiteY6" fmla="*/ 0 h 8926"/>
              <a:gd name="connsiteX7" fmla="*/ 6916 w 10000"/>
              <a:gd name="connsiteY7" fmla="*/ 323 h 8926"/>
              <a:gd name="connsiteX8" fmla="*/ 6916 w 10000"/>
              <a:gd name="connsiteY8" fmla="*/ 5959 h 8926"/>
              <a:gd name="connsiteX9" fmla="*/ 6983 w 10000"/>
              <a:gd name="connsiteY9" fmla="*/ 6282 h 8926"/>
              <a:gd name="connsiteX10" fmla="*/ 7856 w 10000"/>
              <a:gd name="connsiteY10" fmla="*/ 6282 h 8926"/>
              <a:gd name="connsiteX11" fmla="*/ 7926 w 10000"/>
              <a:gd name="connsiteY11" fmla="*/ 5959 h 8926"/>
              <a:gd name="connsiteX12" fmla="*/ 7926 w 10000"/>
              <a:gd name="connsiteY12" fmla="*/ 2367 h 8926"/>
              <a:gd name="connsiteX13" fmla="*/ 7994 w 10000"/>
              <a:gd name="connsiteY13" fmla="*/ 2044 h 8926"/>
              <a:gd name="connsiteX14" fmla="*/ 9933 w 10000"/>
              <a:gd name="connsiteY14" fmla="*/ 2044 h 8926"/>
              <a:gd name="connsiteX15" fmla="*/ 10000 w 10000"/>
              <a:gd name="connsiteY15" fmla="*/ 2367 h 8926"/>
              <a:gd name="connsiteX0" fmla="*/ 0 w 10000"/>
              <a:gd name="connsiteY0" fmla="*/ 9637 h 10000"/>
              <a:gd name="connsiteX1" fmla="*/ 3564 w 10000"/>
              <a:gd name="connsiteY1" fmla="*/ 10000 h 10000"/>
              <a:gd name="connsiteX2" fmla="*/ 3630 w 10000"/>
              <a:gd name="connsiteY2" fmla="*/ 9637 h 10000"/>
              <a:gd name="connsiteX3" fmla="*/ 3630 w 10000"/>
              <a:gd name="connsiteY3" fmla="*/ 362 h 10000"/>
              <a:gd name="connsiteX4" fmla="*/ 3700 w 10000"/>
              <a:gd name="connsiteY4" fmla="*/ 0 h 10000"/>
              <a:gd name="connsiteX5" fmla="*/ 6850 w 10000"/>
              <a:gd name="connsiteY5" fmla="*/ 0 h 10000"/>
              <a:gd name="connsiteX6" fmla="*/ 6916 w 10000"/>
              <a:gd name="connsiteY6" fmla="*/ 362 h 10000"/>
              <a:gd name="connsiteX7" fmla="*/ 6916 w 10000"/>
              <a:gd name="connsiteY7" fmla="*/ 6676 h 10000"/>
              <a:gd name="connsiteX8" fmla="*/ 6983 w 10000"/>
              <a:gd name="connsiteY8" fmla="*/ 7038 h 10000"/>
              <a:gd name="connsiteX9" fmla="*/ 7856 w 10000"/>
              <a:gd name="connsiteY9" fmla="*/ 7038 h 10000"/>
              <a:gd name="connsiteX10" fmla="*/ 7926 w 10000"/>
              <a:gd name="connsiteY10" fmla="*/ 6676 h 10000"/>
              <a:gd name="connsiteX11" fmla="*/ 7926 w 10000"/>
              <a:gd name="connsiteY11" fmla="*/ 2652 h 10000"/>
              <a:gd name="connsiteX12" fmla="*/ 7994 w 10000"/>
              <a:gd name="connsiteY12" fmla="*/ 2290 h 10000"/>
              <a:gd name="connsiteX13" fmla="*/ 9933 w 10000"/>
              <a:gd name="connsiteY13" fmla="*/ 2290 h 10000"/>
              <a:gd name="connsiteX14" fmla="*/ 10000 w 10000"/>
              <a:gd name="connsiteY14" fmla="*/ 2652 h 10000"/>
              <a:gd name="connsiteX0" fmla="*/ 0 w 9777"/>
              <a:gd name="connsiteY0" fmla="*/ 10089 h 10109"/>
              <a:gd name="connsiteX1" fmla="*/ 3341 w 9777"/>
              <a:gd name="connsiteY1" fmla="*/ 10000 h 10109"/>
              <a:gd name="connsiteX2" fmla="*/ 3407 w 9777"/>
              <a:gd name="connsiteY2" fmla="*/ 9637 h 10109"/>
              <a:gd name="connsiteX3" fmla="*/ 3407 w 9777"/>
              <a:gd name="connsiteY3" fmla="*/ 362 h 10109"/>
              <a:gd name="connsiteX4" fmla="*/ 3477 w 9777"/>
              <a:gd name="connsiteY4" fmla="*/ 0 h 10109"/>
              <a:gd name="connsiteX5" fmla="*/ 6627 w 9777"/>
              <a:gd name="connsiteY5" fmla="*/ 0 h 10109"/>
              <a:gd name="connsiteX6" fmla="*/ 6693 w 9777"/>
              <a:gd name="connsiteY6" fmla="*/ 362 h 10109"/>
              <a:gd name="connsiteX7" fmla="*/ 6693 w 9777"/>
              <a:gd name="connsiteY7" fmla="*/ 6676 h 10109"/>
              <a:gd name="connsiteX8" fmla="*/ 6760 w 9777"/>
              <a:gd name="connsiteY8" fmla="*/ 7038 h 10109"/>
              <a:gd name="connsiteX9" fmla="*/ 7633 w 9777"/>
              <a:gd name="connsiteY9" fmla="*/ 7038 h 10109"/>
              <a:gd name="connsiteX10" fmla="*/ 7703 w 9777"/>
              <a:gd name="connsiteY10" fmla="*/ 6676 h 10109"/>
              <a:gd name="connsiteX11" fmla="*/ 7703 w 9777"/>
              <a:gd name="connsiteY11" fmla="*/ 2652 h 10109"/>
              <a:gd name="connsiteX12" fmla="*/ 7771 w 9777"/>
              <a:gd name="connsiteY12" fmla="*/ 2290 h 10109"/>
              <a:gd name="connsiteX13" fmla="*/ 9710 w 9777"/>
              <a:gd name="connsiteY13" fmla="*/ 2290 h 10109"/>
              <a:gd name="connsiteX14" fmla="*/ 9777 w 9777"/>
              <a:gd name="connsiteY14" fmla="*/ 2652 h 10109"/>
              <a:gd name="connsiteX0" fmla="*/ 0 w 10000"/>
              <a:gd name="connsiteY0" fmla="*/ 9855 h 9901"/>
              <a:gd name="connsiteX1" fmla="*/ 3417 w 10000"/>
              <a:gd name="connsiteY1" fmla="*/ 9892 h 9901"/>
              <a:gd name="connsiteX2" fmla="*/ 3485 w 10000"/>
              <a:gd name="connsiteY2" fmla="*/ 9533 h 9901"/>
              <a:gd name="connsiteX3" fmla="*/ 3485 w 10000"/>
              <a:gd name="connsiteY3" fmla="*/ 358 h 9901"/>
              <a:gd name="connsiteX4" fmla="*/ 3556 w 10000"/>
              <a:gd name="connsiteY4" fmla="*/ 0 h 9901"/>
              <a:gd name="connsiteX5" fmla="*/ 6778 w 10000"/>
              <a:gd name="connsiteY5" fmla="*/ 0 h 9901"/>
              <a:gd name="connsiteX6" fmla="*/ 6846 w 10000"/>
              <a:gd name="connsiteY6" fmla="*/ 358 h 9901"/>
              <a:gd name="connsiteX7" fmla="*/ 6846 w 10000"/>
              <a:gd name="connsiteY7" fmla="*/ 6604 h 9901"/>
              <a:gd name="connsiteX8" fmla="*/ 6914 w 10000"/>
              <a:gd name="connsiteY8" fmla="*/ 6962 h 9901"/>
              <a:gd name="connsiteX9" fmla="*/ 7807 w 10000"/>
              <a:gd name="connsiteY9" fmla="*/ 6962 h 9901"/>
              <a:gd name="connsiteX10" fmla="*/ 7879 w 10000"/>
              <a:gd name="connsiteY10" fmla="*/ 6604 h 9901"/>
              <a:gd name="connsiteX11" fmla="*/ 7879 w 10000"/>
              <a:gd name="connsiteY11" fmla="*/ 2623 h 9901"/>
              <a:gd name="connsiteX12" fmla="*/ 7948 w 10000"/>
              <a:gd name="connsiteY12" fmla="*/ 2265 h 9901"/>
              <a:gd name="connsiteX13" fmla="*/ 9931 w 10000"/>
              <a:gd name="connsiteY13" fmla="*/ 2265 h 9901"/>
              <a:gd name="connsiteX14" fmla="*/ 10000 w 10000"/>
              <a:gd name="connsiteY14" fmla="*/ 2623 h 9901"/>
              <a:gd name="connsiteX0" fmla="*/ 0 w 10000"/>
              <a:gd name="connsiteY0" fmla="*/ 9954 h 10007"/>
              <a:gd name="connsiteX1" fmla="*/ 3417 w 10000"/>
              <a:gd name="connsiteY1" fmla="*/ 9991 h 10007"/>
              <a:gd name="connsiteX2" fmla="*/ 3485 w 10000"/>
              <a:gd name="connsiteY2" fmla="*/ 9628 h 10007"/>
              <a:gd name="connsiteX3" fmla="*/ 3485 w 10000"/>
              <a:gd name="connsiteY3" fmla="*/ 362 h 10007"/>
              <a:gd name="connsiteX4" fmla="*/ 3556 w 10000"/>
              <a:gd name="connsiteY4" fmla="*/ 0 h 10007"/>
              <a:gd name="connsiteX5" fmla="*/ 6778 w 10000"/>
              <a:gd name="connsiteY5" fmla="*/ 0 h 10007"/>
              <a:gd name="connsiteX6" fmla="*/ 6846 w 10000"/>
              <a:gd name="connsiteY6" fmla="*/ 362 h 10007"/>
              <a:gd name="connsiteX7" fmla="*/ 6846 w 10000"/>
              <a:gd name="connsiteY7" fmla="*/ 6670 h 10007"/>
              <a:gd name="connsiteX8" fmla="*/ 6914 w 10000"/>
              <a:gd name="connsiteY8" fmla="*/ 7032 h 10007"/>
              <a:gd name="connsiteX9" fmla="*/ 7807 w 10000"/>
              <a:gd name="connsiteY9" fmla="*/ 7032 h 10007"/>
              <a:gd name="connsiteX10" fmla="*/ 7879 w 10000"/>
              <a:gd name="connsiteY10" fmla="*/ 6670 h 10007"/>
              <a:gd name="connsiteX11" fmla="*/ 7879 w 10000"/>
              <a:gd name="connsiteY11" fmla="*/ 2649 h 10007"/>
              <a:gd name="connsiteX12" fmla="*/ 7948 w 10000"/>
              <a:gd name="connsiteY12" fmla="*/ 2288 h 10007"/>
              <a:gd name="connsiteX13" fmla="*/ 9931 w 10000"/>
              <a:gd name="connsiteY13" fmla="*/ 2288 h 10007"/>
              <a:gd name="connsiteX14" fmla="*/ 10000 w 10000"/>
              <a:gd name="connsiteY14" fmla="*/ 2649 h 10007"/>
              <a:gd name="connsiteX0" fmla="*/ 0 w 10000"/>
              <a:gd name="connsiteY0" fmla="*/ 9954 h 10038"/>
              <a:gd name="connsiteX1" fmla="*/ 3417 w 10000"/>
              <a:gd name="connsiteY1" fmla="*/ 9991 h 10038"/>
              <a:gd name="connsiteX2" fmla="*/ 3485 w 10000"/>
              <a:gd name="connsiteY2" fmla="*/ 9628 h 10038"/>
              <a:gd name="connsiteX3" fmla="*/ 3485 w 10000"/>
              <a:gd name="connsiteY3" fmla="*/ 362 h 10038"/>
              <a:gd name="connsiteX4" fmla="*/ 3556 w 10000"/>
              <a:gd name="connsiteY4" fmla="*/ 0 h 10038"/>
              <a:gd name="connsiteX5" fmla="*/ 6778 w 10000"/>
              <a:gd name="connsiteY5" fmla="*/ 0 h 10038"/>
              <a:gd name="connsiteX6" fmla="*/ 6846 w 10000"/>
              <a:gd name="connsiteY6" fmla="*/ 362 h 10038"/>
              <a:gd name="connsiteX7" fmla="*/ 6846 w 10000"/>
              <a:gd name="connsiteY7" fmla="*/ 6670 h 10038"/>
              <a:gd name="connsiteX8" fmla="*/ 6914 w 10000"/>
              <a:gd name="connsiteY8" fmla="*/ 7032 h 10038"/>
              <a:gd name="connsiteX9" fmla="*/ 7807 w 10000"/>
              <a:gd name="connsiteY9" fmla="*/ 7032 h 10038"/>
              <a:gd name="connsiteX10" fmla="*/ 7879 w 10000"/>
              <a:gd name="connsiteY10" fmla="*/ 6670 h 10038"/>
              <a:gd name="connsiteX11" fmla="*/ 7879 w 10000"/>
              <a:gd name="connsiteY11" fmla="*/ 2649 h 10038"/>
              <a:gd name="connsiteX12" fmla="*/ 7948 w 10000"/>
              <a:gd name="connsiteY12" fmla="*/ 2288 h 10038"/>
              <a:gd name="connsiteX13" fmla="*/ 9931 w 10000"/>
              <a:gd name="connsiteY13" fmla="*/ 2288 h 10038"/>
              <a:gd name="connsiteX14" fmla="*/ 10000 w 10000"/>
              <a:gd name="connsiteY14" fmla="*/ 2649 h 10038"/>
              <a:gd name="connsiteX0" fmla="*/ 0 w 10000"/>
              <a:gd name="connsiteY0" fmla="*/ 9954 h 10007"/>
              <a:gd name="connsiteX1" fmla="*/ 3417 w 10000"/>
              <a:gd name="connsiteY1" fmla="*/ 9991 h 10007"/>
              <a:gd name="connsiteX2" fmla="*/ 3485 w 10000"/>
              <a:gd name="connsiteY2" fmla="*/ 9628 h 10007"/>
              <a:gd name="connsiteX3" fmla="*/ 3485 w 10000"/>
              <a:gd name="connsiteY3" fmla="*/ 362 h 10007"/>
              <a:gd name="connsiteX4" fmla="*/ 3556 w 10000"/>
              <a:gd name="connsiteY4" fmla="*/ 0 h 10007"/>
              <a:gd name="connsiteX5" fmla="*/ 6778 w 10000"/>
              <a:gd name="connsiteY5" fmla="*/ 0 h 10007"/>
              <a:gd name="connsiteX6" fmla="*/ 6846 w 10000"/>
              <a:gd name="connsiteY6" fmla="*/ 362 h 10007"/>
              <a:gd name="connsiteX7" fmla="*/ 6846 w 10000"/>
              <a:gd name="connsiteY7" fmla="*/ 6670 h 10007"/>
              <a:gd name="connsiteX8" fmla="*/ 6914 w 10000"/>
              <a:gd name="connsiteY8" fmla="*/ 7032 h 10007"/>
              <a:gd name="connsiteX9" fmla="*/ 7807 w 10000"/>
              <a:gd name="connsiteY9" fmla="*/ 7032 h 10007"/>
              <a:gd name="connsiteX10" fmla="*/ 7879 w 10000"/>
              <a:gd name="connsiteY10" fmla="*/ 6670 h 10007"/>
              <a:gd name="connsiteX11" fmla="*/ 7879 w 10000"/>
              <a:gd name="connsiteY11" fmla="*/ 2649 h 10007"/>
              <a:gd name="connsiteX12" fmla="*/ 7948 w 10000"/>
              <a:gd name="connsiteY12" fmla="*/ 2288 h 10007"/>
              <a:gd name="connsiteX13" fmla="*/ 9931 w 10000"/>
              <a:gd name="connsiteY13" fmla="*/ 2288 h 10007"/>
              <a:gd name="connsiteX14" fmla="*/ 10000 w 10000"/>
              <a:gd name="connsiteY14" fmla="*/ 2649 h 10007"/>
              <a:gd name="connsiteX0" fmla="*/ 0 w 10000"/>
              <a:gd name="connsiteY0" fmla="*/ 9972 h 10018"/>
              <a:gd name="connsiteX1" fmla="*/ 3417 w 10000"/>
              <a:gd name="connsiteY1" fmla="*/ 9991 h 10018"/>
              <a:gd name="connsiteX2" fmla="*/ 3485 w 10000"/>
              <a:gd name="connsiteY2" fmla="*/ 9628 h 10018"/>
              <a:gd name="connsiteX3" fmla="*/ 3485 w 10000"/>
              <a:gd name="connsiteY3" fmla="*/ 362 h 10018"/>
              <a:gd name="connsiteX4" fmla="*/ 3556 w 10000"/>
              <a:gd name="connsiteY4" fmla="*/ 0 h 10018"/>
              <a:gd name="connsiteX5" fmla="*/ 6778 w 10000"/>
              <a:gd name="connsiteY5" fmla="*/ 0 h 10018"/>
              <a:gd name="connsiteX6" fmla="*/ 6846 w 10000"/>
              <a:gd name="connsiteY6" fmla="*/ 362 h 10018"/>
              <a:gd name="connsiteX7" fmla="*/ 6846 w 10000"/>
              <a:gd name="connsiteY7" fmla="*/ 6670 h 10018"/>
              <a:gd name="connsiteX8" fmla="*/ 6914 w 10000"/>
              <a:gd name="connsiteY8" fmla="*/ 7032 h 10018"/>
              <a:gd name="connsiteX9" fmla="*/ 7807 w 10000"/>
              <a:gd name="connsiteY9" fmla="*/ 7032 h 10018"/>
              <a:gd name="connsiteX10" fmla="*/ 7879 w 10000"/>
              <a:gd name="connsiteY10" fmla="*/ 6670 h 10018"/>
              <a:gd name="connsiteX11" fmla="*/ 7879 w 10000"/>
              <a:gd name="connsiteY11" fmla="*/ 2649 h 10018"/>
              <a:gd name="connsiteX12" fmla="*/ 7948 w 10000"/>
              <a:gd name="connsiteY12" fmla="*/ 2288 h 10018"/>
              <a:gd name="connsiteX13" fmla="*/ 9931 w 10000"/>
              <a:gd name="connsiteY13" fmla="*/ 2288 h 10018"/>
              <a:gd name="connsiteX14" fmla="*/ 10000 w 10000"/>
              <a:gd name="connsiteY14" fmla="*/ 2649 h 10018"/>
              <a:gd name="connsiteX0" fmla="*/ 0 w 10000"/>
              <a:gd name="connsiteY0" fmla="*/ 9972 h 9991"/>
              <a:gd name="connsiteX1" fmla="*/ 3417 w 10000"/>
              <a:gd name="connsiteY1" fmla="*/ 9991 h 9991"/>
              <a:gd name="connsiteX2" fmla="*/ 3485 w 10000"/>
              <a:gd name="connsiteY2" fmla="*/ 9628 h 9991"/>
              <a:gd name="connsiteX3" fmla="*/ 3485 w 10000"/>
              <a:gd name="connsiteY3" fmla="*/ 362 h 9991"/>
              <a:gd name="connsiteX4" fmla="*/ 3556 w 10000"/>
              <a:gd name="connsiteY4" fmla="*/ 0 h 9991"/>
              <a:gd name="connsiteX5" fmla="*/ 6778 w 10000"/>
              <a:gd name="connsiteY5" fmla="*/ 0 h 9991"/>
              <a:gd name="connsiteX6" fmla="*/ 6846 w 10000"/>
              <a:gd name="connsiteY6" fmla="*/ 362 h 9991"/>
              <a:gd name="connsiteX7" fmla="*/ 6846 w 10000"/>
              <a:gd name="connsiteY7" fmla="*/ 6670 h 9991"/>
              <a:gd name="connsiteX8" fmla="*/ 6914 w 10000"/>
              <a:gd name="connsiteY8" fmla="*/ 7032 h 9991"/>
              <a:gd name="connsiteX9" fmla="*/ 7807 w 10000"/>
              <a:gd name="connsiteY9" fmla="*/ 7032 h 9991"/>
              <a:gd name="connsiteX10" fmla="*/ 7879 w 10000"/>
              <a:gd name="connsiteY10" fmla="*/ 6670 h 9991"/>
              <a:gd name="connsiteX11" fmla="*/ 7879 w 10000"/>
              <a:gd name="connsiteY11" fmla="*/ 2649 h 9991"/>
              <a:gd name="connsiteX12" fmla="*/ 7948 w 10000"/>
              <a:gd name="connsiteY12" fmla="*/ 2288 h 9991"/>
              <a:gd name="connsiteX13" fmla="*/ 9931 w 10000"/>
              <a:gd name="connsiteY13" fmla="*/ 2288 h 9991"/>
              <a:gd name="connsiteX14" fmla="*/ 10000 w 10000"/>
              <a:gd name="connsiteY14" fmla="*/ 2649 h 9991"/>
              <a:gd name="connsiteX0" fmla="*/ 0 w 10000"/>
              <a:gd name="connsiteY0" fmla="*/ 10008 h 10015"/>
              <a:gd name="connsiteX1" fmla="*/ 3417 w 10000"/>
              <a:gd name="connsiteY1" fmla="*/ 10000 h 10015"/>
              <a:gd name="connsiteX2" fmla="*/ 3485 w 10000"/>
              <a:gd name="connsiteY2" fmla="*/ 9637 h 10015"/>
              <a:gd name="connsiteX3" fmla="*/ 3485 w 10000"/>
              <a:gd name="connsiteY3" fmla="*/ 362 h 10015"/>
              <a:gd name="connsiteX4" fmla="*/ 3556 w 10000"/>
              <a:gd name="connsiteY4" fmla="*/ 0 h 10015"/>
              <a:gd name="connsiteX5" fmla="*/ 6778 w 10000"/>
              <a:gd name="connsiteY5" fmla="*/ 0 h 10015"/>
              <a:gd name="connsiteX6" fmla="*/ 6846 w 10000"/>
              <a:gd name="connsiteY6" fmla="*/ 362 h 10015"/>
              <a:gd name="connsiteX7" fmla="*/ 6846 w 10000"/>
              <a:gd name="connsiteY7" fmla="*/ 6676 h 10015"/>
              <a:gd name="connsiteX8" fmla="*/ 6914 w 10000"/>
              <a:gd name="connsiteY8" fmla="*/ 7038 h 10015"/>
              <a:gd name="connsiteX9" fmla="*/ 7807 w 10000"/>
              <a:gd name="connsiteY9" fmla="*/ 7038 h 10015"/>
              <a:gd name="connsiteX10" fmla="*/ 7879 w 10000"/>
              <a:gd name="connsiteY10" fmla="*/ 6676 h 10015"/>
              <a:gd name="connsiteX11" fmla="*/ 7879 w 10000"/>
              <a:gd name="connsiteY11" fmla="*/ 2651 h 10015"/>
              <a:gd name="connsiteX12" fmla="*/ 7948 w 10000"/>
              <a:gd name="connsiteY12" fmla="*/ 2290 h 10015"/>
              <a:gd name="connsiteX13" fmla="*/ 9931 w 10000"/>
              <a:gd name="connsiteY13" fmla="*/ 2290 h 10015"/>
              <a:gd name="connsiteX14" fmla="*/ 10000 w 10000"/>
              <a:gd name="connsiteY14" fmla="*/ 2651 h 10015"/>
              <a:gd name="connsiteX0" fmla="*/ 0 w 10000"/>
              <a:gd name="connsiteY0" fmla="*/ 10008 h 10008"/>
              <a:gd name="connsiteX1" fmla="*/ 3417 w 10000"/>
              <a:gd name="connsiteY1" fmla="*/ 10000 h 10008"/>
              <a:gd name="connsiteX2" fmla="*/ 3485 w 10000"/>
              <a:gd name="connsiteY2" fmla="*/ 9637 h 10008"/>
              <a:gd name="connsiteX3" fmla="*/ 3485 w 10000"/>
              <a:gd name="connsiteY3" fmla="*/ 362 h 10008"/>
              <a:gd name="connsiteX4" fmla="*/ 3556 w 10000"/>
              <a:gd name="connsiteY4" fmla="*/ 0 h 10008"/>
              <a:gd name="connsiteX5" fmla="*/ 6778 w 10000"/>
              <a:gd name="connsiteY5" fmla="*/ 0 h 10008"/>
              <a:gd name="connsiteX6" fmla="*/ 6846 w 10000"/>
              <a:gd name="connsiteY6" fmla="*/ 362 h 10008"/>
              <a:gd name="connsiteX7" fmla="*/ 6846 w 10000"/>
              <a:gd name="connsiteY7" fmla="*/ 6676 h 10008"/>
              <a:gd name="connsiteX8" fmla="*/ 6914 w 10000"/>
              <a:gd name="connsiteY8" fmla="*/ 7038 h 10008"/>
              <a:gd name="connsiteX9" fmla="*/ 7807 w 10000"/>
              <a:gd name="connsiteY9" fmla="*/ 7038 h 10008"/>
              <a:gd name="connsiteX10" fmla="*/ 7879 w 10000"/>
              <a:gd name="connsiteY10" fmla="*/ 6676 h 10008"/>
              <a:gd name="connsiteX11" fmla="*/ 7879 w 10000"/>
              <a:gd name="connsiteY11" fmla="*/ 2651 h 10008"/>
              <a:gd name="connsiteX12" fmla="*/ 7948 w 10000"/>
              <a:gd name="connsiteY12" fmla="*/ 2290 h 10008"/>
              <a:gd name="connsiteX13" fmla="*/ 9931 w 10000"/>
              <a:gd name="connsiteY13" fmla="*/ 2290 h 10008"/>
              <a:gd name="connsiteX14" fmla="*/ 10000 w 10000"/>
              <a:gd name="connsiteY14" fmla="*/ 2651 h 10008"/>
              <a:gd name="connsiteX0" fmla="*/ 0 w 10000"/>
              <a:gd name="connsiteY0" fmla="*/ 10008 h 10008"/>
              <a:gd name="connsiteX1" fmla="*/ 3417 w 10000"/>
              <a:gd name="connsiteY1" fmla="*/ 10000 h 10008"/>
              <a:gd name="connsiteX2" fmla="*/ 3485 w 10000"/>
              <a:gd name="connsiteY2" fmla="*/ 9637 h 10008"/>
              <a:gd name="connsiteX3" fmla="*/ 3485 w 10000"/>
              <a:gd name="connsiteY3" fmla="*/ 362 h 10008"/>
              <a:gd name="connsiteX4" fmla="*/ 3556 w 10000"/>
              <a:gd name="connsiteY4" fmla="*/ 0 h 10008"/>
              <a:gd name="connsiteX5" fmla="*/ 6778 w 10000"/>
              <a:gd name="connsiteY5" fmla="*/ 0 h 10008"/>
              <a:gd name="connsiteX6" fmla="*/ 6846 w 10000"/>
              <a:gd name="connsiteY6" fmla="*/ 362 h 10008"/>
              <a:gd name="connsiteX7" fmla="*/ 6846 w 10000"/>
              <a:gd name="connsiteY7" fmla="*/ 6676 h 10008"/>
              <a:gd name="connsiteX8" fmla="*/ 6914 w 10000"/>
              <a:gd name="connsiteY8" fmla="*/ 7038 h 10008"/>
              <a:gd name="connsiteX9" fmla="*/ 7807 w 10000"/>
              <a:gd name="connsiteY9" fmla="*/ 7038 h 10008"/>
              <a:gd name="connsiteX10" fmla="*/ 7879 w 10000"/>
              <a:gd name="connsiteY10" fmla="*/ 6676 h 10008"/>
              <a:gd name="connsiteX11" fmla="*/ 7879 w 10000"/>
              <a:gd name="connsiteY11" fmla="*/ 2651 h 10008"/>
              <a:gd name="connsiteX12" fmla="*/ 7948 w 10000"/>
              <a:gd name="connsiteY12" fmla="*/ 2290 h 10008"/>
              <a:gd name="connsiteX13" fmla="*/ 10000 w 10000"/>
              <a:gd name="connsiteY13" fmla="*/ 2651 h 10008"/>
              <a:gd name="connsiteX0" fmla="*/ 0 w 9969"/>
              <a:gd name="connsiteY0" fmla="*/ 10008 h 10008"/>
              <a:gd name="connsiteX1" fmla="*/ 3417 w 9969"/>
              <a:gd name="connsiteY1" fmla="*/ 10000 h 10008"/>
              <a:gd name="connsiteX2" fmla="*/ 3485 w 9969"/>
              <a:gd name="connsiteY2" fmla="*/ 9637 h 10008"/>
              <a:gd name="connsiteX3" fmla="*/ 3485 w 9969"/>
              <a:gd name="connsiteY3" fmla="*/ 362 h 10008"/>
              <a:gd name="connsiteX4" fmla="*/ 3556 w 9969"/>
              <a:gd name="connsiteY4" fmla="*/ 0 h 10008"/>
              <a:gd name="connsiteX5" fmla="*/ 6778 w 9969"/>
              <a:gd name="connsiteY5" fmla="*/ 0 h 10008"/>
              <a:gd name="connsiteX6" fmla="*/ 6846 w 9969"/>
              <a:gd name="connsiteY6" fmla="*/ 362 h 10008"/>
              <a:gd name="connsiteX7" fmla="*/ 6846 w 9969"/>
              <a:gd name="connsiteY7" fmla="*/ 6676 h 10008"/>
              <a:gd name="connsiteX8" fmla="*/ 6914 w 9969"/>
              <a:gd name="connsiteY8" fmla="*/ 7038 h 10008"/>
              <a:gd name="connsiteX9" fmla="*/ 7807 w 9969"/>
              <a:gd name="connsiteY9" fmla="*/ 7038 h 10008"/>
              <a:gd name="connsiteX10" fmla="*/ 7879 w 9969"/>
              <a:gd name="connsiteY10" fmla="*/ 6676 h 10008"/>
              <a:gd name="connsiteX11" fmla="*/ 7879 w 9969"/>
              <a:gd name="connsiteY11" fmla="*/ 2651 h 10008"/>
              <a:gd name="connsiteX12" fmla="*/ 7948 w 9969"/>
              <a:gd name="connsiteY12" fmla="*/ 2290 h 10008"/>
              <a:gd name="connsiteX13" fmla="*/ 9969 w 9969"/>
              <a:gd name="connsiteY13" fmla="*/ 2271 h 10008"/>
              <a:gd name="connsiteX0" fmla="*/ 0 w 9995"/>
              <a:gd name="connsiteY0" fmla="*/ 10000 h 10000"/>
              <a:gd name="connsiteX1" fmla="*/ 3428 w 9995"/>
              <a:gd name="connsiteY1" fmla="*/ 9992 h 10000"/>
              <a:gd name="connsiteX2" fmla="*/ 3496 w 9995"/>
              <a:gd name="connsiteY2" fmla="*/ 9629 h 10000"/>
              <a:gd name="connsiteX3" fmla="*/ 3496 w 9995"/>
              <a:gd name="connsiteY3" fmla="*/ 362 h 10000"/>
              <a:gd name="connsiteX4" fmla="*/ 3567 w 9995"/>
              <a:gd name="connsiteY4" fmla="*/ 0 h 10000"/>
              <a:gd name="connsiteX5" fmla="*/ 6799 w 9995"/>
              <a:gd name="connsiteY5" fmla="*/ 0 h 10000"/>
              <a:gd name="connsiteX6" fmla="*/ 6867 w 9995"/>
              <a:gd name="connsiteY6" fmla="*/ 362 h 10000"/>
              <a:gd name="connsiteX7" fmla="*/ 6867 w 9995"/>
              <a:gd name="connsiteY7" fmla="*/ 6671 h 10000"/>
              <a:gd name="connsiteX8" fmla="*/ 6936 w 9995"/>
              <a:gd name="connsiteY8" fmla="*/ 7032 h 10000"/>
              <a:gd name="connsiteX9" fmla="*/ 7831 w 9995"/>
              <a:gd name="connsiteY9" fmla="*/ 7032 h 10000"/>
              <a:gd name="connsiteX10" fmla="*/ 7904 w 9995"/>
              <a:gd name="connsiteY10" fmla="*/ 6671 h 10000"/>
              <a:gd name="connsiteX11" fmla="*/ 7904 w 9995"/>
              <a:gd name="connsiteY11" fmla="*/ 2649 h 10000"/>
              <a:gd name="connsiteX12" fmla="*/ 7973 w 9995"/>
              <a:gd name="connsiteY12" fmla="*/ 2288 h 10000"/>
              <a:gd name="connsiteX13" fmla="*/ 9995 w 9995"/>
              <a:gd name="connsiteY13" fmla="*/ 2377 h 10000"/>
              <a:gd name="connsiteX0" fmla="*/ 0 w 10000"/>
              <a:gd name="connsiteY0" fmla="*/ 10000 h 10000"/>
              <a:gd name="connsiteX1" fmla="*/ 3430 w 10000"/>
              <a:gd name="connsiteY1" fmla="*/ 9992 h 10000"/>
              <a:gd name="connsiteX2" fmla="*/ 3498 w 10000"/>
              <a:gd name="connsiteY2" fmla="*/ 9629 h 10000"/>
              <a:gd name="connsiteX3" fmla="*/ 3498 w 10000"/>
              <a:gd name="connsiteY3" fmla="*/ 362 h 10000"/>
              <a:gd name="connsiteX4" fmla="*/ 3569 w 10000"/>
              <a:gd name="connsiteY4" fmla="*/ 0 h 10000"/>
              <a:gd name="connsiteX5" fmla="*/ 6802 w 10000"/>
              <a:gd name="connsiteY5" fmla="*/ 0 h 10000"/>
              <a:gd name="connsiteX6" fmla="*/ 6870 w 10000"/>
              <a:gd name="connsiteY6" fmla="*/ 362 h 10000"/>
              <a:gd name="connsiteX7" fmla="*/ 6870 w 10000"/>
              <a:gd name="connsiteY7" fmla="*/ 6671 h 10000"/>
              <a:gd name="connsiteX8" fmla="*/ 6939 w 10000"/>
              <a:gd name="connsiteY8" fmla="*/ 7032 h 10000"/>
              <a:gd name="connsiteX9" fmla="*/ 7835 w 10000"/>
              <a:gd name="connsiteY9" fmla="*/ 7032 h 10000"/>
              <a:gd name="connsiteX10" fmla="*/ 7908 w 10000"/>
              <a:gd name="connsiteY10" fmla="*/ 6671 h 10000"/>
              <a:gd name="connsiteX11" fmla="*/ 7908 w 10000"/>
              <a:gd name="connsiteY11" fmla="*/ 2649 h 10000"/>
              <a:gd name="connsiteX12" fmla="*/ 7977 w 10000"/>
              <a:gd name="connsiteY12" fmla="*/ 2288 h 10000"/>
              <a:gd name="connsiteX13" fmla="*/ 10000 w 10000"/>
              <a:gd name="connsiteY13" fmla="*/ 2296 h 10000"/>
              <a:gd name="connsiteX0" fmla="*/ 0 w 10049"/>
              <a:gd name="connsiteY0" fmla="*/ 10000 h 10000"/>
              <a:gd name="connsiteX1" fmla="*/ 3479 w 10049"/>
              <a:gd name="connsiteY1" fmla="*/ 9992 h 10000"/>
              <a:gd name="connsiteX2" fmla="*/ 3547 w 10049"/>
              <a:gd name="connsiteY2" fmla="*/ 9629 h 10000"/>
              <a:gd name="connsiteX3" fmla="*/ 3547 w 10049"/>
              <a:gd name="connsiteY3" fmla="*/ 362 h 10000"/>
              <a:gd name="connsiteX4" fmla="*/ 3618 w 10049"/>
              <a:gd name="connsiteY4" fmla="*/ 0 h 10000"/>
              <a:gd name="connsiteX5" fmla="*/ 6851 w 10049"/>
              <a:gd name="connsiteY5" fmla="*/ 0 h 10000"/>
              <a:gd name="connsiteX6" fmla="*/ 6919 w 10049"/>
              <a:gd name="connsiteY6" fmla="*/ 362 h 10000"/>
              <a:gd name="connsiteX7" fmla="*/ 6919 w 10049"/>
              <a:gd name="connsiteY7" fmla="*/ 6671 h 10000"/>
              <a:gd name="connsiteX8" fmla="*/ 6988 w 10049"/>
              <a:gd name="connsiteY8" fmla="*/ 7032 h 10000"/>
              <a:gd name="connsiteX9" fmla="*/ 7884 w 10049"/>
              <a:gd name="connsiteY9" fmla="*/ 7032 h 10000"/>
              <a:gd name="connsiteX10" fmla="*/ 7957 w 10049"/>
              <a:gd name="connsiteY10" fmla="*/ 6671 h 10000"/>
              <a:gd name="connsiteX11" fmla="*/ 7957 w 10049"/>
              <a:gd name="connsiteY11" fmla="*/ 2649 h 10000"/>
              <a:gd name="connsiteX12" fmla="*/ 8026 w 10049"/>
              <a:gd name="connsiteY12" fmla="*/ 2288 h 10000"/>
              <a:gd name="connsiteX13" fmla="*/ 10049 w 10049"/>
              <a:gd name="connsiteY13" fmla="*/ 2296 h 10000"/>
              <a:gd name="connsiteX0" fmla="*/ 0 w 10007"/>
              <a:gd name="connsiteY0" fmla="*/ 10000 h 10000"/>
              <a:gd name="connsiteX1" fmla="*/ 3437 w 10007"/>
              <a:gd name="connsiteY1" fmla="*/ 9992 h 10000"/>
              <a:gd name="connsiteX2" fmla="*/ 3505 w 10007"/>
              <a:gd name="connsiteY2" fmla="*/ 9629 h 10000"/>
              <a:gd name="connsiteX3" fmla="*/ 3505 w 10007"/>
              <a:gd name="connsiteY3" fmla="*/ 362 h 10000"/>
              <a:gd name="connsiteX4" fmla="*/ 3576 w 10007"/>
              <a:gd name="connsiteY4" fmla="*/ 0 h 10000"/>
              <a:gd name="connsiteX5" fmla="*/ 6809 w 10007"/>
              <a:gd name="connsiteY5" fmla="*/ 0 h 10000"/>
              <a:gd name="connsiteX6" fmla="*/ 6877 w 10007"/>
              <a:gd name="connsiteY6" fmla="*/ 362 h 10000"/>
              <a:gd name="connsiteX7" fmla="*/ 6877 w 10007"/>
              <a:gd name="connsiteY7" fmla="*/ 6671 h 10000"/>
              <a:gd name="connsiteX8" fmla="*/ 6946 w 10007"/>
              <a:gd name="connsiteY8" fmla="*/ 7032 h 10000"/>
              <a:gd name="connsiteX9" fmla="*/ 7842 w 10007"/>
              <a:gd name="connsiteY9" fmla="*/ 7032 h 10000"/>
              <a:gd name="connsiteX10" fmla="*/ 7915 w 10007"/>
              <a:gd name="connsiteY10" fmla="*/ 6671 h 10000"/>
              <a:gd name="connsiteX11" fmla="*/ 7915 w 10007"/>
              <a:gd name="connsiteY11" fmla="*/ 2649 h 10000"/>
              <a:gd name="connsiteX12" fmla="*/ 7984 w 10007"/>
              <a:gd name="connsiteY12" fmla="*/ 2288 h 10000"/>
              <a:gd name="connsiteX13" fmla="*/ 10007 w 10007"/>
              <a:gd name="connsiteY13" fmla="*/ 2296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007" h="10000">
                <a:moveTo>
                  <a:pt x="0" y="10000"/>
                </a:moveTo>
                <a:lnTo>
                  <a:pt x="3437" y="9992"/>
                </a:lnTo>
                <a:cubicBezTo>
                  <a:pt x="3474" y="9992"/>
                  <a:pt x="3505" y="9824"/>
                  <a:pt x="3505" y="9629"/>
                </a:cubicBezTo>
                <a:lnTo>
                  <a:pt x="3505" y="362"/>
                </a:lnTo>
                <a:cubicBezTo>
                  <a:pt x="3505" y="168"/>
                  <a:pt x="3536" y="0"/>
                  <a:pt x="3576" y="0"/>
                </a:cubicBezTo>
                <a:lnTo>
                  <a:pt x="6809" y="0"/>
                </a:lnTo>
                <a:cubicBezTo>
                  <a:pt x="6845" y="0"/>
                  <a:pt x="6877" y="168"/>
                  <a:pt x="6877" y="362"/>
                </a:cubicBezTo>
                <a:lnTo>
                  <a:pt x="6877" y="6671"/>
                </a:lnTo>
                <a:cubicBezTo>
                  <a:pt x="6877" y="6865"/>
                  <a:pt x="6906" y="7032"/>
                  <a:pt x="6946" y="7032"/>
                </a:cubicBezTo>
                <a:lnTo>
                  <a:pt x="7842" y="7032"/>
                </a:lnTo>
                <a:cubicBezTo>
                  <a:pt x="7883" y="7032"/>
                  <a:pt x="7915" y="6865"/>
                  <a:pt x="7915" y="6671"/>
                </a:cubicBezTo>
                <a:lnTo>
                  <a:pt x="7915" y="2649"/>
                </a:lnTo>
                <a:cubicBezTo>
                  <a:pt x="7915" y="2443"/>
                  <a:pt x="7943" y="2288"/>
                  <a:pt x="7984" y="2288"/>
                </a:cubicBezTo>
                <a:lnTo>
                  <a:pt x="10007" y="2296"/>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 name="Freeform 8"/>
          <p:cNvSpPr>
            <a:spLocks/>
          </p:cNvSpPr>
          <p:nvPr/>
        </p:nvSpPr>
        <p:spPr bwMode="gray">
          <a:xfrm>
            <a:off x="-10278" y="5966252"/>
            <a:ext cx="9157459" cy="323466"/>
          </a:xfrm>
          <a:custGeom>
            <a:avLst/>
            <a:gdLst>
              <a:gd name="T0" fmla="*/ 0 w 8480"/>
              <a:gd name="T1" fmla="*/ 0 h 144"/>
              <a:gd name="T2" fmla="*/ 776 w 8480"/>
              <a:gd name="T3" fmla="*/ 0 h 144"/>
              <a:gd name="T4" fmla="*/ 804 w 8480"/>
              <a:gd name="T5" fmla="*/ 28 h 144"/>
              <a:gd name="T6" fmla="*/ 804 w 8480"/>
              <a:gd name="T7" fmla="*/ 114 h 144"/>
              <a:gd name="T8" fmla="*/ 831 w 8480"/>
              <a:gd name="T9" fmla="*/ 142 h 144"/>
              <a:gd name="T10" fmla="*/ 2854 w 8480"/>
              <a:gd name="T11" fmla="*/ 142 h 144"/>
              <a:gd name="T12" fmla="*/ 2882 w 8480"/>
              <a:gd name="T13" fmla="*/ 114 h 144"/>
              <a:gd name="T14" fmla="*/ 2882 w 8480"/>
              <a:gd name="T15" fmla="*/ 28 h 144"/>
              <a:gd name="T16" fmla="*/ 2910 w 8480"/>
              <a:gd name="T17" fmla="*/ 0 h 144"/>
              <a:gd name="T18" fmla="*/ 6767 w 8480"/>
              <a:gd name="T19" fmla="*/ 0 h 144"/>
              <a:gd name="T20" fmla="*/ 6795 w 8480"/>
              <a:gd name="T21" fmla="*/ 28 h 144"/>
              <a:gd name="T22" fmla="*/ 6795 w 8480"/>
              <a:gd name="T23" fmla="*/ 116 h 144"/>
              <a:gd name="T24" fmla="*/ 6823 w 8480"/>
              <a:gd name="T25" fmla="*/ 144 h 144"/>
              <a:gd name="T26" fmla="*/ 8480 w 8480"/>
              <a:gd name="T27" fmla="*/ 144 h 144"/>
              <a:gd name="connsiteX0" fmla="*/ 0 w 9085"/>
              <a:gd name="connsiteY0" fmla="*/ 0 h 10000"/>
              <a:gd name="connsiteX1" fmla="*/ 33 w 9085"/>
              <a:gd name="connsiteY1" fmla="*/ 1944 h 10000"/>
              <a:gd name="connsiteX2" fmla="*/ 33 w 9085"/>
              <a:gd name="connsiteY2" fmla="*/ 7917 h 10000"/>
              <a:gd name="connsiteX3" fmla="*/ 65 w 9085"/>
              <a:gd name="connsiteY3" fmla="*/ 9861 h 10000"/>
              <a:gd name="connsiteX4" fmla="*/ 2451 w 9085"/>
              <a:gd name="connsiteY4" fmla="*/ 9861 h 10000"/>
              <a:gd name="connsiteX5" fmla="*/ 2484 w 9085"/>
              <a:gd name="connsiteY5" fmla="*/ 7917 h 10000"/>
              <a:gd name="connsiteX6" fmla="*/ 2484 w 9085"/>
              <a:gd name="connsiteY6" fmla="*/ 1944 h 10000"/>
              <a:gd name="connsiteX7" fmla="*/ 2517 w 9085"/>
              <a:gd name="connsiteY7" fmla="*/ 0 h 10000"/>
              <a:gd name="connsiteX8" fmla="*/ 7065 w 9085"/>
              <a:gd name="connsiteY8" fmla="*/ 0 h 10000"/>
              <a:gd name="connsiteX9" fmla="*/ 7098 w 9085"/>
              <a:gd name="connsiteY9" fmla="*/ 1944 h 10000"/>
              <a:gd name="connsiteX10" fmla="*/ 7098 w 9085"/>
              <a:gd name="connsiteY10" fmla="*/ 8056 h 10000"/>
              <a:gd name="connsiteX11" fmla="*/ 7131 w 9085"/>
              <a:gd name="connsiteY11" fmla="*/ 10000 h 10000"/>
              <a:gd name="connsiteX12" fmla="*/ 9085 w 9085"/>
              <a:gd name="connsiteY12" fmla="*/ 10000 h 10000"/>
              <a:gd name="connsiteX0" fmla="*/ 0 w 9964"/>
              <a:gd name="connsiteY0" fmla="*/ 1944 h 10000"/>
              <a:gd name="connsiteX1" fmla="*/ 0 w 9964"/>
              <a:gd name="connsiteY1" fmla="*/ 7917 h 10000"/>
              <a:gd name="connsiteX2" fmla="*/ 36 w 9964"/>
              <a:gd name="connsiteY2" fmla="*/ 9861 h 10000"/>
              <a:gd name="connsiteX3" fmla="*/ 2662 w 9964"/>
              <a:gd name="connsiteY3" fmla="*/ 9861 h 10000"/>
              <a:gd name="connsiteX4" fmla="*/ 2698 w 9964"/>
              <a:gd name="connsiteY4" fmla="*/ 7917 h 10000"/>
              <a:gd name="connsiteX5" fmla="*/ 2698 w 9964"/>
              <a:gd name="connsiteY5" fmla="*/ 1944 h 10000"/>
              <a:gd name="connsiteX6" fmla="*/ 2735 w 9964"/>
              <a:gd name="connsiteY6" fmla="*/ 0 h 10000"/>
              <a:gd name="connsiteX7" fmla="*/ 7741 w 9964"/>
              <a:gd name="connsiteY7" fmla="*/ 0 h 10000"/>
              <a:gd name="connsiteX8" fmla="*/ 7777 w 9964"/>
              <a:gd name="connsiteY8" fmla="*/ 1944 h 10000"/>
              <a:gd name="connsiteX9" fmla="*/ 7777 w 9964"/>
              <a:gd name="connsiteY9" fmla="*/ 8056 h 10000"/>
              <a:gd name="connsiteX10" fmla="*/ 7813 w 9964"/>
              <a:gd name="connsiteY10" fmla="*/ 10000 h 10000"/>
              <a:gd name="connsiteX11" fmla="*/ 9964 w 9964"/>
              <a:gd name="connsiteY11" fmla="*/ 10000 h 10000"/>
              <a:gd name="connsiteX0" fmla="*/ 0 w 10000"/>
              <a:gd name="connsiteY0" fmla="*/ 7917 h 10000"/>
              <a:gd name="connsiteX1" fmla="*/ 36 w 10000"/>
              <a:gd name="connsiteY1" fmla="*/ 9861 h 10000"/>
              <a:gd name="connsiteX2" fmla="*/ 2672 w 10000"/>
              <a:gd name="connsiteY2" fmla="*/ 9861 h 10000"/>
              <a:gd name="connsiteX3" fmla="*/ 2708 w 10000"/>
              <a:gd name="connsiteY3" fmla="*/ 7917 h 10000"/>
              <a:gd name="connsiteX4" fmla="*/ 2708 w 10000"/>
              <a:gd name="connsiteY4" fmla="*/ 1944 h 10000"/>
              <a:gd name="connsiteX5" fmla="*/ 2745 w 10000"/>
              <a:gd name="connsiteY5" fmla="*/ 0 h 10000"/>
              <a:gd name="connsiteX6" fmla="*/ 7769 w 10000"/>
              <a:gd name="connsiteY6" fmla="*/ 0 h 10000"/>
              <a:gd name="connsiteX7" fmla="*/ 7805 w 10000"/>
              <a:gd name="connsiteY7" fmla="*/ 1944 h 10000"/>
              <a:gd name="connsiteX8" fmla="*/ 7805 w 10000"/>
              <a:gd name="connsiteY8" fmla="*/ 8056 h 10000"/>
              <a:gd name="connsiteX9" fmla="*/ 7841 w 10000"/>
              <a:gd name="connsiteY9" fmla="*/ 10000 h 10000"/>
              <a:gd name="connsiteX10" fmla="*/ 10000 w 10000"/>
              <a:gd name="connsiteY10" fmla="*/ 10000 h 10000"/>
              <a:gd name="connsiteX0" fmla="*/ 0 w 9964"/>
              <a:gd name="connsiteY0" fmla="*/ 9861 h 10000"/>
              <a:gd name="connsiteX1" fmla="*/ 2636 w 9964"/>
              <a:gd name="connsiteY1" fmla="*/ 9861 h 10000"/>
              <a:gd name="connsiteX2" fmla="*/ 2672 w 9964"/>
              <a:gd name="connsiteY2" fmla="*/ 7917 h 10000"/>
              <a:gd name="connsiteX3" fmla="*/ 2672 w 9964"/>
              <a:gd name="connsiteY3" fmla="*/ 1944 h 10000"/>
              <a:gd name="connsiteX4" fmla="*/ 2709 w 9964"/>
              <a:gd name="connsiteY4" fmla="*/ 0 h 10000"/>
              <a:gd name="connsiteX5" fmla="*/ 7733 w 9964"/>
              <a:gd name="connsiteY5" fmla="*/ 0 h 10000"/>
              <a:gd name="connsiteX6" fmla="*/ 7769 w 9964"/>
              <a:gd name="connsiteY6" fmla="*/ 1944 h 10000"/>
              <a:gd name="connsiteX7" fmla="*/ 7769 w 9964"/>
              <a:gd name="connsiteY7" fmla="*/ 8056 h 10000"/>
              <a:gd name="connsiteX8" fmla="*/ 7805 w 9964"/>
              <a:gd name="connsiteY8" fmla="*/ 10000 h 10000"/>
              <a:gd name="connsiteX9" fmla="*/ 9964 w 9964"/>
              <a:gd name="connsiteY9" fmla="*/ 10000 h 10000"/>
              <a:gd name="connsiteX0" fmla="*/ 0 w 7833"/>
              <a:gd name="connsiteY0" fmla="*/ 9861 h 10000"/>
              <a:gd name="connsiteX1" fmla="*/ 2646 w 7833"/>
              <a:gd name="connsiteY1" fmla="*/ 9861 h 10000"/>
              <a:gd name="connsiteX2" fmla="*/ 2682 w 7833"/>
              <a:gd name="connsiteY2" fmla="*/ 7917 h 10000"/>
              <a:gd name="connsiteX3" fmla="*/ 2682 w 7833"/>
              <a:gd name="connsiteY3" fmla="*/ 1944 h 10000"/>
              <a:gd name="connsiteX4" fmla="*/ 2719 w 7833"/>
              <a:gd name="connsiteY4" fmla="*/ 0 h 10000"/>
              <a:gd name="connsiteX5" fmla="*/ 7761 w 7833"/>
              <a:gd name="connsiteY5" fmla="*/ 0 h 10000"/>
              <a:gd name="connsiteX6" fmla="*/ 7797 w 7833"/>
              <a:gd name="connsiteY6" fmla="*/ 1944 h 10000"/>
              <a:gd name="connsiteX7" fmla="*/ 7797 w 7833"/>
              <a:gd name="connsiteY7" fmla="*/ 8056 h 10000"/>
              <a:gd name="connsiteX8" fmla="*/ 7833 w 7833"/>
              <a:gd name="connsiteY8" fmla="*/ 10000 h 10000"/>
              <a:gd name="connsiteX0" fmla="*/ 0 w 9954"/>
              <a:gd name="connsiteY0" fmla="*/ 9861 h 9861"/>
              <a:gd name="connsiteX1" fmla="*/ 3378 w 9954"/>
              <a:gd name="connsiteY1" fmla="*/ 9861 h 9861"/>
              <a:gd name="connsiteX2" fmla="*/ 3424 w 9954"/>
              <a:gd name="connsiteY2" fmla="*/ 7917 h 9861"/>
              <a:gd name="connsiteX3" fmla="*/ 3424 w 9954"/>
              <a:gd name="connsiteY3" fmla="*/ 1944 h 9861"/>
              <a:gd name="connsiteX4" fmla="*/ 3471 w 9954"/>
              <a:gd name="connsiteY4" fmla="*/ 0 h 9861"/>
              <a:gd name="connsiteX5" fmla="*/ 9908 w 9954"/>
              <a:gd name="connsiteY5" fmla="*/ 0 h 9861"/>
              <a:gd name="connsiteX6" fmla="*/ 9954 w 9954"/>
              <a:gd name="connsiteY6" fmla="*/ 1944 h 9861"/>
              <a:gd name="connsiteX7" fmla="*/ 9954 w 9954"/>
              <a:gd name="connsiteY7" fmla="*/ 8056 h 9861"/>
              <a:gd name="connsiteX0" fmla="*/ 0 w 10000"/>
              <a:gd name="connsiteY0" fmla="*/ 10000 h 10000"/>
              <a:gd name="connsiteX1" fmla="*/ 3394 w 10000"/>
              <a:gd name="connsiteY1" fmla="*/ 10000 h 10000"/>
              <a:gd name="connsiteX2" fmla="*/ 3440 w 10000"/>
              <a:gd name="connsiteY2" fmla="*/ 8029 h 10000"/>
              <a:gd name="connsiteX3" fmla="*/ 3440 w 10000"/>
              <a:gd name="connsiteY3" fmla="*/ 1971 h 10000"/>
              <a:gd name="connsiteX4" fmla="*/ 3487 w 10000"/>
              <a:gd name="connsiteY4" fmla="*/ 0 h 10000"/>
              <a:gd name="connsiteX5" fmla="*/ 9954 w 10000"/>
              <a:gd name="connsiteY5" fmla="*/ 0 h 10000"/>
              <a:gd name="connsiteX6" fmla="*/ 10000 w 10000"/>
              <a:gd name="connsiteY6" fmla="*/ 1971 h 10000"/>
              <a:gd name="connsiteX0" fmla="*/ 0 w 7965"/>
              <a:gd name="connsiteY0" fmla="*/ 9803 h 10000"/>
              <a:gd name="connsiteX1" fmla="*/ 1359 w 7965"/>
              <a:gd name="connsiteY1" fmla="*/ 10000 h 10000"/>
              <a:gd name="connsiteX2" fmla="*/ 1405 w 7965"/>
              <a:gd name="connsiteY2" fmla="*/ 8029 h 10000"/>
              <a:gd name="connsiteX3" fmla="*/ 1405 w 7965"/>
              <a:gd name="connsiteY3" fmla="*/ 1971 h 10000"/>
              <a:gd name="connsiteX4" fmla="*/ 1452 w 7965"/>
              <a:gd name="connsiteY4" fmla="*/ 0 h 10000"/>
              <a:gd name="connsiteX5" fmla="*/ 7919 w 7965"/>
              <a:gd name="connsiteY5" fmla="*/ 0 h 10000"/>
              <a:gd name="connsiteX6" fmla="*/ 7965 w 7965"/>
              <a:gd name="connsiteY6" fmla="*/ 1971 h 10000"/>
              <a:gd name="connsiteX0" fmla="*/ 0 w 10000"/>
              <a:gd name="connsiteY0" fmla="*/ 9803 h 10000"/>
              <a:gd name="connsiteX1" fmla="*/ 1706 w 10000"/>
              <a:gd name="connsiteY1" fmla="*/ 10000 h 10000"/>
              <a:gd name="connsiteX2" fmla="*/ 1764 w 10000"/>
              <a:gd name="connsiteY2" fmla="*/ 8029 h 10000"/>
              <a:gd name="connsiteX3" fmla="*/ 1764 w 10000"/>
              <a:gd name="connsiteY3" fmla="*/ 1971 h 10000"/>
              <a:gd name="connsiteX4" fmla="*/ 1823 w 10000"/>
              <a:gd name="connsiteY4" fmla="*/ 0 h 10000"/>
              <a:gd name="connsiteX5" fmla="*/ 9942 w 10000"/>
              <a:gd name="connsiteY5" fmla="*/ 0 h 10000"/>
              <a:gd name="connsiteX6" fmla="*/ 10000 w 10000"/>
              <a:gd name="connsiteY6" fmla="*/ 1971 h 10000"/>
              <a:gd name="connsiteX0" fmla="*/ 0 w 9295"/>
              <a:gd name="connsiteY0" fmla="*/ 9803 h 10000"/>
              <a:gd name="connsiteX1" fmla="*/ 1001 w 9295"/>
              <a:gd name="connsiteY1" fmla="*/ 10000 h 10000"/>
              <a:gd name="connsiteX2" fmla="*/ 1059 w 9295"/>
              <a:gd name="connsiteY2" fmla="*/ 8029 h 10000"/>
              <a:gd name="connsiteX3" fmla="*/ 1059 w 9295"/>
              <a:gd name="connsiteY3" fmla="*/ 1971 h 10000"/>
              <a:gd name="connsiteX4" fmla="*/ 1118 w 9295"/>
              <a:gd name="connsiteY4" fmla="*/ 0 h 10000"/>
              <a:gd name="connsiteX5" fmla="*/ 9237 w 9295"/>
              <a:gd name="connsiteY5" fmla="*/ 0 h 10000"/>
              <a:gd name="connsiteX6" fmla="*/ 9295 w 9295"/>
              <a:gd name="connsiteY6" fmla="*/ 1971 h 10000"/>
              <a:gd name="connsiteX0" fmla="*/ 0 w 10000"/>
              <a:gd name="connsiteY0" fmla="*/ 10246 h 10246"/>
              <a:gd name="connsiteX1" fmla="*/ 1077 w 10000"/>
              <a:gd name="connsiteY1" fmla="*/ 10000 h 10246"/>
              <a:gd name="connsiteX2" fmla="*/ 1139 w 10000"/>
              <a:gd name="connsiteY2" fmla="*/ 8029 h 10246"/>
              <a:gd name="connsiteX3" fmla="*/ 1139 w 10000"/>
              <a:gd name="connsiteY3" fmla="*/ 1971 h 10246"/>
              <a:gd name="connsiteX4" fmla="*/ 1203 w 10000"/>
              <a:gd name="connsiteY4" fmla="*/ 0 h 10246"/>
              <a:gd name="connsiteX5" fmla="*/ 9938 w 10000"/>
              <a:gd name="connsiteY5" fmla="*/ 0 h 10246"/>
              <a:gd name="connsiteX6" fmla="*/ 10000 w 10000"/>
              <a:gd name="connsiteY6" fmla="*/ 1971 h 10246"/>
              <a:gd name="connsiteX0" fmla="*/ 0 w 10000"/>
              <a:gd name="connsiteY0" fmla="*/ 9951 h 10000"/>
              <a:gd name="connsiteX1" fmla="*/ 1077 w 10000"/>
              <a:gd name="connsiteY1" fmla="*/ 10000 h 10000"/>
              <a:gd name="connsiteX2" fmla="*/ 1139 w 10000"/>
              <a:gd name="connsiteY2" fmla="*/ 8029 h 10000"/>
              <a:gd name="connsiteX3" fmla="*/ 1139 w 10000"/>
              <a:gd name="connsiteY3" fmla="*/ 1971 h 10000"/>
              <a:gd name="connsiteX4" fmla="*/ 1203 w 10000"/>
              <a:gd name="connsiteY4" fmla="*/ 0 h 10000"/>
              <a:gd name="connsiteX5" fmla="*/ 9938 w 10000"/>
              <a:gd name="connsiteY5" fmla="*/ 0 h 10000"/>
              <a:gd name="connsiteX6" fmla="*/ 10000 w 10000"/>
              <a:gd name="connsiteY6" fmla="*/ 1971 h 10000"/>
              <a:gd name="connsiteX0" fmla="*/ 0 w 10000"/>
              <a:gd name="connsiteY0" fmla="*/ 9951 h 10000"/>
              <a:gd name="connsiteX1" fmla="*/ 1077 w 10000"/>
              <a:gd name="connsiteY1" fmla="*/ 10000 h 10000"/>
              <a:gd name="connsiteX2" fmla="*/ 1139 w 10000"/>
              <a:gd name="connsiteY2" fmla="*/ 8029 h 10000"/>
              <a:gd name="connsiteX3" fmla="*/ 1139 w 10000"/>
              <a:gd name="connsiteY3" fmla="*/ 1971 h 10000"/>
              <a:gd name="connsiteX4" fmla="*/ 1203 w 10000"/>
              <a:gd name="connsiteY4" fmla="*/ 0 h 10000"/>
              <a:gd name="connsiteX5" fmla="*/ 10000 w 10000"/>
              <a:gd name="connsiteY5" fmla="*/ 1971 h 10000"/>
              <a:gd name="connsiteX0" fmla="*/ 0 w 8215"/>
              <a:gd name="connsiteY0" fmla="*/ 12209 h 12258"/>
              <a:gd name="connsiteX1" fmla="*/ 1077 w 8215"/>
              <a:gd name="connsiteY1" fmla="*/ 12258 h 12258"/>
              <a:gd name="connsiteX2" fmla="*/ 1139 w 8215"/>
              <a:gd name="connsiteY2" fmla="*/ 10287 h 12258"/>
              <a:gd name="connsiteX3" fmla="*/ 1139 w 8215"/>
              <a:gd name="connsiteY3" fmla="*/ 4229 h 12258"/>
              <a:gd name="connsiteX4" fmla="*/ 1203 w 8215"/>
              <a:gd name="connsiteY4" fmla="*/ 2258 h 12258"/>
              <a:gd name="connsiteX5" fmla="*/ 8215 w 8215"/>
              <a:gd name="connsiteY5" fmla="*/ 0 h 12258"/>
              <a:gd name="connsiteX0" fmla="*/ 0 w 10000"/>
              <a:gd name="connsiteY0" fmla="*/ 8195 h 8235"/>
              <a:gd name="connsiteX1" fmla="*/ 1311 w 10000"/>
              <a:gd name="connsiteY1" fmla="*/ 8235 h 8235"/>
              <a:gd name="connsiteX2" fmla="*/ 1386 w 10000"/>
              <a:gd name="connsiteY2" fmla="*/ 6627 h 8235"/>
              <a:gd name="connsiteX3" fmla="*/ 1386 w 10000"/>
              <a:gd name="connsiteY3" fmla="*/ 1685 h 8235"/>
              <a:gd name="connsiteX4" fmla="*/ 1464 w 10000"/>
              <a:gd name="connsiteY4" fmla="*/ 77 h 8235"/>
              <a:gd name="connsiteX5" fmla="*/ 10000 w 10000"/>
              <a:gd name="connsiteY5" fmla="*/ 0 h 8235"/>
              <a:gd name="connsiteX0" fmla="*/ 0 w 10000"/>
              <a:gd name="connsiteY0" fmla="*/ 9951 h 10000"/>
              <a:gd name="connsiteX1" fmla="*/ 1311 w 10000"/>
              <a:gd name="connsiteY1" fmla="*/ 10000 h 10000"/>
              <a:gd name="connsiteX2" fmla="*/ 1386 w 10000"/>
              <a:gd name="connsiteY2" fmla="*/ 8047 h 10000"/>
              <a:gd name="connsiteX3" fmla="*/ 1386 w 10000"/>
              <a:gd name="connsiteY3" fmla="*/ 2046 h 10000"/>
              <a:gd name="connsiteX4" fmla="*/ 1464 w 10000"/>
              <a:gd name="connsiteY4" fmla="*/ 94 h 10000"/>
              <a:gd name="connsiteX5" fmla="*/ 10000 w 10000"/>
              <a:gd name="connsiteY5" fmla="*/ 0 h 10000"/>
              <a:gd name="connsiteX0" fmla="*/ 0 w 9993"/>
              <a:gd name="connsiteY0" fmla="*/ 9857 h 9906"/>
              <a:gd name="connsiteX1" fmla="*/ 1311 w 9993"/>
              <a:gd name="connsiteY1" fmla="*/ 9906 h 9906"/>
              <a:gd name="connsiteX2" fmla="*/ 1386 w 9993"/>
              <a:gd name="connsiteY2" fmla="*/ 7953 h 9906"/>
              <a:gd name="connsiteX3" fmla="*/ 1386 w 9993"/>
              <a:gd name="connsiteY3" fmla="*/ 1952 h 9906"/>
              <a:gd name="connsiteX4" fmla="*/ 1464 w 9993"/>
              <a:gd name="connsiteY4" fmla="*/ 0 h 9906"/>
              <a:gd name="connsiteX5" fmla="*/ 9993 w 9993"/>
              <a:gd name="connsiteY5" fmla="*/ 101 h 9906"/>
              <a:gd name="connsiteX0" fmla="*/ 0 w 10007"/>
              <a:gd name="connsiteY0" fmla="*/ 10439 h 10488"/>
              <a:gd name="connsiteX1" fmla="*/ 1312 w 10007"/>
              <a:gd name="connsiteY1" fmla="*/ 10488 h 10488"/>
              <a:gd name="connsiteX2" fmla="*/ 1387 w 10007"/>
              <a:gd name="connsiteY2" fmla="*/ 8516 h 10488"/>
              <a:gd name="connsiteX3" fmla="*/ 1387 w 10007"/>
              <a:gd name="connsiteY3" fmla="*/ 2459 h 10488"/>
              <a:gd name="connsiteX4" fmla="*/ 1465 w 10007"/>
              <a:gd name="connsiteY4" fmla="*/ 488 h 10488"/>
              <a:gd name="connsiteX5" fmla="*/ 10007 w 10007"/>
              <a:gd name="connsiteY5" fmla="*/ 0 h 10488"/>
              <a:gd name="connsiteX0" fmla="*/ 0 w 10007"/>
              <a:gd name="connsiteY0" fmla="*/ 9951 h 10000"/>
              <a:gd name="connsiteX1" fmla="*/ 1312 w 10007"/>
              <a:gd name="connsiteY1" fmla="*/ 10000 h 10000"/>
              <a:gd name="connsiteX2" fmla="*/ 1387 w 10007"/>
              <a:gd name="connsiteY2" fmla="*/ 8028 h 10000"/>
              <a:gd name="connsiteX3" fmla="*/ 1387 w 10007"/>
              <a:gd name="connsiteY3" fmla="*/ 1971 h 10000"/>
              <a:gd name="connsiteX4" fmla="*/ 1465 w 10007"/>
              <a:gd name="connsiteY4" fmla="*/ 0 h 10000"/>
              <a:gd name="connsiteX5" fmla="*/ 10007 w 10007"/>
              <a:gd name="connsiteY5" fmla="*/ 496 h 10000"/>
              <a:gd name="connsiteX0" fmla="*/ 0 w 10007"/>
              <a:gd name="connsiteY0" fmla="*/ 9951 h 10000"/>
              <a:gd name="connsiteX1" fmla="*/ 1312 w 10007"/>
              <a:gd name="connsiteY1" fmla="*/ 10000 h 10000"/>
              <a:gd name="connsiteX2" fmla="*/ 1387 w 10007"/>
              <a:gd name="connsiteY2" fmla="*/ 8028 h 10000"/>
              <a:gd name="connsiteX3" fmla="*/ 1387 w 10007"/>
              <a:gd name="connsiteY3" fmla="*/ 1971 h 10000"/>
              <a:gd name="connsiteX4" fmla="*/ 1465 w 10007"/>
              <a:gd name="connsiteY4" fmla="*/ 0 h 10000"/>
              <a:gd name="connsiteX5" fmla="*/ 10007 w 10007"/>
              <a:gd name="connsiteY5" fmla="*/ 1480 h 10000"/>
              <a:gd name="connsiteX0" fmla="*/ 0 w 10007"/>
              <a:gd name="connsiteY0" fmla="*/ 9951 h 10000"/>
              <a:gd name="connsiteX1" fmla="*/ 1312 w 10007"/>
              <a:gd name="connsiteY1" fmla="*/ 10000 h 10000"/>
              <a:gd name="connsiteX2" fmla="*/ 1387 w 10007"/>
              <a:gd name="connsiteY2" fmla="*/ 8028 h 10000"/>
              <a:gd name="connsiteX3" fmla="*/ 1387 w 10007"/>
              <a:gd name="connsiteY3" fmla="*/ 1971 h 10000"/>
              <a:gd name="connsiteX4" fmla="*/ 1465 w 10007"/>
              <a:gd name="connsiteY4" fmla="*/ 0 h 10000"/>
              <a:gd name="connsiteX5" fmla="*/ 10007 w 10007"/>
              <a:gd name="connsiteY5" fmla="*/ 496 h 10000"/>
              <a:gd name="connsiteX0" fmla="*/ 0 w 10021"/>
              <a:gd name="connsiteY0" fmla="*/ 10045 h 10094"/>
              <a:gd name="connsiteX1" fmla="*/ 1312 w 10021"/>
              <a:gd name="connsiteY1" fmla="*/ 10094 h 10094"/>
              <a:gd name="connsiteX2" fmla="*/ 1387 w 10021"/>
              <a:gd name="connsiteY2" fmla="*/ 8122 h 10094"/>
              <a:gd name="connsiteX3" fmla="*/ 1387 w 10021"/>
              <a:gd name="connsiteY3" fmla="*/ 2065 h 10094"/>
              <a:gd name="connsiteX4" fmla="*/ 1465 w 10021"/>
              <a:gd name="connsiteY4" fmla="*/ 94 h 10094"/>
              <a:gd name="connsiteX5" fmla="*/ 10021 w 10021"/>
              <a:gd name="connsiteY5" fmla="*/ 0 h 10094"/>
              <a:gd name="connsiteX0" fmla="*/ 0 w 10021"/>
              <a:gd name="connsiteY0" fmla="*/ 10438 h 10487"/>
              <a:gd name="connsiteX1" fmla="*/ 1312 w 10021"/>
              <a:gd name="connsiteY1" fmla="*/ 10487 h 10487"/>
              <a:gd name="connsiteX2" fmla="*/ 1387 w 10021"/>
              <a:gd name="connsiteY2" fmla="*/ 8515 h 10487"/>
              <a:gd name="connsiteX3" fmla="*/ 1387 w 10021"/>
              <a:gd name="connsiteY3" fmla="*/ 2458 h 10487"/>
              <a:gd name="connsiteX4" fmla="*/ 1465 w 10021"/>
              <a:gd name="connsiteY4" fmla="*/ 487 h 10487"/>
              <a:gd name="connsiteX5" fmla="*/ 10021 w 10021"/>
              <a:gd name="connsiteY5" fmla="*/ 0 h 10487"/>
              <a:gd name="connsiteX0" fmla="*/ 0 w 10021"/>
              <a:gd name="connsiteY0" fmla="*/ 9951 h 10000"/>
              <a:gd name="connsiteX1" fmla="*/ 1312 w 10021"/>
              <a:gd name="connsiteY1" fmla="*/ 10000 h 10000"/>
              <a:gd name="connsiteX2" fmla="*/ 1387 w 10021"/>
              <a:gd name="connsiteY2" fmla="*/ 8028 h 10000"/>
              <a:gd name="connsiteX3" fmla="*/ 1387 w 10021"/>
              <a:gd name="connsiteY3" fmla="*/ 1971 h 10000"/>
              <a:gd name="connsiteX4" fmla="*/ 1465 w 10021"/>
              <a:gd name="connsiteY4" fmla="*/ 0 h 10000"/>
              <a:gd name="connsiteX5" fmla="*/ 10021 w 10021"/>
              <a:gd name="connsiteY5" fmla="*/ 300 h 10000"/>
              <a:gd name="connsiteX0" fmla="*/ 0 w 10021"/>
              <a:gd name="connsiteY0" fmla="*/ 10241 h 10290"/>
              <a:gd name="connsiteX1" fmla="*/ 1312 w 10021"/>
              <a:gd name="connsiteY1" fmla="*/ 10290 h 10290"/>
              <a:gd name="connsiteX2" fmla="*/ 1387 w 10021"/>
              <a:gd name="connsiteY2" fmla="*/ 8318 h 10290"/>
              <a:gd name="connsiteX3" fmla="*/ 1387 w 10021"/>
              <a:gd name="connsiteY3" fmla="*/ 2261 h 10290"/>
              <a:gd name="connsiteX4" fmla="*/ 1465 w 10021"/>
              <a:gd name="connsiteY4" fmla="*/ 290 h 10290"/>
              <a:gd name="connsiteX5" fmla="*/ 10021 w 10021"/>
              <a:gd name="connsiteY5" fmla="*/ 0 h 10290"/>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217"/>
              <a:gd name="connsiteX1" fmla="*/ 1312 w 10018"/>
              <a:gd name="connsiteY1" fmla="*/ 10217 h 10217"/>
              <a:gd name="connsiteX2" fmla="*/ 1387 w 10018"/>
              <a:gd name="connsiteY2" fmla="*/ 8097 h 10217"/>
              <a:gd name="connsiteX3" fmla="*/ 1387 w 10018"/>
              <a:gd name="connsiteY3" fmla="*/ 2040 h 10217"/>
              <a:gd name="connsiteX4" fmla="*/ 1465 w 10018"/>
              <a:gd name="connsiteY4" fmla="*/ 69 h 10217"/>
              <a:gd name="connsiteX5" fmla="*/ 10018 w 10018"/>
              <a:gd name="connsiteY5" fmla="*/ 0 h 10217"/>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12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12 w 10018"/>
              <a:gd name="connsiteY1" fmla="*/ 9921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309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69"/>
              <a:gd name="connsiteX1" fmla="*/ 1309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09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9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9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304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04 w 10018"/>
              <a:gd name="connsiteY1" fmla="*/ 9921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142"/>
              <a:gd name="connsiteX1" fmla="*/ 1304 w 10018"/>
              <a:gd name="connsiteY1" fmla="*/ 10142 h 10142"/>
              <a:gd name="connsiteX2" fmla="*/ 1387 w 10018"/>
              <a:gd name="connsiteY2" fmla="*/ 8097 h 10142"/>
              <a:gd name="connsiteX3" fmla="*/ 1387 w 10018"/>
              <a:gd name="connsiteY3" fmla="*/ 2040 h 10142"/>
              <a:gd name="connsiteX4" fmla="*/ 1465 w 10018"/>
              <a:gd name="connsiteY4" fmla="*/ 69 h 10142"/>
              <a:gd name="connsiteX5" fmla="*/ 10018 w 10018"/>
              <a:gd name="connsiteY5" fmla="*/ 0 h 10142"/>
              <a:gd name="connsiteX0" fmla="*/ 0 w 10018"/>
              <a:gd name="connsiteY0" fmla="*/ 10020 h 10142"/>
              <a:gd name="connsiteX1" fmla="*/ 1309 w 10018"/>
              <a:gd name="connsiteY1" fmla="*/ 10142 h 10142"/>
              <a:gd name="connsiteX2" fmla="*/ 1387 w 10018"/>
              <a:gd name="connsiteY2" fmla="*/ 8097 h 10142"/>
              <a:gd name="connsiteX3" fmla="*/ 1387 w 10018"/>
              <a:gd name="connsiteY3" fmla="*/ 2040 h 10142"/>
              <a:gd name="connsiteX4" fmla="*/ 1465 w 10018"/>
              <a:gd name="connsiteY4" fmla="*/ 69 h 10142"/>
              <a:gd name="connsiteX5" fmla="*/ 10018 w 10018"/>
              <a:gd name="connsiteY5" fmla="*/ 0 h 10142"/>
              <a:gd name="connsiteX0" fmla="*/ 0 w 10018"/>
              <a:gd name="connsiteY0" fmla="*/ 10020 h 10020"/>
              <a:gd name="connsiteX1" fmla="*/ 1309 w 10018"/>
              <a:gd name="connsiteY1" fmla="*/ 9921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298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290"/>
              <a:gd name="connsiteX1" fmla="*/ 1301 w 10018"/>
              <a:gd name="connsiteY1" fmla="*/ 10290 h 10290"/>
              <a:gd name="connsiteX2" fmla="*/ 1387 w 10018"/>
              <a:gd name="connsiteY2" fmla="*/ 8097 h 10290"/>
              <a:gd name="connsiteX3" fmla="*/ 1387 w 10018"/>
              <a:gd name="connsiteY3" fmla="*/ 2040 h 10290"/>
              <a:gd name="connsiteX4" fmla="*/ 1465 w 10018"/>
              <a:gd name="connsiteY4" fmla="*/ 69 h 10290"/>
              <a:gd name="connsiteX5" fmla="*/ 10018 w 10018"/>
              <a:gd name="connsiteY5" fmla="*/ 0 h 10290"/>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301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73"/>
              <a:gd name="connsiteX1" fmla="*/ 1301 w 10018"/>
              <a:gd name="connsiteY1" fmla="*/ 10069 h 10073"/>
              <a:gd name="connsiteX2" fmla="*/ 1387 w 10018"/>
              <a:gd name="connsiteY2" fmla="*/ 8097 h 10073"/>
              <a:gd name="connsiteX3" fmla="*/ 1387 w 10018"/>
              <a:gd name="connsiteY3" fmla="*/ 2040 h 10073"/>
              <a:gd name="connsiteX4" fmla="*/ 1465 w 10018"/>
              <a:gd name="connsiteY4" fmla="*/ 69 h 10073"/>
              <a:gd name="connsiteX5" fmla="*/ 10018 w 10018"/>
              <a:gd name="connsiteY5" fmla="*/ 0 h 10073"/>
              <a:gd name="connsiteX0" fmla="*/ 70 w 10088"/>
              <a:gd name="connsiteY0" fmla="*/ 10020 h 10069"/>
              <a:gd name="connsiteX1" fmla="*/ 1371 w 10088"/>
              <a:gd name="connsiteY1" fmla="*/ 10069 h 10069"/>
              <a:gd name="connsiteX2" fmla="*/ 1457 w 10088"/>
              <a:gd name="connsiteY2" fmla="*/ 8097 h 10069"/>
              <a:gd name="connsiteX3" fmla="*/ 1457 w 10088"/>
              <a:gd name="connsiteY3" fmla="*/ 2040 h 10069"/>
              <a:gd name="connsiteX4" fmla="*/ 1535 w 10088"/>
              <a:gd name="connsiteY4" fmla="*/ 69 h 10069"/>
              <a:gd name="connsiteX5" fmla="*/ 10088 w 10088"/>
              <a:gd name="connsiteY5" fmla="*/ 0 h 10069"/>
              <a:gd name="connsiteX0" fmla="*/ 46 w 10064"/>
              <a:gd name="connsiteY0" fmla="*/ 10020 h 10230"/>
              <a:gd name="connsiteX1" fmla="*/ 1347 w 10064"/>
              <a:gd name="connsiteY1" fmla="*/ 10069 h 10230"/>
              <a:gd name="connsiteX2" fmla="*/ 1433 w 10064"/>
              <a:gd name="connsiteY2" fmla="*/ 8097 h 10230"/>
              <a:gd name="connsiteX3" fmla="*/ 1433 w 10064"/>
              <a:gd name="connsiteY3" fmla="*/ 2040 h 10230"/>
              <a:gd name="connsiteX4" fmla="*/ 1511 w 10064"/>
              <a:gd name="connsiteY4" fmla="*/ 69 h 10230"/>
              <a:gd name="connsiteX5" fmla="*/ 10064 w 10064"/>
              <a:gd name="connsiteY5" fmla="*/ 0 h 10230"/>
              <a:gd name="connsiteX0" fmla="*/ 50 w 10068"/>
              <a:gd name="connsiteY0" fmla="*/ 10020 h 10133"/>
              <a:gd name="connsiteX1" fmla="*/ 1351 w 10068"/>
              <a:gd name="connsiteY1" fmla="*/ 10069 h 10133"/>
              <a:gd name="connsiteX2" fmla="*/ 1437 w 10068"/>
              <a:gd name="connsiteY2" fmla="*/ 8097 h 10133"/>
              <a:gd name="connsiteX3" fmla="*/ 1437 w 10068"/>
              <a:gd name="connsiteY3" fmla="*/ 2040 h 10133"/>
              <a:gd name="connsiteX4" fmla="*/ 1515 w 10068"/>
              <a:gd name="connsiteY4" fmla="*/ 69 h 10133"/>
              <a:gd name="connsiteX5" fmla="*/ 10068 w 10068"/>
              <a:gd name="connsiteY5" fmla="*/ 0 h 10133"/>
              <a:gd name="connsiteX0" fmla="*/ 0 w 10018"/>
              <a:gd name="connsiteY0" fmla="*/ 10020 h 10073"/>
              <a:gd name="connsiteX1" fmla="*/ 1301 w 10018"/>
              <a:gd name="connsiteY1" fmla="*/ 10069 h 10073"/>
              <a:gd name="connsiteX2" fmla="*/ 1387 w 10018"/>
              <a:gd name="connsiteY2" fmla="*/ 8097 h 10073"/>
              <a:gd name="connsiteX3" fmla="*/ 1387 w 10018"/>
              <a:gd name="connsiteY3" fmla="*/ 2040 h 10073"/>
              <a:gd name="connsiteX4" fmla="*/ 1465 w 10018"/>
              <a:gd name="connsiteY4" fmla="*/ 69 h 10073"/>
              <a:gd name="connsiteX5" fmla="*/ 10018 w 10018"/>
              <a:gd name="connsiteY5" fmla="*/ 0 h 10073"/>
              <a:gd name="connsiteX0" fmla="*/ 0 w 10018"/>
              <a:gd name="connsiteY0" fmla="*/ 10020 h 10073"/>
              <a:gd name="connsiteX1" fmla="*/ 1301 w 10018"/>
              <a:gd name="connsiteY1" fmla="*/ 10069 h 10073"/>
              <a:gd name="connsiteX2" fmla="*/ 1387 w 10018"/>
              <a:gd name="connsiteY2" fmla="*/ 8097 h 10073"/>
              <a:gd name="connsiteX3" fmla="*/ 1387 w 10018"/>
              <a:gd name="connsiteY3" fmla="*/ 2040 h 10073"/>
              <a:gd name="connsiteX4" fmla="*/ 1465 w 10018"/>
              <a:gd name="connsiteY4" fmla="*/ 69 h 10073"/>
              <a:gd name="connsiteX5" fmla="*/ 10018 w 10018"/>
              <a:gd name="connsiteY5" fmla="*/ 0 h 10073"/>
              <a:gd name="connsiteX0" fmla="*/ 3 w 10021"/>
              <a:gd name="connsiteY0" fmla="*/ 10020 h 10069"/>
              <a:gd name="connsiteX1" fmla="*/ 1304 w 10021"/>
              <a:gd name="connsiteY1" fmla="*/ 10069 h 10069"/>
              <a:gd name="connsiteX2" fmla="*/ 1390 w 10021"/>
              <a:gd name="connsiteY2" fmla="*/ 8097 h 10069"/>
              <a:gd name="connsiteX3" fmla="*/ 1390 w 10021"/>
              <a:gd name="connsiteY3" fmla="*/ 2040 h 10069"/>
              <a:gd name="connsiteX4" fmla="*/ 1468 w 10021"/>
              <a:gd name="connsiteY4" fmla="*/ 69 h 10069"/>
              <a:gd name="connsiteX5" fmla="*/ 10021 w 10021"/>
              <a:gd name="connsiteY5" fmla="*/ 0 h 10069"/>
              <a:gd name="connsiteX0" fmla="*/ 3 w 10021"/>
              <a:gd name="connsiteY0" fmla="*/ 10020 h 10217"/>
              <a:gd name="connsiteX1" fmla="*/ 1304 w 10021"/>
              <a:gd name="connsiteY1" fmla="*/ 10217 h 10217"/>
              <a:gd name="connsiteX2" fmla="*/ 1390 w 10021"/>
              <a:gd name="connsiteY2" fmla="*/ 8097 h 10217"/>
              <a:gd name="connsiteX3" fmla="*/ 1390 w 10021"/>
              <a:gd name="connsiteY3" fmla="*/ 2040 h 10217"/>
              <a:gd name="connsiteX4" fmla="*/ 1468 w 10021"/>
              <a:gd name="connsiteY4" fmla="*/ 69 h 10217"/>
              <a:gd name="connsiteX5" fmla="*/ 10021 w 10021"/>
              <a:gd name="connsiteY5" fmla="*/ 0 h 10217"/>
              <a:gd name="connsiteX0" fmla="*/ 3 w 10021"/>
              <a:gd name="connsiteY0" fmla="*/ 10020 h 10020"/>
              <a:gd name="connsiteX1" fmla="*/ 1304 w 10021"/>
              <a:gd name="connsiteY1" fmla="*/ 9996 h 10020"/>
              <a:gd name="connsiteX2" fmla="*/ 1390 w 10021"/>
              <a:gd name="connsiteY2" fmla="*/ 8097 h 10020"/>
              <a:gd name="connsiteX3" fmla="*/ 1390 w 10021"/>
              <a:gd name="connsiteY3" fmla="*/ 2040 h 10020"/>
              <a:gd name="connsiteX4" fmla="*/ 1468 w 10021"/>
              <a:gd name="connsiteY4" fmla="*/ 69 h 10020"/>
              <a:gd name="connsiteX5" fmla="*/ 10021 w 10021"/>
              <a:gd name="connsiteY5" fmla="*/ 0 h 10020"/>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4"/>
              <a:gd name="connsiteX1" fmla="*/ 1301 w 10018"/>
              <a:gd name="connsiteY1" fmla="*/ 9996 h 10064"/>
              <a:gd name="connsiteX2" fmla="*/ 1387 w 10018"/>
              <a:gd name="connsiteY2" fmla="*/ 8097 h 10064"/>
              <a:gd name="connsiteX3" fmla="*/ 1387 w 10018"/>
              <a:gd name="connsiteY3" fmla="*/ 2040 h 10064"/>
              <a:gd name="connsiteX4" fmla="*/ 1465 w 10018"/>
              <a:gd name="connsiteY4" fmla="*/ 69 h 10064"/>
              <a:gd name="connsiteX5" fmla="*/ 10018 w 10018"/>
              <a:gd name="connsiteY5" fmla="*/ 0 h 10064"/>
              <a:gd name="connsiteX0" fmla="*/ 0 w 10018"/>
              <a:gd name="connsiteY0" fmla="*/ 10020 h 10047"/>
              <a:gd name="connsiteX1" fmla="*/ 1301 w 10018"/>
              <a:gd name="connsiteY1" fmla="*/ 9996 h 10047"/>
              <a:gd name="connsiteX2" fmla="*/ 1387 w 10018"/>
              <a:gd name="connsiteY2" fmla="*/ 8097 h 10047"/>
              <a:gd name="connsiteX3" fmla="*/ 1387 w 10018"/>
              <a:gd name="connsiteY3" fmla="*/ 2040 h 10047"/>
              <a:gd name="connsiteX4" fmla="*/ 1465 w 10018"/>
              <a:gd name="connsiteY4" fmla="*/ 69 h 10047"/>
              <a:gd name="connsiteX5" fmla="*/ 10018 w 10018"/>
              <a:gd name="connsiteY5" fmla="*/ 0 h 10047"/>
              <a:gd name="connsiteX0" fmla="*/ 0 w 10018"/>
              <a:gd name="connsiteY0" fmla="*/ 10020 h 10047"/>
              <a:gd name="connsiteX1" fmla="*/ 1301 w 10018"/>
              <a:gd name="connsiteY1" fmla="*/ 9996 h 10047"/>
              <a:gd name="connsiteX2" fmla="*/ 1387 w 10018"/>
              <a:gd name="connsiteY2" fmla="*/ 8097 h 10047"/>
              <a:gd name="connsiteX3" fmla="*/ 1387 w 10018"/>
              <a:gd name="connsiteY3" fmla="*/ 2040 h 10047"/>
              <a:gd name="connsiteX4" fmla="*/ 1465 w 10018"/>
              <a:gd name="connsiteY4" fmla="*/ 69 h 10047"/>
              <a:gd name="connsiteX5" fmla="*/ 10018 w 10018"/>
              <a:gd name="connsiteY5" fmla="*/ 0 h 10047"/>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8"/>
              <a:gd name="connsiteX1" fmla="*/ 1301 w 10018"/>
              <a:gd name="connsiteY1" fmla="*/ 9996 h 10068"/>
              <a:gd name="connsiteX2" fmla="*/ 1387 w 10018"/>
              <a:gd name="connsiteY2" fmla="*/ 8097 h 10068"/>
              <a:gd name="connsiteX3" fmla="*/ 1387 w 10018"/>
              <a:gd name="connsiteY3" fmla="*/ 2040 h 10068"/>
              <a:gd name="connsiteX4" fmla="*/ 1465 w 10018"/>
              <a:gd name="connsiteY4" fmla="*/ 69 h 10068"/>
              <a:gd name="connsiteX5" fmla="*/ 10018 w 10018"/>
              <a:gd name="connsiteY5" fmla="*/ 0 h 10068"/>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8" h="10020">
                <a:moveTo>
                  <a:pt x="0" y="10020"/>
                </a:moveTo>
                <a:cubicBezTo>
                  <a:pt x="522" y="10020"/>
                  <a:pt x="1266" y="9996"/>
                  <a:pt x="1301" y="9996"/>
                </a:cubicBezTo>
                <a:cubicBezTo>
                  <a:pt x="1344" y="9996"/>
                  <a:pt x="1387" y="9224"/>
                  <a:pt x="1387" y="8097"/>
                </a:cubicBezTo>
                <a:lnTo>
                  <a:pt x="1387" y="2040"/>
                </a:lnTo>
                <a:cubicBezTo>
                  <a:pt x="1387" y="913"/>
                  <a:pt x="1424" y="69"/>
                  <a:pt x="1465" y="69"/>
                </a:cubicBezTo>
                <a:lnTo>
                  <a:pt x="10018" y="0"/>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 name="textruta 5"/>
          <p:cNvSpPr txBox="1"/>
          <p:nvPr/>
        </p:nvSpPr>
        <p:spPr>
          <a:xfrm>
            <a:off x="7103422" y="263482"/>
            <a:ext cx="1779654" cy="430887"/>
          </a:xfrm>
          <a:prstGeom prst="rect">
            <a:avLst/>
          </a:prstGeom>
          <a:noFill/>
        </p:spPr>
        <p:txBody>
          <a:bodyPr wrap="none" rtlCol="0">
            <a:spAutoFit/>
          </a:bodyPr>
          <a:lstStyle/>
          <a:p>
            <a:r>
              <a:rPr lang="sv-SE" sz="1100" b="1" dirty="0"/>
              <a:t>KTH ROYAL INSTITUTE</a:t>
            </a:r>
            <a:br>
              <a:rPr lang="sv-SE" sz="1100" b="1" dirty="0"/>
            </a:br>
            <a:r>
              <a:rPr lang="sv-SE" sz="1100" b="1" dirty="0"/>
              <a:t>OF</a:t>
            </a:r>
            <a:r>
              <a:rPr lang="sv-SE" sz="1100" b="1" baseline="0" dirty="0"/>
              <a:t> TECHNOLOGY</a:t>
            </a:r>
            <a:endParaRPr lang="sv-SE" sz="1100" b="1" dirty="0"/>
          </a:p>
        </p:txBody>
      </p:sp>
    </p:spTree>
    <p:extLst>
      <p:ext uri="{BB962C8B-B14F-4D97-AF65-F5344CB8AC3E}">
        <p14:creationId xmlns:p14="http://schemas.microsoft.com/office/powerpoint/2010/main" val="340716976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4" name="Rektangel 13"/>
          <p:cNvSpPr/>
          <p:nvPr/>
        </p:nvSpPr>
        <p:spPr bwMode="gray">
          <a:xfrm>
            <a:off x="0" y="3613150"/>
            <a:ext cx="9144000" cy="32448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Rubrik 1"/>
          <p:cNvSpPr>
            <a:spLocks noGrp="1"/>
          </p:cNvSpPr>
          <p:nvPr>
            <p:ph type="ctrTitle"/>
          </p:nvPr>
        </p:nvSpPr>
        <p:spPr bwMode="gray">
          <a:xfrm>
            <a:off x="1568185" y="1161181"/>
            <a:ext cx="6984337" cy="1043684"/>
          </a:xfrm>
        </p:spPr>
        <p:txBody>
          <a:bodyPr>
            <a:normAutofit/>
          </a:bodyPr>
          <a:lstStyle>
            <a:lvl1pPr algn="l">
              <a:lnSpc>
                <a:spcPts val="3800"/>
              </a:lnSpc>
              <a:defRPr sz="3600" b="1"/>
            </a:lvl1pPr>
          </a:lstStyle>
          <a:p>
            <a:r>
              <a:rPr lang="en-US"/>
              <a:t>Click to edit Master title style</a:t>
            </a:r>
            <a:endParaRPr lang="en-GB" dirty="0"/>
          </a:p>
        </p:txBody>
      </p:sp>
      <p:sp>
        <p:nvSpPr>
          <p:cNvPr id="3" name="Underrubrik 2"/>
          <p:cNvSpPr>
            <a:spLocks noGrp="1"/>
          </p:cNvSpPr>
          <p:nvPr>
            <p:ph type="subTitle" idx="1"/>
          </p:nvPr>
        </p:nvSpPr>
        <p:spPr bwMode="gray">
          <a:xfrm>
            <a:off x="1567963" y="2276872"/>
            <a:ext cx="6987075" cy="936104"/>
          </a:xfrm>
        </p:spPr>
        <p:txBody>
          <a:bodyPr>
            <a:normAutofit/>
          </a:bodyPr>
          <a:lstStyle>
            <a:lvl1pPr marL="0" indent="0" algn="l">
              <a:lnSpc>
                <a:spcPts val="2800"/>
              </a:lnSpc>
              <a:spcBef>
                <a:spcPts val="0"/>
              </a:spcBef>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dirty="0"/>
          </a:p>
        </p:txBody>
      </p:sp>
      <p:pic>
        <p:nvPicPr>
          <p:cNvPr id="1026" name="Picture 2" descr="http://intra.kth.se/polopoly_fs/1.383275!/image/KTH_pngs.pn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r="36469" b="7207"/>
          <a:stretch/>
        </p:blipFill>
        <p:spPr bwMode="gray">
          <a:xfrm>
            <a:off x="347663" y="344488"/>
            <a:ext cx="803938" cy="803275"/>
          </a:xfrm>
          <a:prstGeom prst="rect">
            <a:avLst/>
          </a:prstGeom>
          <a:noFill/>
          <a:extLst>
            <a:ext uri="{909E8E84-426E-40DD-AFC4-6F175D3DCCD1}">
              <a14:hiddenFill xmlns:a14="http://schemas.microsoft.com/office/drawing/2010/main">
                <a:solidFill>
                  <a:srgbClr val="FFFFFF"/>
                </a:solidFill>
              </a14:hiddenFill>
            </a:ext>
          </a:extLst>
        </p:spPr>
      </p:pic>
      <p:sp>
        <p:nvSpPr>
          <p:cNvPr id="8" name="Line 6"/>
          <p:cNvSpPr>
            <a:spLocks noChangeShapeType="1"/>
          </p:cNvSpPr>
          <p:nvPr/>
        </p:nvSpPr>
        <p:spPr bwMode="gray">
          <a:xfrm>
            <a:off x="-1375645" y="5596697"/>
            <a:ext cx="0" cy="0"/>
          </a:xfrm>
          <a:prstGeom prst="line">
            <a:avLst/>
          </a:prstGeom>
          <a:noFill/>
          <a:ln w="3"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 name="Freeform 7"/>
          <p:cNvSpPr>
            <a:spLocks/>
          </p:cNvSpPr>
          <p:nvPr/>
        </p:nvSpPr>
        <p:spPr bwMode="gray">
          <a:xfrm>
            <a:off x="-3236" y="4049403"/>
            <a:ext cx="9150869" cy="1215998"/>
          </a:xfrm>
          <a:custGeom>
            <a:avLst/>
            <a:gdLst>
              <a:gd name="T0" fmla="*/ 0 w 8479"/>
              <a:gd name="T1" fmla="*/ 356 h 535"/>
              <a:gd name="T2" fmla="*/ 597 w 8479"/>
              <a:gd name="T3" fmla="*/ 356 h 535"/>
              <a:gd name="T4" fmla="*/ 625 w 8479"/>
              <a:gd name="T5" fmla="*/ 328 h 535"/>
              <a:gd name="T6" fmla="*/ 625 w 8479"/>
              <a:gd name="T7" fmla="*/ 28 h 535"/>
              <a:gd name="T8" fmla="*/ 653 w 8479"/>
              <a:gd name="T9" fmla="*/ 0 h 535"/>
              <a:gd name="T10" fmla="*/ 954 w 8479"/>
              <a:gd name="T11" fmla="*/ 0 h 535"/>
              <a:gd name="T12" fmla="*/ 982 w 8479"/>
              <a:gd name="T13" fmla="*/ 28 h 535"/>
              <a:gd name="T14" fmla="*/ 982 w 8479"/>
              <a:gd name="T15" fmla="*/ 507 h 535"/>
              <a:gd name="T16" fmla="*/ 1010 w 8479"/>
              <a:gd name="T17" fmla="*/ 535 h 535"/>
              <a:gd name="T18" fmla="*/ 1545 w 8479"/>
              <a:gd name="T19" fmla="*/ 535 h 535"/>
              <a:gd name="T20" fmla="*/ 1573 w 8479"/>
              <a:gd name="T21" fmla="*/ 507 h 535"/>
              <a:gd name="T22" fmla="*/ 1573 w 8479"/>
              <a:gd name="T23" fmla="*/ 328 h 535"/>
              <a:gd name="T24" fmla="*/ 1601 w 8479"/>
              <a:gd name="T25" fmla="*/ 300 h 535"/>
              <a:gd name="T26" fmla="*/ 2497 w 8479"/>
              <a:gd name="T27" fmla="*/ 300 h 535"/>
              <a:gd name="T28" fmla="*/ 2524 w 8479"/>
              <a:gd name="T29" fmla="*/ 328 h 535"/>
              <a:gd name="T30" fmla="*/ 2524 w 8479"/>
              <a:gd name="T31" fmla="*/ 507 h 535"/>
              <a:gd name="T32" fmla="*/ 2552 w 8479"/>
              <a:gd name="T33" fmla="*/ 535 h 535"/>
              <a:gd name="T34" fmla="*/ 2797 w 8479"/>
              <a:gd name="T35" fmla="*/ 535 h 535"/>
              <a:gd name="T36" fmla="*/ 2825 w 8479"/>
              <a:gd name="T37" fmla="*/ 507 h 535"/>
              <a:gd name="T38" fmla="*/ 2825 w 8479"/>
              <a:gd name="T39" fmla="*/ 384 h 535"/>
              <a:gd name="T40" fmla="*/ 2852 w 8479"/>
              <a:gd name="T41" fmla="*/ 356 h 535"/>
              <a:gd name="T42" fmla="*/ 3153 w 8479"/>
              <a:gd name="T43" fmla="*/ 356 h 535"/>
              <a:gd name="T44" fmla="*/ 3181 w 8479"/>
              <a:gd name="T45" fmla="*/ 384 h 535"/>
              <a:gd name="T46" fmla="*/ 3181 w 8479"/>
              <a:gd name="T47" fmla="*/ 450 h 535"/>
              <a:gd name="T48" fmla="*/ 3209 w 8479"/>
              <a:gd name="T49" fmla="*/ 478 h 535"/>
              <a:gd name="T50" fmla="*/ 5290 w 8479"/>
              <a:gd name="T51" fmla="*/ 478 h 535"/>
              <a:gd name="T52" fmla="*/ 5317 w 8479"/>
              <a:gd name="T53" fmla="*/ 450 h 535"/>
              <a:gd name="T54" fmla="*/ 5317 w 8479"/>
              <a:gd name="T55" fmla="*/ 28 h 535"/>
              <a:gd name="T56" fmla="*/ 5345 w 8479"/>
              <a:gd name="T57" fmla="*/ 0 h 535"/>
              <a:gd name="T58" fmla="*/ 6031 w 8479"/>
              <a:gd name="T59" fmla="*/ 0 h 535"/>
              <a:gd name="T60" fmla="*/ 6059 w 8479"/>
              <a:gd name="T61" fmla="*/ 28 h 535"/>
              <a:gd name="T62" fmla="*/ 6059 w 8479"/>
              <a:gd name="T63" fmla="*/ 383 h 535"/>
              <a:gd name="T64" fmla="*/ 6087 w 8479"/>
              <a:gd name="T65" fmla="*/ 411 h 535"/>
              <a:gd name="T66" fmla="*/ 7130 w 8479"/>
              <a:gd name="T67" fmla="*/ 411 h 535"/>
              <a:gd name="T68" fmla="*/ 7158 w 8479"/>
              <a:gd name="T69" fmla="*/ 383 h 535"/>
              <a:gd name="T70" fmla="*/ 7158 w 8479"/>
              <a:gd name="T71" fmla="*/ 111 h 535"/>
              <a:gd name="T72" fmla="*/ 7186 w 8479"/>
              <a:gd name="T73" fmla="*/ 83 h 535"/>
              <a:gd name="T74" fmla="*/ 8479 w 8479"/>
              <a:gd name="T75" fmla="*/ 83 h 535"/>
              <a:gd name="connsiteX0" fmla="*/ 0 w 9296"/>
              <a:gd name="connsiteY0" fmla="*/ 6654 h 10000"/>
              <a:gd name="connsiteX1" fmla="*/ 33 w 9296"/>
              <a:gd name="connsiteY1" fmla="*/ 6131 h 10000"/>
              <a:gd name="connsiteX2" fmla="*/ 33 w 9296"/>
              <a:gd name="connsiteY2" fmla="*/ 523 h 10000"/>
              <a:gd name="connsiteX3" fmla="*/ 66 w 9296"/>
              <a:gd name="connsiteY3" fmla="*/ 0 h 10000"/>
              <a:gd name="connsiteX4" fmla="*/ 421 w 9296"/>
              <a:gd name="connsiteY4" fmla="*/ 0 h 10000"/>
              <a:gd name="connsiteX5" fmla="*/ 454 w 9296"/>
              <a:gd name="connsiteY5" fmla="*/ 523 h 10000"/>
              <a:gd name="connsiteX6" fmla="*/ 454 w 9296"/>
              <a:gd name="connsiteY6" fmla="*/ 9477 h 10000"/>
              <a:gd name="connsiteX7" fmla="*/ 487 w 9296"/>
              <a:gd name="connsiteY7" fmla="*/ 10000 h 10000"/>
              <a:gd name="connsiteX8" fmla="*/ 1118 w 9296"/>
              <a:gd name="connsiteY8" fmla="*/ 10000 h 10000"/>
              <a:gd name="connsiteX9" fmla="*/ 1151 w 9296"/>
              <a:gd name="connsiteY9" fmla="*/ 9477 h 10000"/>
              <a:gd name="connsiteX10" fmla="*/ 1151 w 9296"/>
              <a:gd name="connsiteY10" fmla="*/ 6131 h 10000"/>
              <a:gd name="connsiteX11" fmla="*/ 1184 w 9296"/>
              <a:gd name="connsiteY11" fmla="*/ 5607 h 10000"/>
              <a:gd name="connsiteX12" fmla="*/ 2241 w 9296"/>
              <a:gd name="connsiteY12" fmla="*/ 5607 h 10000"/>
              <a:gd name="connsiteX13" fmla="*/ 2273 w 9296"/>
              <a:gd name="connsiteY13" fmla="*/ 6131 h 10000"/>
              <a:gd name="connsiteX14" fmla="*/ 2273 w 9296"/>
              <a:gd name="connsiteY14" fmla="*/ 9477 h 10000"/>
              <a:gd name="connsiteX15" fmla="*/ 2306 w 9296"/>
              <a:gd name="connsiteY15" fmla="*/ 10000 h 10000"/>
              <a:gd name="connsiteX16" fmla="*/ 2595 w 9296"/>
              <a:gd name="connsiteY16" fmla="*/ 10000 h 10000"/>
              <a:gd name="connsiteX17" fmla="*/ 2628 w 9296"/>
              <a:gd name="connsiteY17" fmla="*/ 9477 h 10000"/>
              <a:gd name="connsiteX18" fmla="*/ 2628 w 9296"/>
              <a:gd name="connsiteY18" fmla="*/ 7178 h 10000"/>
              <a:gd name="connsiteX19" fmla="*/ 2660 w 9296"/>
              <a:gd name="connsiteY19" fmla="*/ 6654 h 10000"/>
              <a:gd name="connsiteX20" fmla="*/ 3015 w 9296"/>
              <a:gd name="connsiteY20" fmla="*/ 6654 h 10000"/>
              <a:gd name="connsiteX21" fmla="*/ 3048 w 9296"/>
              <a:gd name="connsiteY21" fmla="*/ 7178 h 10000"/>
              <a:gd name="connsiteX22" fmla="*/ 3048 w 9296"/>
              <a:gd name="connsiteY22" fmla="*/ 8411 h 10000"/>
              <a:gd name="connsiteX23" fmla="*/ 3081 w 9296"/>
              <a:gd name="connsiteY23" fmla="*/ 8935 h 10000"/>
              <a:gd name="connsiteX24" fmla="*/ 5535 w 9296"/>
              <a:gd name="connsiteY24" fmla="*/ 8935 h 10000"/>
              <a:gd name="connsiteX25" fmla="*/ 5567 w 9296"/>
              <a:gd name="connsiteY25" fmla="*/ 8411 h 10000"/>
              <a:gd name="connsiteX26" fmla="*/ 5567 w 9296"/>
              <a:gd name="connsiteY26" fmla="*/ 523 h 10000"/>
              <a:gd name="connsiteX27" fmla="*/ 5600 w 9296"/>
              <a:gd name="connsiteY27" fmla="*/ 0 h 10000"/>
              <a:gd name="connsiteX28" fmla="*/ 6409 w 9296"/>
              <a:gd name="connsiteY28" fmla="*/ 0 h 10000"/>
              <a:gd name="connsiteX29" fmla="*/ 6442 w 9296"/>
              <a:gd name="connsiteY29" fmla="*/ 523 h 10000"/>
              <a:gd name="connsiteX30" fmla="*/ 6442 w 9296"/>
              <a:gd name="connsiteY30" fmla="*/ 7159 h 10000"/>
              <a:gd name="connsiteX31" fmla="*/ 6475 w 9296"/>
              <a:gd name="connsiteY31" fmla="*/ 7682 h 10000"/>
              <a:gd name="connsiteX32" fmla="*/ 7705 w 9296"/>
              <a:gd name="connsiteY32" fmla="*/ 7682 h 10000"/>
              <a:gd name="connsiteX33" fmla="*/ 7738 w 9296"/>
              <a:gd name="connsiteY33" fmla="*/ 7159 h 10000"/>
              <a:gd name="connsiteX34" fmla="*/ 7738 w 9296"/>
              <a:gd name="connsiteY34" fmla="*/ 2075 h 10000"/>
              <a:gd name="connsiteX35" fmla="*/ 7771 w 9296"/>
              <a:gd name="connsiteY35" fmla="*/ 1551 h 10000"/>
              <a:gd name="connsiteX36" fmla="*/ 9296 w 9296"/>
              <a:gd name="connsiteY36" fmla="*/ 1551 h 10000"/>
              <a:gd name="connsiteX0" fmla="*/ 0 w 9965"/>
              <a:gd name="connsiteY0" fmla="*/ 6131 h 10000"/>
              <a:gd name="connsiteX1" fmla="*/ 0 w 9965"/>
              <a:gd name="connsiteY1" fmla="*/ 523 h 10000"/>
              <a:gd name="connsiteX2" fmla="*/ 36 w 9965"/>
              <a:gd name="connsiteY2" fmla="*/ 0 h 10000"/>
              <a:gd name="connsiteX3" fmla="*/ 418 w 9965"/>
              <a:gd name="connsiteY3" fmla="*/ 0 h 10000"/>
              <a:gd name="connsiteX4" fmla="*/ 453 w 9965"/>
              <a:gd name="connsiteY4" fmla="*/ 523 h 10000"/>
              <a:gd name="connsiteX5" fmla="*/ 453 w 9965"/>
              <a:gd name="connsiteY5" fmla="*/ 9477 h 10000"/>
              <a:gd name="connsiteX6" fmla="*/ 489 w 9965"/>
              <a:gd name="connsiteY6" fmla="*/ 10000 h 10000"/>
              <a:gd name="connsiteX7" fmla="*/ 1168 w 9965"/>
              <a:gd name="connsiteY7" fmla="*/ 10000 h 10000"/>
              <a:gd name="connsiteX8" fmla="*/ 1203 w 9965"/>
              <a:gd name="connsiteY8" fmla="*/ 9477 h 10000"/>
              <a:gd name="connsiteX9" fmla="*/ 1203 w 9965"/>
              <a:gd name="connsiteY9" fmla="*/ 6131 h 10000"/>
              <a:gd name="connsiteX10" fmla="*/ 1239 w 9965"/>
              <a:gd name="connsiteY10" fmla="*/ 5607 h 10000"/>
              <a:gd name="connsiteX11" fmla="*/ 2376 w 9965"/>
              <a:gd name="connsiteY11" fmla="*/ 5607 h 10000"/>
              <a:gd name="connsiteX12" fmla="*/ 2410 w 9965"/>
              <a:gd name="connsiteY12" fmla="*/ 6131 h 10000"/>
              <a:gd name="connsiteX13" fmla="*/ 2410 w 9965"/>
              <a:gd name="connsiteY13" fmla="*/ 9477 h 10000"/>
              <a:gd name="connsiteX14" fmla="*/ 2446 w 9965"/>
              <a:gd name="connsiteY14" fmla="*/ 10000 h 10000"/>
              <a:gd name="connsiteX15" fmla="*/ 2757 w 9965"/>
              <a:gd name="connsiteY15" fmla="*/ 10000 h 10000"/>
              <a:gd name="connsiteX16" fmla="*/ 2792 w 9965"/>
              <a:gd name="connsiteY16" fmla="*/ 9477 h 10000"/>
              <a:gd name="connsiteX17" fmla="*/ 2792 w 9965"/>
              <a:gd name="connsiteY17" fmla="*/ 7178 h 10000"/>
              <a:gd name="connsiteX18" fmla="*/ 2826 w 9965"/>
              <a:gd name="connsiteY18" fmla="*/ 6654 h 10000"/>
              <a:gd name="connsiteX19" fmla="*/ 3208 w 9965"/>
              <a:gd name="connsiteY19" fmla="*/ 6654 h 10000"/>
              <a:gd name="connsiteX20" fmla="*/ 3244 w 9965"/>
              <a:gd name="connsiteY20" fmla="*/ 7178 h 10000"/>
              <a:gd name="connsiteX21" fmla="*/ 3244 w 9965"/>
              <a:gd name="connsiteY21" fmla="*/ 8411 h 10000"/>
              <a:gd name="connsiteX22" fmla="*/ 3279 w 9965"/>
              <a:gd name="connsiteY22" fmla="*/ 8935 h 10000"/>
              <a:gd name="connsiteX23" fmla="*/ 5919 w 9965"/>
              <a:gd name="connsiteY23" fmla="*/ 8935 h 10000"/>
              <a:gd name="connsiteX24" fmla="*/ 5954 w 9965"/>
              <a:gd name="connsiteY24" fmla="*/ 8411 h 10000"/>
              <a:gd name="connsiteX25" fmla="*/ 5954 w 9965"/>
              <a:gd name="connsiteY25" fmla="*/ 523 h 10000"/>
              <a:gd name="connsiteX26" fmla="*/ 5989 w 9965"/>
              <a:gd name="connsiteY26" fmla="*/ 0 h 10000"/>
              <a:gd name="connsiteX27" fmla="*/ 6859 w 9965"/>
              <a:gd name="connsiteY27" fmla="*/ 0 h 10000"/>
              <a:gd name="connsiteX28" fmla="*/ 6895 w 9965"/>
              <a:gd name="connsiteY28" fmla="*/ 523 h 10000"/>
              <a:gd name="connsiteX29" fmla="*/ 6895 w 9965"/>
              <a:gd name="connsiteY29" fmla="*/ 7159 h 10000"/>
              <a:gd name="connsiteX30" fmla="*/ 6930 w 9965"/>
              <a:gd name="connsiteY30" fmla="*/ 7682 h 10000"/>
              <a:gd name="connsiteX31" fmla="*/ 8254 w 9965"/>
              <a:gd name="connsiteY31" fmla="*/ 7682 h 10000"/>
              <a:gd name="connsiteX32" fmla="*/ 8289 w 9965"/>
              <a:gd name="connsiteY32" fmla="*/ 7159 h 10000"/>
              <a:gd name="connsiteX33" fmla="*/ 8289 w 9965"/>
              <a:gd name="connsiteY33" fmla="*/ 2075 h 10000"/>
              <a:gd name="connsiteX34" fmla="*/ 8325 w 9965"/>
              <a:gd name="connsiteY34" fmla="*/ 1551 h 10000"/>
              <a:gd name="connsiteX35" fmla="*/ 9965 w 9965"/>
              <a:gd name="connsiteY35" fmla="*/ 1551 h 10000"/>
              <a:gd name="connsiteX0" fmla="*/ 0 w 10000"/>
              <a:gd name="connsiteY0" fmla="*/ 523 h 10000"/>
              <a:gd name="connsiteX1" fmla="*/ 36 w 10000"/>
              <a:gd name="connsiteY1" fmla="*/ 0 h 10000"/>
              <a:gd name="connsiteX2" fmla="*/ 419 w 10000"/>
              <a:gd name="connsiteY2" fmla="*/ 0 h 10000"/>
              <a:gd name="connsiteX3" fmla="*/ 455 w 10000"/>
              <a:gd name="connsiteY3" fmla="*/ 523 h 10000"/>
              <a:gd name="connsiteX4" fmla="*/ 455 w 10000"/>
              <a:gd name="connsiteY4" fmla="*/ 9477 h 10000"/>
              <a:gd name="connsiteX5" fmla="*/ 491 w 10000"/>
              <a:gd name="connsiteY5" fmla="*/ 10000 h 10000"/>
              <a:gd name="connsiteX6" fmla="*/ 1172 w 10000"/>
              <a:gd name="connsiteY6" fmla="*/ 10000 h 10000"/>
              <a:gd name="connsiteX7" fmla="*/ 1207 w 10000"/>
              <a:gd name="connsiteY7" fmla="*/ 9477 h 10000"/>
              <a:gd name="connsiteX8" fmla="*/ 1207 w 10000"/>
              <a:gd name="connsiteY8" fmla="*/ 6131 h 10000"/>
              <a:gd name="connsiteX9" fmla="*/ 1243 w 10000"/>
              <a:gd name="connsiteY9" fmla="*/ 5607 h 10000"/>
              <a:gd name="connsiteX10" fmla="*/ 2384 w 10000"/>
              <a:gd name="connsiteY10" fmla="*/ 5607 h 10000"/>
              <a:gd name="connsiteX11" fmla="*/ 2418 w 10000"/>
              <a:gd name="connsiteY11" fmla="*/ 6131 h 10000"/>
              <a:gd name="connsiteX12" fmla="*/ 2418 w 10000"/>
              <a:gd name="connsiteY12" fmla="*/ 9477 h 10000"/>
              <a:gd name="connsiteX13" fmla="*/ 2455 w 10000"/>
              <a:gd name="connsiteY13" fmla="*/ 10000 h 10000"/>
              <a:gd name="connsiteX14" fmla="*/ 2767 w 10000"/>
              <a:gd name="connsiteY14" fmla="*/ 10000 h 10000"/>
              <a:gd name="connsiteX15" fmla="*/ 2802 w 10000"/>
              <a:gd name="connsiteY15" fmla="*/ 9477 h 10000"/>
              <a:gd name="connsiteX16" fmla="*/ 2802 w 10000"/>
              <a:gd name="connsiteY16" fmla="*/ 7178 h 10000"/>
              <a:gd name="connsiteX17" fmla="*/ 2836 w 10000"/>
              <a:gd name="connsiteY17" fmla="*/ 6654 h 10000"/>
              <a:gd name="connsiteX18" fmla="*/ 3219 w 10000"/>
              <a:gd name="connsiteY18" fmla="*/ 6654 h 10000"/>
              <a:gd name="connsiteX19" fmla="*/ 3255 w 10000"/>
              <a:gd name="connsiteY19" fmla="*/ 7178 h 10000"/>
              <a:gd name="connsiteX20" fmla="*/ 3255 w 10000"/>
              <a:gd name="connsiteY20" fmla="*/ 8411 h 10000"/>
              <a:gd name="connsiteX21" fmla="*/ 3291 w 10000"/>
              <a:gd name="connsiteY21" fmla="*/ 8935 h 10000"/>
              <a:gd name="connsiteX22" fmla="*/ 5940 w 10000"/>
              <a:gd name="connsiteY22" fmla="*/ 8935 h 10000"/>
              <a:gd name="connsiteX23" fmla="*/ 5975 w 10000"/>
              <a:gd name="connsiteY23" fmla="*/ 8411 h 10000"/>
              <a:gd name="connsiteX24" fmla="*/ 5975 w 10000"/>
              <a:gd name="connsiteY24" fmla="*/ 523 h 10000"/>
              <a:gd name="connsiteX25" fmla="*/ 6010 w 10000"/>
              <a:gd name="connsiteY25" fmla="*/ 0 h 10000"/>
              <a:gd name="connsiteX26" fmla="*/ 6883 w 10000"/>
              <a:gd name="connsiteY26" fmla="*/ 0 h 10000"/>
              <a:gd name="connsiteX27" fmla="*/ 6919 w 10000"/>
              <a:gd name="connsiteY27" fmla="*/ 523 h 10000"/>
              <a:gd name="connsiteX28" fmla="*/ 6919 w 10000"/>
              <a:gd name="connsiteY28" fmla="*/ 7159 h 10000"/>
              <a:gd name="connsiteX29" fmla="*/ 6954 w 10000"/>
              <a:gd name="connsiteY29" fmla="*/ 7682 h 10000"/>
              <a:gd name="connsiteX30" fmla="*/ 8283 w 10000"/>
              <a:gd name="connsiteY30" fmla="*/ 7682 h 10000"/>
              <a:gd name="connsiteX31" fmla="*/ 8318 w 10000"/>
              <a:gd name="connsiteY31" fmla="*/ 7159 h 10000"/>
              <a:gd name="connsiteX32" fmla="*/ 8318 w 10000"/>
              <a:gd name="connsiteY32" fmla="*/ 2075 h 10000"/>
              <a:gd name="connsiteX33" fmla="*/ 8354 w 10000"/>
              <a:gd name="connsiteY33" fmla="*/ 1551 h 10000"/>
              <a:gd name="connsiteX34" fmla="*/ 10000 w 10000"/>
              <a:gd name="connsiteY34" fmla="*/ 1551 h 10000"/>
              <a:gd name="connsiteX0" fmla="*/ 0 w 9964"/>
              <a:gd name="connsiteY0" fmla="*/ 0 h 10000"/>
              <a:gd name="connsiteX1" fmla="*/ 383 w 9964"/>
              <a:gd name="connsiteY1" fmla="*/ 0 h 10000"/>
              <a:gd name="connsiteX2" fmla="*/ 419 w 9964"/>
              <a:gd name="connsiteY2" fmla="*/ 523 h 10000"/>
              <a:gd name="connsiteX3" fmla="*/ 419 w 9964"/>
              <a:gd name="connsiteY3" fmla="*/ 9477 h 10000"/>
              <a:gd name="connsiteX4" fmla="*/ 455 w 9964"/>
              <a:gd name="connsiteY4" fmla="*/ 10000 h 10000"/>
              <a:gd name="connsiteX5" fmla="*/ 1136 w 9964"/>
              <a:gd name="connsiteY5" fmla="*/ 10000 h 10000"/>
              <a:gd name="connsiteX6" fmla="*/ 1171 w 9964"/>
              <a:gd name="connsiteY6" fmla="*/ 9477 h 10000"/>
              <a:gd name="connsiteX7" fmla="*/ 1171 w 9964"/>
              <a:gd name="connsiteY7" fmla="*/ 6131 h 10000"/>
              <a:gd name="connsiteX8" fmla="*/ 1207 w 9964"/>
              <a:gd name="connsiteY8" fmla="*/ 5607 h 10000"/>
              <a:gd name="connsiteX9" fmla="*/ 2348 w 9964"/>
              <a:gd name="connsiteY9" fmla="*/ 5607 h 10000"/>
              <a:gd name="connsiteX10" fmla="*/ 2382 w 9964"/>
              <a:gd name="connsiteY10" fmla="*/ 6131 h 10000"/>
              <a:gd name="connsiteX11" fmla="*/ 2382 w 9964"/>
              <a:gd name="connsiteY11" fmla="*/ 9477 h 10000"/>
              <a:gd name="connsiteX12" fmla="*/ 2419 w 9964"/>
              <a:gd name="connsiteY12" fmla="*/ 10000 h 10000"/>
              <a:gd name="connsiteX13" fmla="*/ 2731 w 9964"/>
              <a:gd name="connsiteY13" fmla="*/ 10000 h 10000"/>
              <a:gd name="connsiteX14" fmla="*/ 2766 w 9964"/>
              <a:gd name="connsiteY14" fmla="*/ 9477 h 10000"/>
              <a:gd name="connsiteX15" fmla="*/ 2766 w 9964"/>
              <a:gd name="connsiteY15" fmla="*/ 7178 h 10000"/>
              <a:gd name="connsiteX16" fmla="*/ 2800 w 9964"/>
              <a:gd name="connsiteY16" fmla="*/ 6654 h 10000"/>
              <a:gd name="connsiteX17" fmla="*/ 3183 w 9964"/>
              <a:gd name="connsiteY17" fmla="*/ 6654 h 10000"/>
              <a:gd name="connsiteX18" fmla="*/ 3219 w 9964"/>
              <a:gd name="connsiteY18" fmla="*/ 7178 h 10000"/>
              <a:gd name="connsiteX19" fmla="*/ 3219 w 9964"/>
              <a:gd name="connsiteY19" fmla="*/ 8411 h 10000"/>
              <a:gd name="connsiteX20" fmla="*/ 3255 w 9964"/>
              <a:gd name="connsiteY20" fmla="*/ 8935 h 10000"/>
              <a:gd name="connsiteX21" fmla="*/ 5904 w 9964"/>
              <a:gd name="connsiteY21" fmla="*/ 8935 h 10000"/>
              <a:gd name="connsiteX22" fmla="*/ 5939 w 9964"/>
              <a:gd name="connsiteY22" fmla="*/ 8411 h 10000"/>
              <a:gd name="connsiteX23" fmla="*/ 5939 w 9964"/>
              <a:gd name="connsiteY23" fmla="*/ 523 h 10000"/>
              <a:gd name="connsiteX24" fmla="*/ 5974 w 9964"/>
              <a:gd name="connsiteY24" fmla="*/ 0 h 10000"/>
              <a:gd name="connsiteX25" fmla="*/ 6847 w 9964"/>
              <a:gd name="connsiteY25" fmla="*/ 0 h 10000"/>
              <a:gd name="connsiteX26" fmla="*/ 6883 w 9964"/>
              <a:gd name="connsiteY26" fmla="*/ 523 h 10000"/>
              <a:gd name="connsiteX27" fmla="*/ 6883 w 9964"/>
              <a:gd name="connsiteY27" fmla="*/ 7159 h 10000"/>
              <a:gd name="connsiteX28" fmla="*/ 6918 w 9964"/>
              <a:gd name="connsiteY28" fmla="*/ 7682 h 10000"/>
              <a:gd name="connsiteX29" fmla="*/ 8247 w 9964"/>
              <a:gd name="connsiteY29" fmla="*/ 7682 h 10000"/>
              <a:gd name="connsiteX30" fmla="*/ 8282 w 9964"/>
              <a:gd name="connsiteY30" fmla="*/ 7159 h 10000"/>
              <a:gd name="connsiteX31" fmla="*/ 8282 w 9964"/>
              <a:gd name="connsiteY31" fmla="*/ 2075 h 10000"/>
              <a:gd name="connsiteX32" fmla="*/ 8318 w 9964"/>
              <a:gd name="connsiteY32" fmla="*/ 1551 h 10000"/>
              <a:gd name="connsiteX33" fmla="*/ 9964 w 9964"/>
              <a:gd name="connsiteY33" fmla="*/ 1551 h 10000"/>
              <a:gd name="connsiteX0" fmla="*/ 0 w 9616"/>
              <a:gd name="connsiteY0" fmla="*/ 0 h 10000"/>
              <a:gd name="connsiteX1" fmla="*/ 37 w 9616"/>
              <a:gd name="connsiteY1" fmla="*/ 523 h 10000"/>
              <a:gd name="connsiteX2" fmla="*/ 37 w 9616"/>
              <a:gd name="connsiteY2" fmla="*/ 9477 h 10000"/>
              <a:gd name="connsiteX3" fmla="*/ 73 w 9616"/>
              <a:gd name="connsiteY3" fmla="*/ 10000 h 10000"/>
              <a:gd name="connsiteX4" fmla="*/ 756 w 9616"/>
              <a:gd name="connsiteY4" fmla="*/ 10000 h 10000"/>
              <a:gd name="connsiteX5" fmla="*/ 791 w 9616"/>
              <a:gd name="connsiteY5" fmla="*/ 9477 h 10000"/>
              <a:gd name="connsiteX6" fmla="*/ 791 w 9616"/>
              <a:gd name="connsiteY6" fmla="*/ 6131 h 10000"/>
              <a:gd name="connsiteX7" fmla="*/ 827 w 9616"/>
              <a:gd name="connsiteY7" fmla="*/ 5607 h 10000"/>
              <a:gd name="connsiteX8" fmla="*/ 1972 w 9616"/>
              <a:gd name="connsiteY8" fmla="*/ 5607 h 10000"/>
              <a:gd name="connsiteX9" fmla="*/ 2007 w 9616"/>
              <a:gd name="connsiteY9" fmla="*/ 6131 h 10000"/>
              <a:gd name="connsiteX10" fmla="*/ 2007 w 9616"/>
              <a:gd name="connsiteY10" fmla="*/ 9477 h 10000"/>
              <a:gd name="connsiteX11" fmla="*/ 2044 w 9616"/>
              <a:gd name="connsiteY11" fmla="*/ 10000 h 10000"/>
              <a:gd name="connsiteX12" fmla="*/ 2357 w 9616"/>
              <a:gd name="connsiteY12" fmla="*/ 10000 h 10000"/>
              <a:gd name="connsiteX13" fmla="*/ 2392 w 9616"/>
              <a:gd name="connsiteY13" fmla="*/ 9477 h 10000"/>
              <a:gd name="connsiteX14" fmla="*/ 2392 w 9616"/>
              <a:gd name="connsiteY14" fmla="*/ 7178 h 10000"/>
              <a:gd name="connsiteX15" fmla="*/ 2426 w 9616"/>
              <a:gd name="connsiteY15" fmla="*/ 6654 h 10000"/>
              <a:gd name="connsiteX16" fmla="*/ 2811 w 9616"/>
              <a:gd name="connsiteY16" fmla="*/ 6654 h 10000"/>
              <a:gd name="connsiteX17" fmla="*/ 2847 w 9616"/>
              <a:gd name="connsiteY17" fmla="*/ 7178 h 10000"/>
              <a:gd name="connsiteX18" fmla="*/ 2847 w 9616"/>
              <a:gd name="connsiteY18" fmla="*/ 8411 h 10000"/>
              <a:gd name="connsiteX19" fmla="*/ 2883 w 9616"/>
              <a:gd name="connsiteY19" fmla="*/ 8935 h 10000"/>
              <a:gd name="connsiteX20" fmla="*/ 5541 w 9616"/>
              <a:gd name="connsiteY20" fmla="*/ 8935 h 10000"/>
              <a:gd name="connsiteX21" fmla="*/ 5576 w 9616"/>
              <a:gd name="connsiteY21" fmla="*/ 8411 h 10000"/>
              <a:gd name="connsiteX22" fmla="*/ 5576 w 9616"/>
              <a:gd name="connsiteY22" fmla="*/ 523 h 10000"/>
              <a:gd name="connsiteX23" fmla="*/ 5612 w 9616"/>
              <a:gd name="connsiteY23" fmla="*/ 0 h 10000"/>
              <a:gd name="connsiteX24" fmla="*/ 6488 w 9616"/>
              <a:gd name="connsiteY24" fmla="*/ 0 h 10000"/>
              <a:gd name="connsiteX25" fmla="*/ 6524 w 9616"/>
              <a:gd name="connsiteY25" fmla="*/ 523 h 10000"/>
              <a:gd name="connsiteX26" fmla="*/ 6524 w 9616"/>
              <a:gd name="connsiteY26" fmla="*/ 7159 h 10000"/>
              <a:gd name="connsiteX27" fmla="*/ 6559 w 9616"/>
              <a:gd name="connsiteY27" fmla="*/ 7682 h 10000"/>
              <a:gd name="connsiteX28" fmla="*/ 7893 w 9616"/>
              <a:gd name="connsiteY28" fmla="*/ 7682 h 10000"/>
              <a:gd name="connsiteX29" fmla="*/ 7928 w 9616"/>
              <a:gd name="connsiteY29" fmla="*/ 7159 h 10000"/>
              <a:gd name="connsiteX30" fmla="*/ 7928 w 9616"/>
              <a:gd name="connsiteY30" fmla="*/ 2075 h 10000"/>
              <a:gd name="connsiteX31" fmla="*/ 7964 w 9616"/>
              <a:gd name="connsiteY31" fmla="*/ 1551 h 10000"/>
              <a:gd name="connsiteX32" fmla="*/ 9616 w 9616"/>
              <a:gd name="connsiteY32" fmla="*/ 1551 h 10000"/>
              <a:gd name="connsiteX0" fmla="*/ 0 w 9962"/>
              <a:gd name="connsiteY0" fmla="*/ 523 h 10000"/>
              <a:gd name="connsiteX1" fmla="*/ 0 w 9962"/>
              <a:gd name="connsiteY1" fmla="*/ 9477 h 10000"/>
              <a:gd name="connsiteX2" fmla="*/ 38 w 9962"/>
              <a:gd name="connsiteY2" fmla="*/ 10000 h 10000"/>
              <a:gd name="connsiteX3" fmla="*/ 748 w 9962"/>
              <a:gd name="connsiteY3" fmla="*/ 10000 h 10000"/>
              <a:gd name="connsiteX4" fmla="*/ 785 w 9962"/>
              <a:gd name="connsiteY4" fmla="*/ 9477 h 10000"/>
              <a:gd name="connsiteX5" fmla="*/ 785 w 9962"/>
              <a:gd name="connsiteY5" fmla="*/ 6131 h 10000"/>
              <a:gd name="connsiteX6" fmla="*/ 822 w 9962"/>
              <a:gd name="connsiteY6" fmla="*/ 5607 h 10000"/>
              <a:gd name="connsiteX7" fmla="*/ 2013 w 9962"/>
              <a:gd name="connsiteY7" fmla="*/ 5607 h 10000"/>
              <a:gd name="connsiteX8" fmla="*/ 2049 w 9962"/>
              <a:gd name="connsiteY8" fmla="*/ 6131 h 10000"/>
              <a:gd name="connsiteX9" fmla="*/ 2049 w 9962"/>
              <a:gd name="connsiteY9" fmla="*/ 9477 h 10000"/>
              <a:gd name="connsiteX10" fmla="*/ 2088 w 9962"/>
              <a:gd name="connsiteY10" fmla="*/ 10000 h 10000"/>
              <a:gd name="connsiteX11" fmla="*/ 2413 w 9962"/>
              <a:gd name="connsiteY11" fmla="*/ 10000 h 10000"/>
              <a:gd name="connsiteX12" fmla="*/ 2450 w 9962"/>
              <a:gd name="connsiteY12" fmla="*/ 9477 h 10000"/>
              <a:gd name="connsiteX13" fmla="*/ 2450 w 9962"/>
              <a:gd name="connsiteY13" fmla="*/ 7178 h 10000"/>
              <a:gd name="connsiteX14" fmla="*/ 2485 w 9962"/>
              <a:gd name="connsiteY14" fmla="*/ 6654 h 10000"/>
              <a:gd name="connsiteX15" fmla="*/ 2885 w 9962"/>
              <a:gd name="connsiteY15" fmla="*/ 6654 h 10000"/>
              <a:gd name="connsiteX16" fmla="*/ 2923 w 9962"/>
              <a:gd name="connsiteY16" fmla="*/ 7178 h 10000"/>
              <a:gd name="connsiteX17" fmla="*/ 2923 w 9962"/>
              <a:gd name="connsiteY17" fmla="*/ 8411 h 10000"/>
              <a:gd name="connsiteX18" fmla="*/ 2960 w 9962"/>
              <a:gd name="connsiteY18" fmla="*/ 8935 h 10000"/>
              <a:gd name="connsiteX19" fmla="*/ 5724 w 9962"/>
              <a:gd name="connsiteY19" fmla="*/ 8935 h 10000"/>
              <a:gd name="connsiteX20" fmla="*/ 5761 w 9962"/>
              <a:gd name="connsiteY20" fmla="*/ 8411 h 10000"/>
              <a:gd name="connsiteX21" fmla="*/ 5761 w 9962"/>
              <a:gd name="connsiteY21" fmla="*/ 523 h 10000"/>
              <a:gd name="connsiteX22" fmla="*/ 5798 w 9962"/>
              <a:gd name="connsiteY22" fmla="*/ 0 h 10000"/>
              <a:gd name="connsiteX23" fmla="*/ 6709 w 9962"/>
              <a:gd name="connsiteY23" fmla="*/ 0 h 10000"/>
              <a:gd name="connsiteX24" fmla="*/ 6747 w 9962"/>
              <a:gd name="connsiteY24" fmla="*/ 523 h 10000"/>
              <a:gd name="connsiteX25" fmla="*/ 6747 w 9962"/>
              <a:gd name="connsiteY25" fmla="*/ 7159 h 10000"/>
              <a:gd name="connsiteX26" fmla="*/ 6783 w 9962"/>
              <a:gd name="connsiteY26" fmla="*/ 7682 h 10000"/>
              <a:gd name="connsiteX27" fmla="*/ 8170 w 9962"/>
              <a:gd name="connsiteY27" fmla="*/ 7682 h 10000"/>
              <a:gd name="connsiteX28" fmla="*/ 8207 w 9962"/>
              <a:gd name="connsiteY28" fmla="*/ 7159 h 10000"/>
              <a:gd name="connsiteX29" fmla="*/ 8207 w 9962"/>
              <a:gd name="connsiteY29" fmla="*/ 2075 h 10000"/>
              <a:gd name="connsiteX30" fmla="*/ 8244 w 9962"/>
              <a:gd name="connsiteY30" fmla="*/ 1551 h 10000"/>
              <a:gd name="connsiteX31" fmla="*/ 9962 w 9962"/>
              <a:gd name="connsiteY31" fmla="*/ 1551 h 10000"/>
              <a:gd name="connsiteX0" fmla="*/ 0 w 10000"/>
              <a:gd name="connsiteY0" fmla="*/ 9477 h 10000"/>
              <a:gd name="connsiteX1" fmla="*/ 38 w 10000"/>
              <a:gd name="connsiteY1" fmla="*/ 10000 h 10000"/>
              <a:gd name="connsiteX2" fmla="*/ 751 w 10000"/>
              <a:gd name="connsiteY2" fmla="*/ 10000 h 10000"/>
              <a:gd name="connsiteX3" fmla="*/ 788 w 10000"/>
              <a:gd name="connsiteY3" fmla="*/ 9477 h 10000"/>
              <a:gd name="connsiteX4" fmla="*/ 788 w 10000"/>
              <a:gd name="connsiteY4" fmla="*/ 6131 h 10000"/>
              <a:gd name="connsiteX5" fmla="*/ 825 w 10000"/>
              <a:gd name="connsiteY5" fmla="*/ 5607 h 10000"/>
              <a:gd name="connsiteX6" fmla="*/ 2021 w 10000"/>
              <a:gd name="connsiteY6" fmla="*/ 5607 h 10000"/>
              <a:gd name="connsiteX7" fmla="*/ 2057 w 10000"/>
              <a:gd name="connsiteY7" fmla="*/ 6131 h 10000"/>
              <a:gd name="connsiteX8" fmla="*/ 2057 w 10000"/>
              <a:gd name="connsiteY8" fmla="*/ 9477 h 10000"/>
              <a:gd name="connsiteX9" fmla="*/ 2096 w 10000"/>
              <a:gd name="connsiteY9" fmla="*/ 10000 h 10000"/>
              <a:gd name="connsiteX10" fmla="*/ 2422 w 10000"/>
              <a:gd name="connsiteY10" fmla="*/ 10000 h 10000"/>
              <a:gd name="connsiteX11" fmla="*/ 2459 w 10000"/>
              <a:gd name="connsiteY11" fmla="*/ 9477 h 10000"/>
              <a:gd name="connsiteX12" fmla="*/ 2459 w 10000"/>
              <a:gd name="connsiteY12" fmla="*/ 7178 h 10000"/>
              <a:gd name="connsiteX13" fmla="*/ 2494 w 10000"/>
              <a:gd name="connsiteY13" fmla="*/ 6654 h 10000"/>
              <a:gd name="connsiteX14" fmla="*/ 2896 w 10000"/>
              <a:gd name="connsiteY14" fmla="*/ 6654 h 10000"/>
              <a:gd name="connsiteX15" fmla="*/ 2934 w 10000"/>
              <a:gd name="connsiteY15" fmla="*/ 7178 h 10000"/>
              <a:gd name="connsiteX16" fmla="*/ 2934 w 10000"/>
              <a:gd name="connsiteY16" fmla="*/ 8411 h 10000"/>
              <a:gd name="connsiteX17" fmla="*/ 2971 w 10000"/>
              <a:gd name="connsiteY17" fmla="*/ 8935 h 10000"/>
              <a:gd name="connsiteX18" fmla="*/ 5746 w 10000"/>
              <a:gd name="connsiteY18" fmla="*/ 8935 h 10000"/>
              <a:gd name="connsiteX19" fmla="*/ 5783 w 10000"/>
              <a:gd name="connsiteY19" fmla="*/ 8411 h 10000"/>
              <a:gd name="connsiteX20" fmla="*/ 5783 w 10000"/>
              <a:gd name="connsiteY20" fmla="*/ 523 h 10000"/>
              <a:gd name="connsiteX21" fmla="*/ 5820 w 10000"/>
              <a:gd name="connsiteY21" fmla="*/ 0 h 10000"/>
              <a:gd name="connsiteX22" fmla="*/ 6735 w 10000"/>
              <a:gd name="connsiteY22" fmla="*/ 0 h 10000"/>
              <a:gd name="connsiteX23" fmla="*/ 6773 w 10000"/>
              <a:gd name="connsiteY23" fmla="*/ 523 h 10000"/>
              <a:gd name="connsiteX24" fmla="*/ 6773 w 10000"/>
              <a:gd name="connsiteY24" fmla="*/ 7159 h 10000"/>
              <a:gd name="connsiteX25" fmla="*/ 6809 w 10000"/>
              <a:gd name="connsiteY25" fmla="*/ 7682 h 10000"/>
              <a:gd name="connsiteX26" fmla="*/ 8201 w 10000"/>
              <a:gd name="connsiteY26" fmla="*/ 7682 h 10000"/>
              <a:gd name="connsiteX27" fmla="*/ 8238 w 10000"/>
              <a:gd name="connsiteY27" fmla="*/ 7159 h 10000"/>
              <a:gd name="connsiteX28" fmla="*/ 8238 w 10000"/>
              <a:gd name="connsiteY28" fmla="*/ 2075 h 10000"/>
              <a:gd name="connsiteX29" fmla="*/ 8275 w 10000"/>
              <a:gd name="connsiteY29" fmla="*/ 1551 h 10000"/>
              <a:gd name="connsiteX30" fmla="*/ 10000 w 10000"/>
              <a:gd name="connsiteY30" fmla="*/ 1551 h 10000"/>
              <a:gd name="connsiteX0" fmla="*/ 0 w 9962"/>
              <a:gd name="connsiteY0" fmla="*/ 10000 h 10000"/>
              <a:gd name="connsiteX1" fmla="*/ 713 w 9962"/>
              <a:gd name="connsiteY1" fmla="*/ 10000 h 10000"/>
              <a:gd name="connsiteX2" fmla="*/ 750 w 9962"/>
              <a:gd name="connsiteY2" fmla="*/ 9477 h 10000"/>
              <a:gd name="connsiteX3" fmla="*/ 750 w 9962"/>
              <a:gd name="connsiteY3" fmla="*/ 6131 h 10000"/>
              <a:gd name="connsiteX4" fmla="*/ 787 w 9962"/>
              <a:gd name="connsiteY4" fmla="*/ 5607 h 10000"/>
              <a:gd name="connsiteX5" fmla="*/ 1983 w 9962"/>
              <a:gd name="connsiteY5" fmla="*/ 5607 h 10000"/>
              <a:gd name="connsiteX6" fmla="*/ 2019 w 9962"/>
              <a:gd name="connsiteY6" fmla="*/ 6131 h 10000"/>
              <a:gd name="connsiteX7" fmla="*/ 2019 w 9962"/>
              <a:gd name="connsiteY7" fmla="*/ 9477 h 10000"/>
              <a:gd name="connsiteX8" fmla="*/ 2058 w 9962"/>
              <a:gd name="connsiteY8" fmla="*/ 10000 h 10000"/>
              <a:gd name="connsiteX9" fmla="*/ 2384 w 9962"/>
              <a:gd name="connsiteY9" fmla="*/ 10000 h 10000"/>
              <a:gd name="connsiteX10" fmla="*/ 2421 w 9962"/>
              <a:gd name="connsiteY10" fmla="*/ 9477 h 10000"/>
              <a:gd name="connsiteX11" fmla="*/ 2421 w 9962"/>
              <a:gd name="connsiteY11" fmla="*/ 7178 h 10000"/>
              <a:gd name="connsiteX12" fmla="*/ 2456 w 9962"/>
              <a:gd name="connsiteY12" fmla="*/ 6654 h 10000"/>
              <a:gd name="connsiteX13" fmla="*/ 2858 w 9962"/>
              <a:gd name="connsiteY13" fmla="*/ 6654 h 10000"/>
              <a:gd name="connsiteX14" fmla="*/ 2896 w 9962"/>
              <a:gd name="connsiteY14" fmla="*/ 7178 h 10000"/>
              <a:gd name="connsiteX15" fmla="*/ 2896 w 9962"/>
              <a:gd name="connsiteY15" fmla="*/ 8411 h 10000"/>
              <a:gd name="connsiteX16" fmla="*/ 2933 w 9962"/>
              <a:gd name="connsiteY16" fmla="*/ 8935 h 10000"/>
              <a:gd name="connsiteX17" fmla="*/ 5708 w 9962"/>
              <a:gd name="connsiteY17" fmla="*/ 8935 h 10000"/>
              <a:gd name="connsiteX18" fmla="*/ 5745 w 9962"/>
              <a:gd name="connsiteY18" fmla="*/ 8411 h 10000"/>
              <a:gd name="connsiteX19" fmla="*/ 5745 w 9962"/>
              <a:gd name="connsiteY19" fmla="*/ 523 h 10000"/>
              <a:gd name="connsiteX20" fmla="*/ 5782 w 9962"/>
              <a:gd name="connsiteY20" fmla="*/ 0 h 10000"/>
              <a:gd name="connsiteX21" fmla="*/ 6697 w 9962"/>
              <a:gd name="connsiteY21" fmla="*/ 0 h 10000"/>
              <a:gd name="connsiteX22" fmla="*/ 6735 w 9962"/>
              <a:gd name="connsiteY22" fmla="*/ 523 h 10000"/>
              <a:gd name="connsiteX23" fmla="*/ 6735 w 9962"/>
              <a:gd name="connsiteY23" fmla="*/ 7159 h 10000"/>
              <a:gd name="connsiteX24" fmla="*/ 6771 w 9962"/>
              <a:gd name="connsiteY24" fmla="*/ 7682 h 10000"/>
              <a:gd name="connsiteX25" fmla="*/ 8163 w 9962"/>
              <a:gd name="connsiteY25" fmla="*/ 7682 h 10000"/>
              <a:gd name="connsiteX26" fmla="*/ 8200 w 9962"/>
              <a:gd name="connsiteY26" fmla="*/ 7159 h 10000"/>
              <a:gd name="connsiteX27" fmla="*/ 8200 w 9962"/>
              <a:gd name="connsiteY27" fmla="*/ 2075 h 10000"/>
              <a:gd name="connsiteX28" fmla="*/ 8237 w 9962"/>
              <a:gd name="connsiteY28" fmla="*/ 1551 h 10000"/>
              <a:gd name="connsiteX29" fmla="*/ 9962 w 9962"/>
              <a:gd name="connsiteY29" fmla="*/ 1551 h 10000"/>
              <a:gd name="connsiteX0" fmla="*/ 0 w 9284"/>
              <a:gd name="connsiteY0" fmla="*/ 10000 h 10000"/>
              <a:gd name="connsiteX1" fmla="*/ 37 w 9284"/>
              <a:gd name="connsiteY1" fmla="*/ 9477 h 10000"/>
              <a:gd name="connsiteX2" fmla="*/ 37 w 9284"/>
              <a:gd name="connsiteY2" fmla="*/ 6131 h 10000"/>
              <a:gd name="connsiteX3" fmla="*/ 74 w 9284"/>
              <a:gd name="connsiteY3" fmla="*/ 5607 h 10000"/>
              <a:gd name="connsiteX4" fmla="*/ 1275 w 9284"/>
              <a:gd name="connsiteY4" fmla="*/ 5607 h 10000"/>
              <a:gd name="connsiteX5" fmla="*/ 1311 w 9284"/>
              <a:gd name="connsiteY5" fmla="*/ 6131 h 10000"/>
              <a:gd name="connsiteX6" fmla="*/ 1311 w 9284"/>
              <a:gd name="connsiteY6" fmla="*/ 9477 h 10000"/>
              <a:gd name="connsiteX7" fmla="*/ 1350 w 9284"/>
              <a:gd name="connsiteY7" fmla="*/ 10000 h 10000"/>
              <a:gd name="connsiteX8" fmla="*/ 1677 w 9284"/>
              <a:gd name="connsiteY8" fmla="*/ 10000 h 10000"/>
              <a:gd name="connsiteX9" fmla="*/ 1714 w 9284"/>
              <a:gd name="connsiteY9" fmla="*/ 9477 h 10000"/>
              <a:gd name="connsiteX10" fmla="*/ 1714 w 9284"/>
              <a:gd name="connsiteY10" fmla="*/ 7178 h 10000"/>
              <a:gd name="connsiteX11" fmla="*/ 1749 w 9284"/>
              <a:gd name="connsiteY11" fmla="*/ 6654 h 10000"/>
              <a:gd name="connsiteX12" fmla="*/ 2153 w 9284"/>
              <a:gd name="connsiteY12" fmla="*/ 6654 h 10000"/>
              <a:gd name="connsiteX13" fmla="*/ 2191 w 9284"/>
              <a:gd name="connsiteY13" fmla="*/ 7178 h 10000"/>
              <a:gd name="connsiteX14" fmla="*/ 2191 w 9284"/>
              <a:gd name="connsiteY14" fmla="*/ 8411 h 10000"/>
              <a:gd name="connsiteX15" fmla="*/ 2228 w 9284"/>
              <a:gd name="connsiteY15" fmla="*/ 8935 h 10000"/>
              <a:gd name="connsiteX16" fmla="*/ 5014 w 9284"/>
              <a:gd name="connsiteY16" fmla="*/ 8935 h 10000"/>
              <a:gd name="connsiteX17" fmla="*/ 5051 w 9284"/>
              <a:gd name="connsiteY17" fmla="*/ 8411 h 10000"/>
              <a:gd name="connsiteX18" fmla="*/ 5051 w 9284"/>
              <a:gd name="connsiteY18" fmla="*/ 523 h 10000"/>
              <a:gd name="connsiteX19" fmla="*/ 5088 w 9284"/>
              <a:gd name="connsiteY19" fmla="*/ 0 h 10000"/>
              <a:gd name="connsiteX20" fmla="*/ 6007 w 9284"/>
              <a:gd name="connsiteY20" fmla="*/ 0 h 10000"/>
              <a:gd name="connsiteX21" fmla="*/ 6045 w 9284"/>
              <a:gd name="connsiteY21" fmla="*/ 523 h 10000"/>
              <a:gd name="connsiteX22" fmla="*/ 6045 w 9284"/>
              <a:gd name="connsiteY22" fmla="*/ 7159 h 10000"/>
              <a:gd name="connsiteX23" fmla="*/ 6081 w 9284"/>
              <a:gd name="connsiteY23" fmla="*/ 7682 h 10000"/>
              <a:gd name="connsiteX24" fmla="*/ 7478 w 9284"/>
              <a:gd name="connsiteY24" fmla="*/ 7682 h 10000"/>
              <a:gd name="connsiteX25" fmla="*/ 7515 w 9284"/>
              <a:gd name="connsiteY25" fmla="*/ 7159 h 10000"/>
              <a:gd name="connsiteX26" fmla="*/ 7515 w 9284"/>
              <a:gd name="connsiteY26" fmla="*/ 2075 h 10000"/>
              <a:gd name="connsiteX27" fmla="*/ 7552 w 9284"/>
              <a:gd name="connsiteY27" fmla="*/ 1551 h 10000"/>
              <a:gd name="connsiteX28" fmla="*/ 9284 w 9284"/>
              <a:gd name="connsiteY28" fmla="*/ 1551 h 10000"/>
              <a:gd name="connsiteX0" fmla="*/ 0 w 9960"/>
              <a:gd name="connsiteY0" fmla="*/ 9477 h 10000"/>
              <a:gd name="connsiteX1" fmla="*/ 0 w 9960"/>
              <a:gd name="connsiteY1" fmla="*/ 6131 h 10000"/>
              <a:gd name="connsiteX2" fmla="*/ 40 w 9960"/>
              <a:gd name="connsiteY2" fmla="*/ 5607 h 10000"/>
              <a:gd name="connsiteX3" fmla="*/ 1333 w 9960"/>
              <a:gd name="connsiteY3" fmla="*/ 5607 h 10000"/>
              <a:gd name="connsiteX4" fmla="*/ 1372 w 9960"/>
              <a:gd name="connsiteY4" fmla="*/ 6131 h 10000"/>
              <a:gd name="connsiteX5" fmla="*/ 1372 w 9960"/>
              <a:gd name="connsiteY5" fmla="*/ 9477 h 10000"/>
              <a:gd name="connsiteX6" fmla="*/ 1414 w 9960"/>
              <a:gd name="connsiteY6" fmla="*/ 10000 h 10000"/>
              <a:gd name="connsiteX7" fmla="*/ 1766 w 9960"/>
              <a:gd name="connsiteY7" fmla="*/ 10000 h 10000"/>
              <a:gd name="connsiteX8" fmla="*/ 1806 w 9960"/>
              <a:gd name="connsiteY8" fmla="*/ 9477 h 10000"/>
              <a:gd name="connsiteX9" fmla="*/ 1806 w 9960"/>
              <a:gd name="connsiteY9" fmla="*/ 7178 h 10000"/>
              <a:gd name="connsiteX10" fmla="*/ 1844 w 9960"/>
              <a:gd name="connsiteY10" fmla="*/ 6654 h 10000"/>
              <a:gd name="connsiteX11" fmla="*/ 2279 w 9960"/>
              <a:gd name="connsiteY11" fmla="*/ 6654 h 10000"/>
              <a:gd name="connsiteX12" fmla="*/ 2320 w 9960"/>
              <a:gd name="connsiteY12" fmla="*/ 7178 h 10000"/>
              <a:gd name="connsiteX13" fmla="*/ 2320 w 9960"/>
              <a:gd name="connsiteY13" fmla="*/ 8411 h 10000"/>
              <a:gd name="connsiteX14" fmla="*/ 2360 w 9960"/>
              <a:gd name="connsiteY14" fmla="*/ 8935 h 10000"/>
              <a:gd name="connsiteX15" fmla="*/ 5361 w 9960"/>
              <a:gd name="connsiteY15" fmla="*/ 8935 h 10000"/>
              <a:gd name="connsiteX16" fmla="*/ 5401 w 9960"/>
              <a:gd name="connsiteY16" fmla="*/ 8411 h 10000"/>
              <a:gd name="connsiteX17" fmla="*/ 5401 w 9960"/>
              <a:gd name="connsiteY17" fmla="*/ 523 h 10000"/>
              <a:gd name="connsiteX18" fmla="*/ 5440 w 9960"/>
              <a:gd name="connsiteY18" fmla="*/ 0 h 10000"/>
              <a:gd name="connsiteX19" fmla="*/ 6430 w 9960"/>
              <a:gd name="connsiteY19" fmla="*/ 0 h 10000"/>
              <a:gd name="connsiteX20" fmla="*/ 6471 w 9960"/>
              <a:gd name="connsiteY20" fmla="*/ 523 h 10000"/>
              <a:gd name="connsiteX21" fmla="*/ 6471 w 9960"/>
              <a:gd name="connsiteY21" fmla="*/ 7159 h 10000"/>
              <a:gd name="connsiteX22" fmla="*/ 6510 w 9960"/>
              <a:gd name="connsiteY22" fmla="*/ 7682 h 10000"/>
              <a:gd name="connsiteX23" fmla="*/ 8015 w 9960"/>
              <a:gd name="connsiteY23" fmla="*/ 7682 h 10000"/>
              <a:gd name="connsiteX24" fmla="*/ 8055 w 9960"/>
              <a:gd name="connsiteY24" fmla="*/ 7159 h 10000"/>
              <a:gd name="connsiteX25" fmla="*/ 8055 w 9960"/>
              <a:gd name="connsiteY25" fmla="*/ 2075 h 10000"/>
              <a:gd name="connsiteX26" fmla="*/ 8094 w 9960"/>
              <a:gd name="connsiteY26" fmla="*/ 1551 h 10000"/>
              <a:gd name="connsiteX27" fmla="*/ 9960 w 9960"/>
              <a:gd name="connsiteY27" fmla="*/ 1551 h 10000"/>
              <a:gd name="connsiteX0" fmla="*/ 0 w 10000"/>
              <a:gd name="connsiteY0" fmla="*/ 6131 h 10000"/>
              <a:gd name="connsiteX1" fmla="*/ 40 w 10000"/>
              <a:gd name="connsiteY1" fmla="*/ 5607 h 10000"/>
              <a:gd name="connsiteX2" fmla="*/ 1338 w 10000"/>
              <a:gd name="connsiteY2" fmla="*/ 5607 h 10000"/>
              <a:gd name="connsiteX3" fmla="*/ 1378 w 10000"/>
              <a:gd name="connsiteY3" fmla="*/ 6131 h 10000"/>
              <a:gd name="connsiteX4" fmla="*/ 1378 w 10000"/>
              <a:gd name="connsiteY4" fmla="*/ 9477 h 10000"/>
              <a:gd name="connsiteX5" fmla="*/ 1420 w 10000"/>
              <a:gd name="connsiteY5" fmla="*/ 10000 h 10000"/>
              <a:gd name="connsiteX6" fmla="*/ 1773 w 10000"/>
              <a:gd name="connsiteY6" fmla="*/ 10000 h 10000"/>
              <a:gd name="connsiteX7" fmla="*/ 1813 w 10000"/>
              <a:gd name="connsiteY7" fmla="*/ 9477 h 10000"/>
              <a:gd name="connsiteX8" fmla="*/ 1813 w 10000"/>
              <a:gd name="connsiteY8" fmla="*/ 7178 h 10000"/>
              <a:gd name="connsiteX9" fmla="*/ 1851 w 10000"/>
              <a:gd name="connsiteY9" fmla="*/ 6654 h 10000"/>
              <a:gd name="connsiteX10" fmla="*/ 2288 w 10000"/>
              <a:gd name="connsiteY10" fmla="*/ 6654 h 10000"/>
              <a:gd name="connsiteX11" fmla="*/ 2329 w 10000"/>
              <a:gd name="connsiteY11" fmla="*/ 7178 h 10000"/>
              <a:gd name="connsiteX12" fmla="*/ 2329 w 10000"/>
              <a:gd name="connsiteY12" fmla="*/ 8411 h 10000"/>
              <a:gd name="connsiteX13" fmla="*/ 2369 w 10000"/>
              <a:gd name="connsiteY13" fmla="*/ 8935 h 10000"/>
              <a:gd name="connsiteX14" fmla="*/ 5383 w 10000"/>
              <a:gd name="connsiteY14" fmla="*/ 8935 h 10000"/>
              <a:gd name="connsiteX15" fmla="*/ 5423 w 10000"/>
              <a:gd name="connsiteY15" fmla="*/ 8411 h 10000"/>
              <a:gd name="connsiteX16" fmla="*/ 5423 w 10000"/>
              <a:gd name="connsiteY16" fmla="*/ 523 h 10000"/>
              <a:gd name="connsiteX17" fmla="*/ 5462 w 10000"/>
              <a:gd name="connsiteY17" fmla="*/ 0 h 10000"/>
              <a:gd name="connsiteX18" fmla="*/ 6456 w 10000"/>
              <a:gd name="connsiteY18" fmla="*/ 0 h 10000"/>
              <a:gd name="connsiteX19" fmla="*/ 6497 w 10000"/>
              <a:gd name="connsiteY19" fmla="*/ 523 h 10000"/>
              <a:gd name="connsiteX20" fmla="*/ 6497 w 10000"/>
              <a:gd name="connsiteY20" fmla="*/ 7159 h 10000"/>
              <a:gd name="connsiteX21" fmla="*/ 6536 w 10000"/>
              <a:gd name="connsiteY21" fmla="*/ 7682 h 10000"/>
              <a:gd name="connsiteX22" fmla="*/ 8047 w 10000"/>
              <a:gd name="connsiteY22" fmla="*/ 7682 h 10000"/>
              <a:gd name="connsiteX23" fmla="*/ 8087 w 10000"/>
              <a:gd name="connsiteY23" fmla="*/ 7159 h 10000"/>
              <a:gd name="connsiteX24" fmla="*/ 8087 w 10000"/>
              <a:gd name="connsiteY24" fmla="*/ 2075 h 10000"/>
              <a:gd name="connsiteX25" fmla="*/ 8127 w 10000"/>
              <a:gd name="connsiteY25" fmla="*/ 1551 h 10000"/>
              <a:gd name="connsiteX26" fmla="*/ 10000 w 10000"/>
              <a:gd name="connsiteY26" fmla="*/ 1551 h 10000"/>
              <a:gd name="connsiteX0" fmla="*/ 0 w 8127"/>
              <a:gd name="connsiteY0" fmla="*/ 6131 h 10000"/>
              <a:gd name="connsiteX1" fmla="*/ 40 w 8127"/>
              <a:gd name="connsiteY1" fmla="*/ 5607 h 10000"/>
              <a:gd name="connsiteX2" fmla="*/ 1338 w 8127"/>
              <a:gd name="connsiteY2" fmla="*/ 5607 h 10000"/>
              <a:gd name="connsiteX3" fmla="*/ 1378 w 8127"/>
              <a:gd name="connsiteY3" fmla="*/ 6131 h 10000"/>
              <a:gd name="connsiteX4" fmla="*/ 1378 w 8127"/>
              <a:gd name="connsiteY4" fmla="*/ 9477 h 10000"/>
              <a:gd name="connsiteX5" fmla="*/ 1420 w 8127"/>
              <a:gd name="connsiteY5" fmla="*/ 10000 h 10000"/>
              <a:gd name="connsiteX6" fmla="*/ 1773 w 8127"/>
              <a:gd name="connsiteY6" fmla="*/ 10000 h 10000"/>
              <a:gd name="connsiteX7" fmla="*/ 1813 w 8127"/>
              <a:gd name="connsiteY7" fmla="*/ 9477 h 10000"/>
              <a:gd name="connsiteX8" fmla="*/ 1813 w 8127"/>
              <a:gd name="connsiteY8" fmla="*/ 7178 h 10000"/>
              <a:gd name="connsiteX9" fmla="*/ 1851 w 8127"/>
              <a:gd name="connsiteY9" fmla="*/ 6654 h 10000"/>
              <a:gd name="connsiteX10" fmla="*/ 2288 w 8127"/>
              <a:gd name="connsiteY10" fmla="*/ 6654 h 10000"/>
              <a:gd name="connsiteX11" fmla="*/ 2329 w 8127"/>
              <a:gd name="connsiteY11" fmla="*/ 7178 h 10000"/>
              <a:gd name="connsiteX12" fmla="*/ 2329 w 8127"/>
              <a:gd name="connsiteY12" fmla="*/ 8411 h 10000"/>
              <a:gd name="connsiteX13" fmla="*/ 2369 w 8127"/>
              <a:gd name="connsiteY13" fmla="*/ 8935 h 10000"/>
              <a:gd name="connsiteX14" fmla="*/ 5383 w 8127"/>
              <a:gd name="connsiteY14" fmla="*/ 8935 h 10000"/>
              <a:gd name="connsiteX15" fmla="*/ 5423 w 8127"/>
              <a:gd name="connsiteY15" fmla="*/ 8411 h 10000"/>
              <a:gd name="connsiteX16" fmla="*/ 5423 w 8127"/>
              <a:gd name="connsiteY16" fmla="*/ 523 h 10000"/>
              <a:gd name="connsiteX17" fmla="*/ 5462 w 8127"/>
              <a:gd name="connsiteY17" fmla="*/ 0 h 10000"/>
              <a:gd name="connsiteX18" fmla="*/ 6456 w 8127"/>
              <a:gd name="connsiteY18" fmla="*/ 0 h 10000"/>
              <a:gd name="connsiteX19" fmla="*/ 6497 w 8127"/>
              <a:gd name="connsiteY19" fmla="*/ 523 h 10000"/>
              <a:gd name="connsiteX20" fmla="*/ 6497 w 8127"/>
              <a:gd name="connsiteY20" fmla="*/ 7159 h 10000"/>
              <a:gd name="connsiteX21" fmla="*/ 6536 w 8127"/>
              <a:gd name="connsiteY21" fmla="*/ 7682 h 10000"/>
              <a:gd name="connsiteX22" fmla="*/ 8047 w 8127"/>
              <a:gd name="connsiteY22" fmla="*/ 7682 h 10000"/>
              <a:gd name="connsiteX23" fmla="*/ 8087 w 8127"/>
              <a:gd name="connsiteY23" fmla="*/ 7159 h 10000"/>
              <a:gd name="connsiteX24" fmla="*/ 8087 w 8127"/>
              <a:gd name="connsiteY24" fmla="*/ 2075 h 10000"/>
              <a:gd name="connsiteX25" fmla="*/ 8127 w 8127"/>
              <a:gd name="connsiteY25" fmla="*/ 1551 h 10000"/>
              <a:gd name="connsiteX0" fmla="*/ 0 w 9951"/>
              <a:gd name="connsiteY0" fmla="*/ 6131 h 10000"/>
              <a:gd name="connsiteX1" fmla="*/ 49 w 9951"/>
              <a:gd name="connsiteY1" fmla="*/ 5607 h 10000"/>
              <a:gd name="connsiteX2" fmla="*/ 1646 w 9951"/>
              <a:gd name="connsiteY2" fmla="*/ 5607 h 10000"/>
              <a:gd name="connsiteX3" fmla="*/ 1696 w 9951"/>
              <a:gd name="connsiteY3" fmla="*/ 6131 h 10000"/>
              <a:gd name="connsiteX4" fmla="*/ 1696 w 9951"/>
              <a:gd name="connsiteY4" fmla="*/ 9477 h 10000"/>
              <a:gd name="connsiteX5" fmla="*/ 1747 w 9951"/>
              <a:gd name="connsiteY5" fmla="*/ 10000 h 10000"/>
              <a:gd name="connsiteX6" fmla="*/ 2182 w 9951"/>
              <a:gd name="connsiteY6" fmla="*/ 10000 h 10000"/>
              <a:gd name="connsiteX7" fmla="*/ 2231 w 9951"/>
              <a:gd name="connsiteY7" fmla="*/ 9477 h 10000"/>
              <a:gd name="connsiteX8" fmla="*/ 2231 w 9951"/>
              <a:gd name="connsiteY8" fmla="*/ 7178 h 10000"/>
              <a:gd name="connsiteX9" fmla="*/ 2278 w 9951"/>
              <a:gd name="connsiteY9" fmla="*/ 6654 h 10000"/>
              <a:gd name="connsiteX10" fmla="*/ 2815 w 9951"/>
              <a:gd name="connsiteY10" fmla="*/ 6654 h 10000"/>
              <a:gd name="connsiteX11" fmla="*/ 2866 w 9951"/>
              <a:gd name="connsiteY11" fmla="*/ 7178 h 10000"/>
              <a:gd name="connsiteX12" fmla="*/ 2866 w 9951"/>
              <a:gd name="connsiteY12" fmla="*/ 8411 h 10000"/>
              <a:gd name="connsiteX13" fmla="*/ 2915 w 9951"/>
              <a:gd name="connsiteY13" fmla="*/ 8935 h 10000"/>
              <a:gd name="connsiteX14" fmla="*/ 6624 w 9951"/>
              <a:gd name="connsiteY14" fmla="*/ 8935 h 10000"/>
              <a:gd name="connsiteX15" fmla="*/ 6673 w 9951"/>
              <a:gd name="connsiteY15" fmla="*/ 8411 h 10000"/>
              <a:gd name="connsiteX16" fmla="*/ 6673 w 9951"/>
              <a:gd name="connsiteY16" fmla="*/ 523 h 10000"/>
              <a:gd name="connsiteX17" fmla="*/ 6721 w 9951"/>
              <a:gd name="connsiteY17" fmla="*/ 0 h 10000"/>
              <a:gd name="connsiteX18" fmla="*/ 7944 w 9951"/>
              <a:gd name="connsiteY18" fmla="*/ 0 h 10000"/>
              <a:gd name="connsiteX19" fmla="*/ 7994 w 9951"/>
              <a:gd name="connsiteY19" fmla="*/ 523 h 10000"/>
              <a:gd name="connsiteX20" fmla="*/ 7994 w 9951"/>
              <a:gd name="connsiteY20" fmla="*/ 7159 h 10000"/>
              <a:gd name="connsiteX21" fmla="*/ 8042 w 9951"/>
              <a:gd name="connsiteY21" fmla="*/ 7682 h 10000"/>
              <a:gd name="connsiteX22" fmla="*/ 9902 w 9951"/>
              <a:gd name="connsiteY22" fmla="*/ 7682 h 10000"/>
              <a:gd name="connsiteX23" fmla="*/ 9951 w 9951"/>
              <a:gd name="connsiteY23" fmla="*/ 7159 h 10000"/>
              <a:gd name="connsiteX24" fmla="*/ 9951 w 9951"/>
              <a:gd name="connsiteY24" fmla="*/ 2075 h 10000"/>
              <a:gd name="connsiteX0" fmla="*/ 0 w 10000"/>
              <a:gd name="connsiteY0" fmla="*/ 6131 h 10000"/>
              <a:gd name="connsiteX1" fmla="*/ 49 w 10000"/>
              <a:gd name="connsiteY1" fmla="*/ 5607 h 10000"/>
              <a:gd name="connsiteX2" fmla="*/ 1654 w 10000"/>
              <a:gd name="connsiteY2" fmla="*/ 5607 h 10000"/>
              <a:gd name="connsiteX3" fmla="*/ 1704 w 10000"/>
              <a:gd name="connsiteY3" fmla="*/ 6131 h 10000"/>
              <a:gd name="connsiteX4" fmla="*/ 1704 w 10000"/>
              <a:gd name="connsiteY4" fmla="*/ 9477 h 10000"/>
              <a:gd name="connsiteX5" fmla="*/ 1756 w 10000"/>
              <a:gd name="connsiteY5" fmla="*/ 10000 h 10000"/>
              <a:gd name="connsiteX6" fmla="*/ 2193 w 10000"/>
              <a:gd name="connsiteY6" fmla="*/ 10000 h 10000"/>
              <a:gd name="connsiteX7" fmla="*/ 2242 w 10000"/>
              <a:gd name="connsiteY7" fmla="*/ 9477 h 10000"/>
              <a:gd name="connsiteX8" fmla="*/ 2242 w 10000"/>
              <a:gd name="connsiteY8" fmla="*/ 7178 h 10000"/>
              <a:gd name="connsiteX9" fmla="*/ 2289 w 10000"/>
              <a:gd name="connsiteY9" fmla="*/ 6654 h 10000"/>
              <a:gd name="connsiteX10" fmla="*/ 2829 w 10000"/>
              <a:gd name="connsiteY10" fmla="*/ 6654 h 10000"/>
              <a:gd name="connsiteX11" fmla="*/ 2880 w 10000"/>
              <a:gd name="connsiteY11" fmla="*/ 7178 h 10000"/>
              <a:gd name="connsiteX12" fmla="*/ 2880 w 10000"/>
              <a:gd name="connsiteY12" fmla="*/ 8411 h 10000"/>
              <a:gd name="connsiteX13" fmla="*/ 2929 w 10000"/>
              <a:gd name="connsiteY13" fmla="*/ 8935 h 10000"/>
              <a:gd name="connsiteX14" fmla="*/ 6657 w 10000"/>
              <a:gd name="connsiteY14" fmla="*/ 8935 h 10000"/>
              <a:gd name="connsiteX15" fmla="*/ 6706 w 10000"/>
              <a:gd name="connsiteY15" fmla="*/ 8411 h 10000"/>
              <a:gd name="connsiteX16" fmla="*/ 6706 w 10000"/>
              <a:gd name="connsiteY16" fmla="*/ 523 h 10000"/>
              <a:gd name="connsiteX17" fmla="*/ 6754 w 10000"/>
              <a:gd name="connsiteY17" fmla="*/ 0 h 10000"/>
              <a:gd name="connsiteX18" fmla="*/ 7983 w 10000"/>
              <a:gd name="connsiteY18" fmla="*/ 0 h 10000"/>
              <a:gd name="connsiteX19" fmla="*/ 8033 w 10000"/>
              <a:gd name="connsiteY19" fmla="*/ 523 h 10000"/>
              <a:gd name="connsiteX20" fmla="*/ 8033 w 10000"/>
              <a:gd name="connsiteY20" fmla="*/ 7159 h 10000"/>
              <a:gd name="connsiteX21" fmla="*/ 8082 w 10000"/>
              <a:gd name="connsiteY21" fmla="*/ 7682 h 10000"/>
              <a:gd name="connsiteX22" fmla="*/ 9951 w 10000"/>
              <a:gd name="connsiteY22" fmla="*/ 7682 h 10000"/>
              <a:gd name="connsiteX23" fmla="*/ 10000 w 10000"/>
              <a:gd name="connsiteY23" fmla="*/ 7159 h 10000"/>
              <a:gd name="connsiteX0" fmla="*/ 0 w 9951"/>
              <a:gd name="connsiteY0" fmla="*/ 6131 h 10000"/>
              <a:gd name="connsiteX1" fmla="*/ 49 w 9951"/>
              <a:gd name="connsiteY1" fmla="*/ 5607 h 10000"/>
              <a:gd name="connsiteX2" fmla="*/ 1654 w 9951"/>
              <a:gd name="connsiteY2" fmla="*/ 5607 h 10000"/>
              <a:gd name="connsiteX3" fmla="*/ 1704 w 9951"/>
              <a:gd name="connsiteY3" fmla="*/ 6131 h 10000"/>
              <a:gd name="connsiteX4" fmla="*/ 1704 w 9951"/>
              <a:gd name="connsiteY4" fmla="*/ 9477 h 10000"/>
              <a:gd name="connsiteX5" fmla="*/ 1756 w 9951"/>
              <a:gd name="connsiteY5" fmla="*/ 10000 h 10000"/>
              <a:gd name="connsiteX6" fmla="*/ 2193 w 9951"/>
              <a:gd name="connsiteY6" fmla="*/ 10000 h 10000"/>
              <a:gd name="connsiteX7" fmla="*/ 2242 w 9951"/>
              <a:gd name="connsiteY7" fmla="*/ 9477 h 10000"/>
              <a:gd name="connsiteX8" fmla="*/ 2242 w 9951"/>
              <a:gd name="connsiteY8" fmla="*/ 7178 h 10000"/>
              <a:gd name="connsiteX9" fmla="*/ 2289 w 9951"/>
              <a:gd name="connsiteY9" fmla="*/ 6654 h 10000"/>
              <a:gd name="connsiteX10" fmla="*/ 2829 w 9951"/>
              <a:gd name="connsiteY10" fmla="*/ 6654 h 10000"/>
              <a:gd name="connsiteX11" fmla="*/ 2880 w 9951"/>
              <a:gd name="connsiteY11" fmla="*/ 7178 h 10000"/>
              <a:gd name="connsiteX12" fmla="*/ 2880 w 9951"/>
              <a:gd name="connsiteY12" fmla="*/ 8411 h 10000"/>
              <a:gd name="connsiteX13" fmla="*/ 2929 w 9951"/>
              <a:gd name="connsiteY13" fmla="*/ 8935 h 10000"/>
              <a:gd name="connsiteX14" fmla="*/ 6657 w 9951"/>
              <a:gd name="connsiteY14" fmla="*/ 8935 h 10000"/>
              <a:gd name="connsiteX15" fmla="*/ 6706 w 9951"/>
              <a:gd name="connsiteY15" fmla="*/ 8411 h 10000"/>
              <a:gd name="connsiteX16" fmla="*/ 6706 w 9951"/>
              <a:gd name="connsiteY16" fmla="*/ 523 h 10000"/>
              <a:gd name="connsiteX17" fmla="*/ 6754 w 9951"/>
              <a:gd name="connsiteY17" fmla="*/ 0 h 10000"/>
              <a:gd name="connsiteX18" fmla="*/ 7983 w 9951"/>
              <a:gd name="connsiteY18" fmla="*/ 0 h 10000"/>
              <a:gd name="connsiteX19" fmla="*/ 8033 w 9951"/>
              <a:gd name="connsiteY19" fmla="*/ 523 h 10000"/>
              <a:gd name="connsiteX20" fmla="*/ 8033 w 9951"/>
              <a:gd name="connsiteY20" fmla="*/ 7159 h 10000"/>
              <a:gd name="connsiteX21" fmla="*/ 8082 w 9951"/>
              <a:gd name="connsiteY21" fmla="*/ 7682 h 10000"/>
              <a:gd name="connsiteX22" fmla="*/ 9951 w 9951"/>
              <a:gd name="connsiteY22" fmla="*/ 7682 h 10000"/>
              <a:gd name="connsiteX0" fmla="*/ 0 w 10000"/>
              <a:gd name="connsiteY0" fmla="*/ 6131 h 10000"/>
              <a:gd name="connsiteX1" fmla="*/ 1662 w 10000"/>
              <a:gd name="connsiteY1" fmla="*/ 5607 h 10000"/>
              <a:gd name="connsiteX2" fmla="*/ 1712 w 10000"/>
              <a:gd name="connsiteY2" fmla="*/ 6131 h 10000"/>
              <a:gd name="connsiteX3" fmla="*/ 1712 w 10000"/>
              <a:gd name="connsiteY3" fmla="*/ 9477 h 10000"/>
              <a:gd name="connsiteX4" fmla="*/ 1765 w 10000"/>
              <a:gd name="connsiteY4" fmla="*/ 10000 h 10000"/>
              <a:gd name="connsiteX5" fmla="*/ 2204 w 10000"/>
              <a:gd name="connsiteY5" fmla="*/ 10000 h 10000"/>
              <a:gd name="connsiteX6" fmla="*/ 2253 w 10000"/>
              <a:gd name="connsiteY6" fmla="*/ 9477 h 10000"/>
              <a:gd name="connsiteX7" fmla="*/ 2253 w 10000"/>
              <a:gd name="connsiteY7" fmla="*/ 7178 h 10000"/>
              <a:gd name="connsiteX8" fmla="*/ 2300 w 10000"/>
              <a:gd name="connsiteY8" fmla="*/ 6654 h 10000"/>
              <a:gd name="connsiteX9" fmla="*/ 2843 w 10000"/>
              <a:gd name="connsiteY9" fmla="*/ 6654 h 10000"/>
              <a:gd name="connsiteX10" fmla="*/ 2894 w 10000"/>
              <a:gd name="connsiteY10" fmla="*/ 7178 h 10000"/>
              <a:gd name="connsiteX11" fmla="*/ 2894 w 10000"/>
              <a:gd name="connsiteY11" fmla="*/ 8411 h 10000"/>
              <a:gd name="connsiteX12" fmla="*/ 2943 w 10000"/>
              <a:gd name="connsiteY12" fmla="*/ 8935 h 10000"/>
              <a:gd name="connsiteX13" fmla="*/ 6690 w 10000"/>
              <a:gd name="connsiteY13" fmla="*/ 8935 h 10000"/>
              <a:gd name="connsiteX14" fmla="*/ 6739 w 10000"/>
              <a:gd name="connsiteY14" fmla="*/ 8411 h 10000"/>
              <a:gd name="connsiteX15" fmla="*/ 6739 w 10000"/>
              <a:gd name="connsiteY15" fmla="*/ 523 h 10000"/>
              <a:gd name="connsiteX16" fmla="*/ 6787 w 10000"/>
              <a:gd name="connsiteY16" fmla="*/ 0 h 10000"/>
              <a:gd name="connsiteX17" fmla="*/ 8022 w 10000"/>
              <a:gd name="connsiteY17" fmla="*/ 0 h 10000"/>
              <a:gd name="connsiteX18" fmla="*/ 8073 w 10000"/>
              <a:gd name="connsiteY18" fmla="*/ 523 h 10000"/>
              <a:gd name="connsiteX19" fmla="*/ 8073 w 10000"/>
              <a:gd name="connsiteY19" fmla="*/ 7159 h 10000"/>
              <a:gd name="connsiteX20" fmla="*/ 8122 w 10000"/>
              <a:gd name="connsiteY20" fmla="*/ 7682 h 10000"/>
              <a:gd name="connsiteX21" fmla="*/ 10000 w 10000"/>
              <a:gd name="connsiteY21" fmla="*/ 7682 h 10000"/>
              <a:gd name="connsiteX0" fmla="*/ 0 w 8657"/>
              <a:gd name="connsiteY0" fmla="*/ 5687 h 10000"/>
              <a:gd name="connsiteX1" fmla="*/ 319 w 8657"/>
              <a:gd name="connsiteY1" fmla="*/ 5607 h 10000"/>
              <a:gd name="connsiteX2" fmla="*/ 369 w 8657"/>
              <a:gd name="connsiteY2" fmla="*/ 6131 h 10000"/>
              <a:gd name="connsiteX3" fmla="*/ 369 w 8657"/>
              <a:gd name="connsiteY3" fmla="*/ 9477 h 10000"/>
              <a:gd name="connsiteX4" fmla="*/ 422 w 8657"/>
              <a:gd name="connsiteY4" fmla="*/ 10000 h 10000"/>
              <a:gd name="connsiteX5" fmla="*/ 861 w 8657"/>
              <a:gd name="connsiteY5" fmla="*/ 10000 h 10000"/>
              <a:gd name="connsiteX6" fmla="*/ 910 w 8657"/>
              <a:gd name="connsiteY6" fmla="*/ 9477 h 10000"/>
              <a:gd name="connsiteX7" fmla="*/ 910 w 8657"/>
              <a:gd name="connsiteY7" fmla="*/ 7178 h 10000"/>
              <a:gd name="connsiteX8" fmla="*/ 957 w 8657"/>
              <a:gd name="connsiteY8" fmla="*/ 6654 h 10000"/>
              <a:gd name="connsiteX9" fmla="*/ 1500 w 8657"/>
              <a:gd name="connsiteY9" fmla="*/ 6654 h 10000"/>
              <a:gd name="connsiteX10" fmla="*/ 1551 w 8657"/>
              <a:gd name="connsiteY10" fmla="*/ 7178 h 10000"/>
              <a:gd name="connsiteX11" fmla="*/ 1551 w 8657"/>
              <a:gd name="connsiteY11" fmla="*/ 8411 h 10000"/>
              <a:gd name="connsiteX12" fmla="*/ 1600 w 8657"/>
              <a:gd name="connsiteY12" fmla="*/ 8935 h 10000"/>
              <a:gd name="connsiteX13" fmla="*/ 5347 w 8657"/>
              <a:gd name="connsiteY13" fmla="*/ 8935 h 10000"/>
              <a:gd name="connsiteX14" fmla="*/ 5396 w 8657"/>
              <a:gd name="connsiteY14" fmla="*/ 8411 h 10000"/>
              <a:gd name="connsiteX15" fmla="*/ 5396 w 8657"/>
              <a:gd name="connsiteY15" fmla="*/ 523 h 10000"/>
              <a:gd name="connsiteX16" fmla="*/ 5444 w 8657"/>
              <a:gd name="connsiteY16" fmla="*/ 0 h 10000"/>
              <a:gd name="connsiteX17" fmla="*/ 6679 w 8657"/>
              <a:gd name="connsiteY17" fmla="*/ 0 h 10000"/>
              <a:gd name="connsiteX18" fmla="*/ 6730 w 8657"/>
              <a:gd name="connsiteY18" fmla="*/ 523 h 10000"/>
              <a:gd name="connsiteX19" fmla="*/ 6730 w 8657"/>
              <a:gd name="connsiteY19" fmla="*/ 7159 h 10000"/>
              <a:gd name="connsiteX20" fmla="*/ 6779 w 8657"/>
              <a:gd name="connsiteY20" fmla="*/ 7682 h 10000"/>
              <a:gd name="connsiteX21" fmla="*/ 8657 w 8657"/>
              <a:gd name="connsiteY21" fmla="*/ 7682 h 10000"/>
              <a:gd name="connsiteX0" fmla="*/ 0 w 10000"/>
              <a:gd name="connsiteY0" fmla="*/ 5583 h 10000"/>
              <a:gd name="connsiteX1" fmla="*/ 368 w 10000"/>
              <a:gd name="connsiteY1" fmla="*/ 5607 h 10000"/>
              <a:gd name="connsiteX2" fmla="*/ 426 w 10000"/>
              <a:gd name="connsiteY2" fmla="*/ 6131 h 10000"/>
              <a:gd name="connsiteX3" fmla="*/ 426 w 10000"/>
              <a:gd name="connsiteY3" fmla="*/ 9477 h 10000"/>
              <a:gd name="connsiteX4" fmla="*/ 487 w 10000"/>
              <a:gd name="connsiteY4" fmla="*/ 10000 h 10000"/>
              <a:gd name="connsiteX5" fmla="*/ 995 w 10000"/>
              <a:gd name="connsiteY5" fmla="*/ 10000 h 10000"/>
              <a:gd name="connsiteX6" fmla="*/ 1051 w 10000"/>
              <a:gd name="connsiteY6" fmla="*/ 9477 h 10000"/>
              <a:gd name="connsiteX7" fmla="*/ 1051 w 10000"/>
              <a:gd name="connsiteY7" fmla="*/ 7178 h 10000"/>
              <a:gd name="connsiteX8" fmla="*/ 1105 w 10000"/>
              <a:gd name="connsiteY8" fmla="*/ 6654 h 10000"/>
              <a:gd name="connsiteX9" fmla="*/ 1733 w 10000"/>
              <a:gd name="connsiteY9" fmla="*/ 6654 h 10000"/>
              <a:gd name="connsiteX10" fmla="*/ 1792 w 10000"/>
              <a:gd name="connsiteY10" fmla="*/ 7178 h 10000"/>
              <a:gd name="connsiteX11" fmla="*/ 1792 w 10000"/>
              <a:gd name="connsiteY11" fmla="*/ 8411 h 10000"/>
              <a:gd name="connsiteX12" fmla="*/ 1848 w 10000"/>
              <a:gd name="connsiteY12" fmla="*/ 8935 h 10000"/>
              <a:gd name="connsiteX13" fmla="*/ 6177 w 10000"/>
              <a:gd name="connsiteY13" fmla="*/ 8935 h 10000"/>
              <a:gd name="connsiteX14" fmla="*/ 6233 w 10000"/>
              <a:gd name="connsiteY14" fmla="*/ 8411 h 10000"/>
              <a:gd name="connsiteX15" fmla="*/ 6233 w 10000"/>
              <a:gd name="connsiteY15" fmla="*/ 523 h 10000"/>
              <a:gd name="connsiteX16" fmla="*/ 6289 w 10000"/>
              <a:gd name="connsiteY16" fmla="*/ 0 h 10000"/>
              <a:gd name="connsiteX17" fmla="*/ 7715 w 10000"/>
              <a:gd name="connsiteY17" fmla="*/ 0 h 10000"/>
              <a:gd name="connsiteX18" fmla="*/ 7774 w 10000"/>
              <a:gd name="connsiteY18" fmla="*/ 523 h 10000"/>
              <a:gd name="connsiteX19" fmla="*/ 7774 w 10000"/>
              <a:gd name="connsiteY19" fmla="*/ 7159 h 10000"/>
              <a:gd name="connsiteX20" fmla="*/ 7831 w 10000"/>
              <a:gd name="connsiteY20" fmla="*/ 7682 h 10000"/>
              <a:gd name="connsiteX21" fmla="*/ 10000 w 10000"/>
              <a:gd name="connsiteY21" fmla="*/ 7682 h 10000"/>
              <a:gd name="connsiteX0" fmla="*/ 0 w 10000"/>
              <a:gd name="connsiteY0" fmla="*/ 5583 h 10000"/>
              <a:gd name="connsiteX1" fmla="*/ 368 w 10000"/>
              <a:gd name="connsiteY1" fmla="*/ 5607 h 10000"/>
              <a:gd name="connsiteX2" fmla="*/ 426 w 10000"/>
              <a:gd name="connsiteY2" fmla="*/ 6131 h 10000"/>
              <a:gd name="connsiteX3" fmla="*/ 426 w 10000"/>
              <a:gd name="connsiteY3" fmla="*/ 9477 h 10000"/>
              <a:gd name="connsiteX4" fmla="*/ 487 w 10000"/>
              <a:gd name="connsiteY4" fmla="*/ 10000 h 10000"/>
              <a:gd name="connsiteX5" fmla="*/ 995 w 10000"/>
              <a:gd name="connsiteY5" fmla="*/ 10000 h 10000"/>
              <a:gd name="connsiteX6" fmla="*/ 1051 w 10000"/>
              <a:gd name="connsiteY6" fmla="*/ 9477 h 10000"/>
              <a:gd name="connsiteX7" fmla="*/ 1051 w 10000"/>
              <a:gd name="connsiteY7" fmla="*/ 7178 h 10000"/>
              <a:gd name="connsiteX8" fmla="*/ 1105 w 10000"/>
              <a:gd name="connsiteY8" fmla="*/ 6654 h 10000"/>
              <a:gd name="connsiteX9" fmla="*/ 1733 w 10000"/>
              <a:gd name="connsiteY9" fmla="*/ 6654 h 10000"/>
              <a:gd name="connsiteX10" fmla="*/ 1792 w 10000"/>
              <a:gd name="connsiteY10" fmla="*/ 7178 h 10000"/>
              <a:gd name="connsiteX11" fmla="*/ 1792 w 10000"/>
              <a:gd name="connsiteY11" fmla="*/ 8411 h 10000"/>
              <a:gd name="connsiteX12" fmla="*/ 1848 w 10000"/>
              <a:gd name="connsiteY12" fmla="*/ 8935 h 10000"/>
              <a:gd name="connsiteX13" fmla="*/ 6177 w 10000"/>
              <a:gd name="connsiteY13" fmla="*/ 8935 h 10000"/>
              <a:gd name="connsiteX14" fmla="*/ 6233 w 10000"/>
              <a:gd name="connsiteY14" fmla="*/ 8411 h 10000"/>
              <a:gd name="connsiteX15" fmla="*/ 6233 w 10000"/>
              <a:gd name="connsiteY15" fmla="*/ 523 h 10000"/>
              <a:gd name="connsiteX16" fmla="*/ 6289 w 10000"/>
              <a:gd name="connsiteY16" fmla="*/ 0 h 10000"/>
              <a:gd name="connsiteX17" fmla="*/ 7715 w 10000"/>
              <a:gd name="connsiteY17" fmla="*/ 0 h 10000"/>
              <a:gd name="connsiteX18" fmla="*/ 7774 w 10000"/>
              <a:gd name="connsiteY18" fmla="*/ 523 h 10000"/>
              <a:gd name="connsiteX19" fmla="*/ 7774 w 10000"/>
              <a:gd name="connsiteY19" fmla="*/ 7159 h 10000"/>
              <a:gd name="connsiteX20" fmla="*/ 7831 w 10000"/>
              <a:gd name="connsiteY20" fmla="*/ 7682 h 10000"/>
              <a:gd name="connsiteX21" fmla="*/ 10000 w 10000"/>
              <a:gd name="connsiteY21" fmla="*/ 7682 h 10000"/>
              <a:gd name="connsiteX0" fmla="*/ 0 w 10000"/>
              <a:gd name="connsiteY0" fmla="*/ 5609 h 10000"/>
              <a:gd name="connsiteX1" fmla="*/ 368 w 10000"/>
              <a:gd name="connsiteY1" fmla="*/ 5607 h 10000"/>
              <a:gd name="connsiteX2" fmla="*/ 426 w 10000"/>
              <a:gd name="connsiteY2" fmla="*/ 6131 h 10000"/>
              <a:gd name="connsiteX3" fmla="*/ 426 w 10000"/>
              <a:gd name="connsiteY3" fmla="*/ 9477 h 10000"/>
              <a:gd name="connsiteX4" fmla="*/ 487 w 10000"/>
              <a:gd name="connsiteY4" fmla="*/ 10000 h 10000"/>
              <a:gd name="connsiteX5" fmla="*/ 995 w 10000"/>
              <a:gd name="connsiteY5" fmla="*/ 10000 h 10000"/>
              <a:gd name="connsiteX6" fmla="*/ 1051 w 10000"/>
              <a:gd name="connsiteY6" fmla="*/ 9477 h 10000"/>
              <a:gd name="connsiteX7" fmla="*/ 1051 w 10000"/>
              <a:gd name="connsiteY7" fmla="*/ 7178 h 10000"/>
              <a:gd name="connsiteX8" fmla="*/ 1105 w 10000"/>
              <a:gd name="connsiteY8" fmla="*/ 6654 h 10000"/>
              <a:gd name="connsiteX9" fmla="*/ 1733 w 10000"/>
              <a:gd name="connsiteY9" fmla="*/ 6654 h 10000"/>
              <a:gd name="connsiteX10" fmla="*/ 1792 w 10000"/>
              <a:gd name="connsiteY10" fmla="*/ 7178 h 10000"/>
              <a:gd name="connsiteX11" fmla="*/ 1792 w 10000"/>
              <a:gd name="connsiteY11" fmla="*/ 8411 h 10000"/>
              <a:gd name="connsiteX12" fmla="*/ 1848 w 10000"/>
              <a:gd name="connsiteY12" fmla="*/ 8935 h 10000"/>
              <a:gd name="connsiteX13" fmla="*/ 6177 w 10000"/>
              <a:gd name="connsiteY13" fmla="*/ 8935 h 10000"/>
              <a:gd name="connsiteX14" fmla="*/ 6233 w 10000"/>
              <a:gd name="connsiteY14" fmla="*/ 8411 h 10000"/>
              <a:gd name="connsiteX15" fmla="*/ 6233 w 10000"/>
              <a:gd name="connsiteY15" fmla="*/ 523 h 10000"/>
              <a:gd name="connsiteX16" fmla="*/ 6289 w 10000"/>
              <a:gd name="connsiteY16" fmla="*/ 0 h 10000"/>
              <a:gd name="connsiteX17" fmla="*/ 7715 w 10000"/>
              <a:gd name="connsiteY17" fmla="*/ 0 h 10000"/>
              <a:gd name="connsiteX18" fmla="*/ 7774 w 10000"/>
              <a:gd name="connsiteY18" fmla="*/ 523 h 10000"/>
              <a:gd name="connsiteX19" fmla="*/ 7774 w 10000"/>
              <a:gd name="connsiteY19" fmla="*/ 7159 h 10000"/>
              <a:gd name="connsiteX20" fmla="*/ 7831 w 10000"/>
              <a:gd name="connsiteY20" fmla="*/ 7682 h 10000"/>
              <a:gd name="connsiteX21" fmla="*/ 10000 w 10000"/>
              <a:gd name="connsiteY21" fmla="*/ 7682 h 10000"/>
              <a:gd name="connsiteX0" fmla="*/ 0 w 8282"/>
              <a:gd name="connsiteY0" fmla="*/ 5609 h 10000"/>
              <a:gd name="connsiteX1" fmla="*/ 368 w 8282"/>
              <a:gd name="connsiteY1" fmla="*/ 5607 h 10000"/>
              <a:gd name="connsiteX2" fmla="*/ 426 w 8282"/>
              <a:gd name="connsiteY2" fmla="*/ 6131 h 10000"/>
              <a:gd name="connsiteX3" fmla="*/ 426 w 8282"/>
              <a:gd name="connsiteY3" fmla="*/ 9477 h 10000"/>
              <a:gd name="connsiteX4" fmla="*/ 487 w 8282"/>
              <a:gd name="connsiteY4" fmla="*/ 10000 h 10000"/>
              <a:gd name="connsiteX5" fmla="*/ 995 w 8282"/>
              <a:gd name="connsiteY5" fmla="*/ 10000 h 10000"/>
              <a:gd name="connsiteX6" fmla="*/ 1051 w 8282"/>
              <a:gd name="connsiteY6" fmla="*/ 9477 h 10000"/>
              <a:gd name="connsiteX7" fmla="*/ 1051 w 8282"/>
              <a:gd name="connsiteY7" fmla="*/ 7178 h 10000"/>
              <a:gd name="connsiteX8" fmla="*/ 1105 w 8282"/>
              <a:gd name="connsiteY8" fmla="*/ 6654 h 10000"/>
              <a:gd name="connsiteX9" fmla="*/ 1733 w 8282"/>
              <a:gd name="connsiteY9" fmla="*/ 6654 h 10000"/>
              <a:gd name="connsiteX10" fmla="*/ 1792 w 8282"/>
              <a:gd name="connsiteY10" fmla="*/ 7178 h 10000"/>
              <a:gd name="connsiteX11" fmla="*/ 1792 w 8282"/>
              <a:gd name="connsiteY11" fmla="*/ 8411 h 10000"/>
              <a:gd name="connsiteX12" fmla="*/ 1848 w 8282"/>
              <a:gd name="connsiteY12" fmla="*/ 8935 h 10000"/>
              <a:gd name="connsiteX13" fmla="*/ 6177 w 8282"/>
              <a:gd name="connsiteY13" fmla="*/ 8935 h 10000"/>
              <a:gd name="connsiteX14" fmla="*/ 6233 w 8282"/>
              <a:gd name="connsiteY14" fmla="*/ 8411 h 10000"/>
              <a:gd name="connsiteX15" fmla="*/ 6233 w 8282"/>
              <a:gd name="connsiteY15" fmla="*/ 523 h 10000"/>
              <a:gd name="connsiteX16" fmla="*/ 6289 w 8282"/>
              <a:gd name="connsiteY16" fmla="*/ 0 h 10000"/>
              <a:gd name="connsiteX17" fmla="*/ 7715 w 8282"/>
              <a:gd name="connsiteY17" fmla="*/ 0 h 10000"/>
              <a:gd name="connsiteX18" fmla="*/ 7774 w 8282"/>
              <a:gd name="connsiteY18" fmla="*/ 523 h 10000"/>
              <a:gd name="connsiteX19" fmla="*/ 7774 w 8282"/>
              <a:gd name="connsiteY19" fmla="*/ 7159 h 10000"/>
              <a:gd name="connsiteX20" fmla="*/ 7831 w 8282"/>
              <a:gd name="connsiteY20" fmla="*/ 7682 h 10000"/>
              <a:gd name="connsiteX21" fmla="*/ 8282 w 8282"/>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58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017" h="10000">
                <a:moveTo>
                  <a:pt x="0" y="5609"/>
                </a:moveTo>
                <a:lnTo>
                  <a:pt x="436" y="5607"/>
                </a:lnTo>
                <a:cubicBezTo>
                  <a:pt x="477" y="5607"/>
                  <a:pt x="514" y="5832"/>
                  <a:pt x="514" y="6131"/>
                </a:cubicBezTo>
                <a:lnTo>
                  <a:pt x="514" y="9477"/>
                </a:lnTo>
                <a:cubicBezTo>
                  <a:pt x="514" y="9757"/>
                  <a:pt x="548" y="10000"/>
                  <a:pt x="588" y="10000"/>
                </a:cubicBezTo>
                <a:lnTo>
                  <a:pt x="1201" y="10000"/>
                </a:lnTo>
                <a:cubicBezTo>
                  <a:pt x="1235" y="10000"/>
                  <a:pt x="1269" y="9757"/>
                  <a:pt x="1269" y="9477"/>
                </a:cubicBezTo>
                <a:lnTo>
                  <a:pt x="1269" y="7178"/>
                </a:lnTo>
                <a:cubicBezTo>
                  <a:pt x="1269" y="6897"/>
                  <a:pt x="1297" y="6654"/>
                  <a:pt x="1334" y="6654"/>
                </a:cubicBezTo>
                <a:lnTo>
                  <a:pt x="2092" y="6654"/>
                </a:lnTo>
                <a:cubicBezTo>
                  <a:pt x="2132" y="6654"/>
                  <a:pt x="2164" y="6897"/>
                  <a:pt x="2164" y="7178"/>
                </a:cubicBezTo>
                <a:lnTo>
                  <a:pt x="2164" y="8411"/>
                </a:lnTo>
                <a:cubicBezTo>
                  <a:pt x="2164" y="8710"/>
                  <a:pt x="2193" y="8935"/>
                  <a:pt x="2231" y="8935"/>
                </a:cubicBezTo>
                <a:lnTo>
                  <a:pt x="7458" y="8935"/>
                </a:lnTo>
                <a:cubicBezTo>
                  <a:pt x="7496" y="8935"/>
                  <a:pt x="7526" y="8710"/>
                  <a:pt x="7526" y="8411"/>
                </a:cubicBezTo>
                <a:lnTo>
                  <a:pt x="7526" y="523"/>
                </a:lnTo>
                <a:cubicBezTo>
                  <a:pt x="7526" y="224"/>
                  <a:pt x="7557" y="0"/>
                  <a:pt x="7594" y="0"/>
                </a:cubicBezTo>
                <a:lnTo>
                  <a:pt x="9315" y="0"/>
                </a:lnTo>
                <a:cubicBezTo>
                  <a:pt x="9356" y="0"/>
                  <a:pt x="9387" y="224"/>
                  <a:pt x="9387" y="523"/>
                </a:cubicBezTo>
                <a:lnTo>
                  <a:pt x="9387" y="7159"/>
                </a:lnTo>
                <a:cubicBezTo>
                  <a:pt x="9387" y="7439"/>
                  <a:pt x="9416" y="7682"/>
                  <a:pt x="9455" y="7682"/>
                </a:cubicBezTo>
                <a:lnTo>
                  <a:pt x="10017" y="7682"/>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Freeform 9"/>
          <p:cNvSpPr>
            <a:spLocks/>
          </p:cNvSpPr>
          <p:nvPr/>
        </p:nvSpPr>
        <p:spPr bwMode="gray">
          <a:xfrm>
            <a:off x="-7917" y="4480919"/>
            <a:ext cx="9161634" cy="1894152"/>
          </a:xfrm>
          <a:custGeom>
            <a:avLst/>
            <a:gdLst>
              <a:gd name="T0" fmla="*/ 0 w 8479"/>
              <a:gd name="T1" fmla="*/ 0 h 835"/>
              <a:gd name="T2" fmla="*/ 1311 w 8479"/>
              <a:gd name="T3" fmla="*/ 0 h 835"/>
              <a:gd name="T4" fmla="*/ 1339 w 8479"/>
              <a:gd name="T5" fmla="*/ 28 h 835"/>
              <a:gd name="T6" fmla="*/ 1339 w 8479"/>
              <a:gd name="T7" fmla="*/ 629 h 835"/>
              <a:gd name="T8" fmla="*/ 1366 w 8479"/>
              <a:gd name="T9" fmla="*/ 657 h 835"/>
              <a:gd name="T10" fmla="*/ 2615 w 8479"/>
              <a:gd name="T11" fmla="*/ 657 h 835"/>
              <a:gd name="T12" fmla="*/ 2643 w 8479"/>
              <a:gd name="T13" fmla="*/ 629 h 835"/>
              <a:gd name="T14" fmla="*/ 2643 w 8479"/>
              <a:gd name="T15" fmla="*/ 150 h 835"/>
              <a:gd name="T16" fmla="*/ 2671 w 8479"/>
              <a:gd name="T17" fmla="*/ 122 h 835"/>
              <a:gd name="T18" fmla="*/ 3930 w 8479"/>
              <a:gd name="T19" fmla="*/ 122 h 835"/>
              <a:gd name="T20" fmla="*/ 3958 w 8479"/>
              <a:gd name="T21" fmla="*/ 150 h 835"/>
              <a:gd name="T22" fmla="*/ 3958 w 8479"/>
              <a:gd name="T23" fmla="*/ 807 h 835"/>
              <a:gd name="T24" fmla="*/ 3986 w 8479"/>
              <a:gd name="T25" fmla="*/ 835 h 835"/>
              <a:gd name="T26" fmla="*/ 4855 w 8479"/>
              <a:gd name="T27" fmla="*/ 835 h 835"/>
              <a:gd name="T28" fmla="*/ 4883 w 8479"/>
              <a:gd name="T29" fmla="*/ 807 h 835"/>
              <a:gd name="T30" fmla="*/ 4883 w 8479"/>
              <a:gd name="T31" fmla="*/ 28 h 835"/>
              <a:gd name="T32" fmla="*/ 4911 w 8479"/>
              <a:gd name="T33" fmla="*/ 0 h 835"/>
              <a:gd name="T34" fmla="*/ 5536 w 8479"/>
              <a:gd name="T35" fmla="*/ 0 h 835"/>
              <a:gd name="T36" fmla="*/ 5564 w 8479"/>
              <a:gd name="T37" fmla="*/ 28 h 835"/>
              <a:gd name="T38" fmla="*/ 5564 w 8479"/>
              <a:gd name="T39" fmla="*/ 716 h 835"/>
              <a:gd name="T40" fmla="*/ 5592 w 8479"/>
              <a:gd name="T41" fmla="*/ 744 h 835"/>
              <a:gd name="T42" fmla="*/ 6859 w 8479"/>
              <a:gd name="T43" fmla="*/ 744 h 835"/>
              <a:gd name="T44" fmla="*/ 6887 w 8479"/>
              <a:gd name="T45" fmla="*/ 716 h 835"/>
              <a:gd name="T46" fmla="*/ 6887 w 8479"/>
              <a:gd name="T47" fmla="*/ 148 h 835"/>
              <a:gd name="T48" fmla="*/ 6915 w 8479"/>
              <a:gd name="T49" fmla="*/ 120 h 835"/>
              <a:gd name="T50" fmla="*/ 7337 w 8479"/>
              <a:gd name="T51" fmla="*/ 120 h 835"/>
              <a:gd name="T52" fmla="*/ 7364 w 8479"/>
              <a:gd name="T53" fmla="*/ 148 h 835"/>
              <a:gd name="T54" fmla="*/ 7364 w 8479"/>
              <a:gd name="T55" fmla="*/ 269 h 835"/>
              <a:gd name="T56" fmla="*/ 7392 w 8479"/>
              <a:gd name="T57" fmla="*/ 297 h 835"/>
              <a:gd name="T58" fmla="*/ 8479 w 8479"/>
              <a:gd name="T59" fmla="*/ 297 h 835"/>
              <a:gd name="connsiteX0" fmla="*/ 0 w 8454"/>
              <a:gd name="connsiteY0" fmla="*/ 0 h 10000"/>
              <a:gd name="connsiteX1" fmla="*/ 33 w 8454"/>
              <a:gd name="connsiteY1" fmla="*/ 335 h 10000"/>
              <a:gd name="connsiteX2" fmla="*/ 33 w 8454"/>
              <a:gd name="connsiteY2" fmla="*/ 7533 h 10000"/>
              <a:gd name="connsiteX3" fmla="*/ 65 w 8454"/>
              <a:gd name="connsiteY3" fmla="*/ 7868 h 10000"/>
              <a:gd name="connsiteX4" fmla="*/ 1538 w 8454"/>
              <a:gd name="connsiteY4" fmla="*/ 7868 h 10000"/>
              <a:gd name="connsiteX5" fmla="*/ 1571 w 8454"/>
              <a:gd name="connsiteY5" fmla="*/ 7533 h 10000"/>
              <a:gd name="connsiteX6" fmla="*/ 1571 w 8454"/>
              <a:gd name="connsiteY6" fmla="*/ 1796 h 10000"/>
              <a:gd name="connsiteX7" fmla="*/ 1604 w 8454"/>
              <a:gd name="connsiteY7" fmla="*/ 1461 h 10000"/>
              <a:gd name="connsiteX8" fmla="*/ 3089 w 8454"/>
              <a:gd name="connsiteY8" fmla="*/ 1461 h 10000"/>
              <a:gd name="connsiteX9" fmla="*/ 3122 w 8454"/>
              <a:gd name="connsiteY9" fmla="*/ 1796 h 10000"/>
              <a:gd name="connsiteX10" fmla="*/ 3122 w 8454"/>
              <a:gd name="connsiteY10" fmla="*/ 9665 h 10000"/>
              <a:gd name="connsiteX11" fmla="*/ 3155 w 8454"/>
              <a:gd name="connsiteY11" fmla="*/ 10000 h 10000"/>
              <a:gd name="connsiteX12" fmla="*/ 4180 w 8454"/>
              <a:gd name="connsiteY12" fmla="*/ 10000 h 10000"/>
              <a:gd name="connsiteX13" fmla="*/ 4213 w 8454"/>
              <a:gd name="connsiteY13" fmla="*/ 9665 h 10000"/>
              <a:gd name="connsiteX14" fmla="*/ 4213 w 8454"/>
              <a:gd name="connsiteY14" fmla="*/ 335 h 10000"/>
              <a:gd name="connsiteX15" fmla="*/ 4246 w 8454"/>
              <a:gd name="connsiteY15" fmla="*/ 0 h 10000"/>
              <a:gd name="connsiteX16" fmla="*/ 4983 w 8454"/>
              <a:gd name="connsiteY16" fmla="*/ 0 h 10000"/>
              <a:gd name="connsiteX17" fmla="*/ 5016 w 8454"/>
              <a:gd name="connsiteY17" fmla="*/ 335 h 10000"/>
              <a:gd name="connsiteX18" fmla="*/ 5016 w 8454"/>
              <a:gd name="connsiteY18" fmla="*/ 8575 h 10000"/>
              <a:gd name="connsiteX19" fmla="*/ 5049 w 8454"/>
              <a:gd name="connsiteY19" fmla="*/ 8910 h 10000"/>
              <a:gd name="connsiteX20" fmla="*/ 6543 w 8454"/>
              <a:gd name="connsiteY20" fmla="*/ 8910 h 10000"/>
              <a:gd name="connsiteX21" fmla="*/ 6576 w 8454"/>
              <a:gd name="connsiteY21" fmla="*/ 8575 h 10000"/>
              <a:gd name="connsiteX22" fmla="*/ 6576 w 8454"/>
              <a:gd name="connsiteY22" fmla="*/ 1772 h 10000"/>
              <a:gd name="connsiteX23" fmla="*/ 6609 w 8454"/>
              <a:gd name="connsiteY23" fmla="*/ 1437 h 10000"/>
              <a:gd name="connsiteX24" fmla="*/ 7107 w 8454"/>
              <a:gd name="connsiteY24" fmla="*/ 1437 h 10000"/>
              <a:gd name="connsiteX25" fmla="*/ 7139 w 8454"/>
              <a:gd name="connsiteY25" fmla="*/ 1772 h 10000"/>
              <a:gd name="connsiteX26" fmla="*/ 7139 w 8454"/>
              <a:gd name="connsiteY26" fmla="*/ 3222 h 10000"/>
              <a:gd name="connsiteX27" fmla="*/ 7172 w 8454"/>
              <a:gd name="connsiteY27" fmla="*/ 3557 h 10000"/>
              <a:gd name="connsiteX28" fmla="*/ 8454 w 8454"/>
              <a:gd name="connsiteY28" fmla="*/ 3557 h 10000"/>
              <a:gd name="connsiteX0" fmla="*/ 0 w 9961"/>
              <a:gd name="connsiteY0" fmla="*/ 335 h 10000"/>
              <a:gd name="connsiteX1" fmla="*/ 0 w 9961"/>
              <a:gd name="connsiteY1" fmla="*/ 7533 h 10000"/>
              <a:gd name="connsiteX2" fmla="*/ 38 w 9961"/>
              <a:gd name="connsiteY2" fmla="*/ 7868 h 10000"/>
              <a:gd name="connsiteX3" fmla="*/ 1780 w 9961"/>
              <a:gd name="connsiteY3" fmla="*/ 7868 h 10000"/>
              <a:gd name="connsiteX4" fmla="*/ 1819 w 9961"/>
              <a:gd name="connsiteY4" fmla="*/ 7533 h 10000"/>
              <a:gd name="connsiteX5" fmla="*/ 1819 w 9961"/>
              <a:gd name="connsiteY5" fmla="*/ 1796 h 10000"/>
              <a:gd name="connsiteX6" fmla="*/ 1858 w 9961"/>
              <a:gd name="connsiteY6" fmla="*/ 1461 h 10000"/>
              <a:gd name="connsiteX7" fmla="*/ 3615 w 9961"/>
              <a:gd name="connsiteY7" fmla="*/ 1461 h 10000"/>
              <a:gd name="connsiteX8" fmla="*/ 3654 w 9961"/>
              <a:gd name="connsiteY8" fmla="*/ 1796 h 10000"/>
              <a:gd name="connsiteX9" fmla="*/ 3654 w 9961"/>
              <a:gd name="connsiteY9" fmla="*/ 9665 h 10000"/>
              <a:gd name="connsiteX10" fmla="*/ 3693 w 9961"/>
              <a:gd name="connsiteY10" fmla="*/ 10000 h 10000"/>
              <a:gd name="connsiteX11" fmla="*/ 4905 w 9961"/>
              <a:gd name="connsiteY11" fmla="*/ 10000 h 10000"/>
              <a:gd name="connsiteX12" fmla="*/ 4944 w 9961"/>
              <a:gd name="connsiteY12" fmla="*/ 9665 h 10000"/>
              <a:gd name="connsiteX13" fmla="*/ 4944 w 9961"/>
              <a:gd name="connsiteY13" fmla="*/ 335 h 10000"/>
              <a:gd name="connsiteX14" fmla="*/ 4983 w 9961"/>
              <a:gd name="connsiteY14" fmla="*/ 0 h 10000"/>
              <a:gd name="connsiteX15" fmla="*/ 5855 w 9961"/>
              <a:gd name="connsiteY15" fmla="*/ 0 h 10000"/>
              <a:gd name="connsiteX16" fmla="*/ 5894 w 9961"/>
              <a:gd name="connsiteY16" fmla="*/ 335 h 10000"/>
              <a:gd name="connsiteX17" fmla="*/ 5894 w 9961"/>
              <a:gd name="connsiteY17" fmla="*/ 8575 h 10000"/>
              <a:gd name="connsiteX18" fmla="*/ 5933 w 9961"/>
              <a:gd name="connsiteY18" fmla="*/ 8910 h 10000"/>
              <a:gd name="connsiteX19" fmla="*/ 7701 w 9961"/>
              <a:gd name="connsiteY19" fmla="*/ 8910 h 10000"/>
              <a:gd name="connsiteX20" fmla="*/ 7740 w 9961"/>
              <a:gd name="connsiteY20" fmla="*/ 8575 h 10000"/>
              <a:gd name="connsiteX21" fmla="*/ 7740 w 9961"/>
              <a:gd name="connsiteY21" fmla="*/ 1772 h 10000"/>
              <a:gd name="connsiteX22" fmla="*/ 7779 w 9961"/>
              <a:gd name="connsiteY22" fmla="*/ 1437 h 10000"/>
              <a:gd name="connsiteX23" fmla="*/ 8368 w 9961"/>
              <a:gd name="connsiteY23" fmla="*/ 1437 h 10000"/>
              <a:gd name="connsiteX24" fmla="*/ 8406 w 9961"/>
              <a:gd name="connsiteY24" fmla="*/ 1772 h 10000"/>
              <a:gd name="connsiteX25" fmla="*/ 8406 w 9961"/>
              <a:gd name="connsiteY25" fmla="*/ 3222 h 10000"/>
              <a:gd name="connsiteX26" fmla="*/ 8445 w 9961"/>
              <a:gd name="connsiteY26" fmla="*/ 3557 h 10000"/>
              <a:gd name="connsiteX27" fmla="*/ 9961 w 9961"/>
              <a:gd name="connsiteY27" fmla="*/ 3557 h 10000"/>
              <a:gd name="connsiteX0" fmla="*/ 0 w 10000"/>
              <a:gd name="connsiteY0" fmla="*/ 7533 h 10000"/>
              <a:gd name="connsiteX1" fmla="*/ 38 w 10000"/>
              <a:gd name="connsiteY1" fmla="*/ 7868 h 10000"/>
              <a:gd name="connsiteX2" fmla="*/ 1787 w 10000"/>
              <a:gd name="connsiteY2" fmla="*/ 7868 h 10000"/>
              <a:gd name="connsiteX3" fmla="*/ 1826 w 10000"/>
              <a:gd name="connsiteY3" fmla="*/ 7533 h 10000"/>
              <a:gd name="connsiteX4" fmla="*/ 1826 w 10000"/>
              <a:gd name="connsiteY4" fmla="*/ 1796 h 10000"/>
              <a:gd name="connsiteX5" fmla="*/ 1865 w 10000"/>
              <a:gd name="connsiteY5" fmla="*/ 1461 h 10000"/>
              <a:gd name="connsiteX6" fmla="*/ 3629 w 10000"/>
              <a:gd name="connsiteY6" fmla="*/ 1461 h 10000"/>
              <a:gd name="connsiteX7" fmla="*/ 3668 w 10000"/>
              <a:gd name="connsiteY7" fmla="*/ 1796 h 10000"/>
              <a:gd name="connsiteX8" fmla="*/ 3668 w 10000"/>
              <a:gd name="connsiteY8" fmla="*/ 9665 h 10000"/>
              <a:gd name="connsiteX9" fmla="*/ 3707 w 10000"/>
              <a:gd name="connsiteY9" fmla="*/ 10000 h 10000"/>
              <a:gd name="connsiteX10" fmla="*/ 4924 w 10000"/>
              <a:gd name="connsiteY10" fmla="*/ 10000 h 10000"/>
              <a:gd name="connsiteX11" fmla="*/ 4963 w 10000"/>
              <a:gd name="connsiteY11" fmla="*/ 9665 h 10000"/>
              <a:gd name="connsiteX12" fmla="*/ 4963 w 10000"/>
              <a:gd name="connsiteY12" fmla="*/ 335 h 10000"/>
              <a:gd name="connsiteX13" fmla="*/ 5003 w 10000"/>
              <a:gd name="connsiteY13" fmla="*/ 0 h 10000"/>
              <a:gd name="connsiteX14" fmla="*/ 5878 w 10000"/>
              <a:gd name="connsiteY14" fmla="*/ 0 h 10000"/>
              <a:gd name="connsiteX15" fmla="*/ 5917 w 10000"/>
              <a:gd name="connsiteY15" fmla="*/ 335 h 10000"/>
              <a:gd name="connsiteX16" fmla="*/ 5917 w 10000"/>
              <a:gd name="connsiteY16" fmla="*/ 8575 h 10000"/>
              <a:gd name="connsiteX17" fmla="*/ 5956 w 10000"/>
              <a:gd name="connsiteY17" fmla="*/ 8910 h 10000"/>
              <a:gd name="connsiteX18" fmla="*/ 7731 w 10000"/>
              <a:gd name="connsiteY18" fmla="*/ 8910 h 10000"/>
              <a:gd name="connsiteX19" fmla="*/ 7770 w 10000"/>
              <a:gd name="connsiteY19" fmla="*/ 8575 h 10000"/>
              <a:gd name="connsiteX20" fmla="*/ 7770 w 10000"/>
              <a:gd name="connsiteY20" fmla="*/ 1772 h 10000"/>
              <a:gd name="connsiteX21" fmla="*/ 7809 w 10000"/>
              <a:gd name="connsiteY21" fmla="*/ 1437 h 10000"/>
              <a:gd name="connsiteX22" fmla="*/ 8401 w 10000"/>
              <a:gd name="connsiteY22" fmla="*/ 1437 h 10000"/>
              <a:gd name="connsiteX23" fmla="*/ 8439 w 10000"/>
              <a:gd name="connsiteY23" fmla="*/ 1772 h 10000"/>
              <a:gd name="connsiteX24" fmla="*/ 8439 w 10000"/>
              <a:gd name="connsiteY24" fmla="*/ 3222 h 10000"/>
              <a:gd name="connsiteX25" fmla="*/ 8478 w 10000"/>
              <a:gd name="connsiteY25" fmla="*/ 3557 h 10000"/>
              <a:gd name="connsiteX26" fmla="*/ 10000 w 10000"/>
              <a:gd name="connsiteY26" fmla="*/ 3557 h 10000"/>
              <a:gd name="connsiteX0" fmla="*/ 0 w 9962"/>
              <a:gd name="connsiteY0" fmla="*/ 7868 h 10000"/>
              <a:gd name="connsiteX1" fmla="*/ 1749 w 9962"/>
              <a:gd name="connsiteY1" fmla="*/ 7868 h 10000"/>
              <a:gd name="connsiteX2" fmla="*/ 1788 w 9962"/>
              <a:gd name="connsiteY2" fmla="*/ 7533 h 10000"/>
              <a:gd name="connsiteX3" fmla="*/ 1788 w 9962"/>
              <a:gd name="connsiteY3" fmla="*/ 1796 h 10000"/>
              <a:gd name="connsiteX4" fmla="*/ 1827 w 9962"/>
              <a:gd name="connsiteY4" fmla="*/ 1461 h 10000"/>
              <a:gd name="connsiteX5" fmla="*/ 3591 w 9962"/>
              <a:gd name="connsiteY5" fmla="*/ 1461 h 10000"/>
              <a:gd name="connsiteX6" fmla="*/ 3630 w 9962"/>
              <a:gd name="connsiteY6" fmla="*/ 1796 h 10000"/>
              <a:gd name="connsiteX7" fmla="*/ 3630 w 9962"/>
              <a:gd name="connsiteY7" fmla="*/ 9665 h 10000"/>
              <a:gd name="connsiteX8" fmla="*/ 3669 w 9962"/>
              <a:gd name="connsiteY8" fmla="*/ 10000 h 10000"/>
              <a:gd name="connsiteX9" fmla="*/ 4886 w 9962"/>
              <a:gd name="connsiteY9" fmla="*/ 10000 h 10000"/>
              <a:gd name="connsiteX10" fmla="*/ 4925 w 9962"/>
              <a:gd name="connsiteY10" fmla="*/ 9665 h 10000"/>
              <a:gd name="connsiteX11" fmla="*/ 4925 w 9962"/>
              <a:gd name="connsiteY11" fmla="*/ 335 h 10000"/>
              <a:gd name="connsiteX12" fmla="*/ 4965 w 9962"/>
              <a:gd name="connsiteY12" fmla="*/ 0 h 10000"/>
              <a:gd name="connsiteX13" fmla="*/ 5840 w 9962"/>
              <a:gd name="connsiteY13" fmla="*/ 0 h 10000"/>
              <a:gd name="connsiteX14" fmla="*/ 5879 w 9962"/>
              <a:gd name="connsiteY14" fmla="*/ 335 h 10000"/>
              <a:gd name="connsiteX15" fmla="*/ 5879 w 9962"/>
              <a:gd name="connsiteY15" fmla="*/ 8575 h 10000"/>
              <a:gd name="connsiteX16" fmla="*/ 5918 w 9962"/>
              <a:gd name="connsiteY16" fmla="*/ 8910 h 10000"/>
              <a:gd name="connsiteX17" fmla="*/ 7693 w 9962"/>
              <a:gd name="connsiteY17" fmla="*/ 8910 h 10000"/>
              <a:gd name="connsiteX18" fmla="*/ 7732 w 9962"/>
              <a:gd name="connsiteY18" fmla="*/ 8575 h 10000"/>
              <a:gd name="connsiteX19" fmla="*/ 7732 w 9962"/>
              <a:gd name="connsiteY19" fmla="*/ 1772 h 10000"/>
              <a:gd name="connsiteX20" fmla="*/ 7771 w 9962"/>
              <a:gd name="connsiteY20" fmla="*/ 1437 h 10000"/>
              <a:gd name="connsiteX21" fmla="*/ 8363 w 9962"/>
              <a:gd name="connsiteY21" fmla="*/ 1437 h 10000"/>
              <a:gd name="connsiteX22" fmla="*/ 8401 w 9962"/>
              <a:gd name="connsiteY22" fmla="*/ 1772 h 10000"/>
              <a:gd name="connsiteX23" fmla="*/ 8401 w 9962"/>
              <a:gd name="connsiteY23" fmla="*/ 3222 h 10000"/>
              <a:gd name="connsiteX24" fmla="*/ 8440 w 9962"/>
              <a:gd name="connsiteY24" fmla="*/ 3557 h 10000"/>
              <a:gd name="connsiteX25" fmla="*/ 9962 w 9962"/>
              <a:gd name="connsiteY25" fmla="*/ 3557 h 10000"/>
              <a:gd name="connsiteX0" fmla="*/ 0 w 8472"/>
              <a:gd name="connsiteY0" fmla="*/ 7868 h 10000"/>
              <a:gd name="connsiteX1" fmla="*/ 1756 w 8472"/>
              <a:gd name="connsiteY1" fmla="*/ 7868 h 10000"/>
              <a:gd name="connsiteX2" fmla="*/ 1795 w 8472"/>
              <a:gd name="connsiteY2" fmla="*/ 7533 h 10000"/>
              <a:gd name="connsiteX3" fmla="*/ 1795 w 8472"/>
              <a:gd name="connsiteY3" fmla="*/ 1796 h 10000"/>
              <a:gd name="connsiteX4" fmla="*/ 1834 w 8472"/>
              <a:gd name="connsiteY4" fmla="*/ 1461 h 10000"/>
              <a:gd name="connsiteX5" fmla="*/ 3605 w 8472"/>
              <a:gd name="connsiteY5" fmla="*/ 1461 h 10000"/>
              <a:gd name="connsiteX6" fmla="*/ 3644 w 8472"/>
              <a:gd name="connsiteY6" fmla="*/ 1796 h 10000"/>
              <a:gd name="connsiteX7" fmla="*/ 3644 w 8472"/>
              <a:gd name="connsiteY7" fmla="*/ 9665 h 10000"/>
              <a:gd name="connsiteX8" fmla="*/ 3683 w 8472"/>
              <a:gd name="connsiteY8" fmla="*/ 10000 h 10000"/>
              <a:gd name="connsiteX9" fmla="*/ 4905 w 8472"/>
              <a:gd name="connsiteY9" fmla="*/ 10000 h 10000"/>
              <a:gd name="connsiteX10" fmla="*/ 4944 w 8472"/>
              <a:gd name="connsiteY10" fmla="*/ 9665 h 10000"/>
              <a:gd name="connsiteX11" fmla="*/ 4944 w 8472"/>
              <a:gd name="connsiteY11" fmla="*/ 335 h 10000"/>
              <a:gd name="connsiteX12" fmla="*/ 4984 w 8472"/>
              <a:gd name="connsiteY12" fmla="*/ 0 h 10000"/>
              <a:gd name="connsiteX13" fmla="*/ 5862 w 8472"/>
              <a:gd name="connsiteY13" fmla="*/ 0 h 10000"/>
              <a:gd name="connsiteX14" fmla="*/ 5901 w 8472"/>
              <a:gd name="connsiteY14" fmla="*/ 335 h 10000"/>
              <a:gd name="connsiteX15" fmla="*/ 5901 w 8472"/>
              <a:gd name="connsiteY15" fmla="*/ 8575 h 10000"/>
              <a:gd name="connsiteX16" fmla="*/ 5941 w 8472"/>
              <a:gd name="connsiteY16" fmla="*/ 8910 h 10000"/>
              <a:gd name="connsiteX17" fmla="*/ 7722 w 8472"/>
              <a:gd name="connsiteY17" fmla="*/ 8910 h 10000"/>
              <a:gd name="connsiteX18" fmla="*/ 7761 w 8472"/>
              <a:gd name="connsiteY18" fmla="*/ 8575 h 10000"/>
              <a:gd name="connsiteX19" fmla="*/ 7761 w 8472"/>
              <a:gd name="connsiteY19" fmla="*/ 1772 h 10000"/>
              <a:gd name="connsiteX20" fmla="*/ 7801 w 8472"/>
              <a:gd name="connsiteY20" fmla="*/ 1437 h 10000"/>
              <a:gd name="connsiteX21" fmla="*/ 8395 w 8472"/>
              <a:gd name="connsiteY21" fmla="*/ 1437 h 10000"/>
              <a:gd name="connsiteX22" fmla="*/ 8433 w 8472"/>
              <a:gd name="connsiteY22" fmla="*/ 1772 h 10000"/>
              <a:gd name="connsiteX23" fmla="*/ 8433 w 8472"/>
              <a:gd name="connsiteY23" fmla="*/ 3222 h 10000"/>
              <a:gd name="connsiteX24" fmla="*/ 8472 w 8472"/>
              <a:gd name="connsiteY24" fmla="*/ 3557 h 10000"/>
              <a:gd name="connsiteX0" fmla="*/ 0 w 9954"/>
              <a:gd name="connsiteY0" fmla="*/ 7868 h 10000"/>
              <a:gd name="connsiteX1" fmla="*/ 2073 w 9954"/>
              <a:gd name="connsiteY1" fmla="*/ 7868 h 10000"/>
              <a:gd name="connsiteX2" fmla="*/ 2119 w 9954"/>
              <a:gd name="connsiteY2" fmla="*/ 7533 h 10000"/>
              <a:gd name="connsiteX3" fmla="*/ 2119 w 9954"/>
              <a:gd name="connsiteY3" fmla="*/ 1796 h 10000"/>
              <a:gd name="connsiteX4" fmla="*/ 2165 w 9954"/>
              <a:gd name="connsiteY4" fmla="*/ 1461 h 10000"/>
              <a:gd name="connsiteX5" fmla="*/ 4255 w 9954"/>
              <a:gd name="connsiteY5" fmla="*/ 1461 h 10000"/>
              <a:gd name="connsiteX6" fmla="*/ 4301 w 9954"/>
              <a:gd name="connsiteY6" fmla="*/ 1796 h 10000"/>
              <a:gd name="connsiteX7" fmla="*/ 4301 w 9954"/>
              <a:gd name="connsiteY7" fmla="*/ 9665 h 10000"/>
              <a:gd name="connsiteX8" fmla="*/ 4347 w 9954"/>
              <a:gd name="connsiteY8" fmla="*/ 10000 h 10000"/>
              <a:gd name="connsiteX9" fmla="*/ 5790 w 9954"/>
              <a:gd name="connsiteY9" fmla="*/ 10000 h 10000"/>
              <a:gd name="connsiteX10" fmla="*/ 5836 w 9954"/>
              <a:gd name="connsiteY10" fmla="*/ 9665 h 10000"/>
              <a:gd name="connsiteX11" fmla="*/ 5836 w 9954"/>
              <a:gd name="connsiteY11" fmla="*/ 335 h 10000"/>
              <a:gd name="connsiteX12" fmla="*/ 5883 w 9954"/>
              <a:gd name="connsiteY12" fmla="*/ 0 h 10000"/>
              <a:gd name="connsiteX13" fmla="*/ 6919 w 9954"/>
              <a:gd name="connsiteY13" fmla="*/ 0 h 10000"/>
              <a:gd name="connsiteX14" fmla="*/ 6965 w 9954"/>
              <a:gd name="connsiteY14" fmla="*/ 335 h 10000"/>
              <a:gd name="connsiteX15" fmla="*/ 6965 w 9954"/>
              <a:gd name="connsiteY15" fmla="*/ 8575 h 10000"/>
              <a:gd name="connsiteX16" fmla="*/ 7013 w 9954"/>
              <a:gd name="connsiteY16" fmla="*/ 8910 h 10000"/>
              <a:gd name="connsiteX17" fmla="*/ 9115 w 9954"/>
              <a:gd name="connsiteY17" fmla="*/ 8910 h 10000"/>
              <a:gd name="connsiteX18" fmla="*/ 9161 w 9954"/>
              <a:gd name="connsiteY18" fmla="*/ 8575 h 10000"/>
              <a:gd name="connsiteX19" fmla="*/ 9161 w 9954"/>
              <a:gd name="connsiteY19" fmla="*/ 1772 h 10000"/>
              <a:gd name="connsiteX20" fmla="*/ 9208 w 9954"/>
              <a:gd name="connsiteY20" fmla="*/ 1437 h 10000"/>
              <a:gd name="connsiteX21" fmla="*/ 9909 w 9954"/>
              <a:gd name="connsiteY21" fmla="*/ 1437 h 10000"/>
              <a:gd name="connsiteX22" fmla="*/ 9954 w 9954"/>
              <a:gd name="connsiteY22" fmla="*/ 1772 h 10000"/>
              <a:gd name="connsiteX23" fmla="*/ 9954 w 9954"/>
              <a:gd name="connsiteY23" fmla="*/ 3222 h 10000"/>
              <a:gd name="connsiteX0" fmla="*/ 0 w 10000"/>
              <a:gd name="connsiteY0" fmla="*/ 7868 h 10000"/>
              <a:gd name="connsiteX1" fmla="*/ 2083 w 10000"/>
              <a:gd name="connsiteY1" fmla="*/ 7868 h 10000"/>
              <a:gd name="connsiteX2" fmla="*/ 2129 w 10000"/>
              <a:gd name="connsiteY2" fmla="*/ 7533 h 10000"/>
              <a:gd name="connsiteX3" fmla="*/ 2129 w 10000"/>
              <a:gd name="connsiteY3" fmla="*/ 1796 h 10000"/>
              <a:gd name="connsiteX4" fmla="*/ 2175 w 10000"/>
              <a:gd name="connsiteY4" fmla="*/ 1461 h 10000"/>
              <a:gd name="connsiteX5" fmla="*/ 4275 w 10000"/>
              <a:gd name="connsiteY5" fmla="*/ 1461 h 10000"/>
              <a:gd name="connsiteX6" fmla="*/ 4321 w 10000"/>
              <a:gd name="connsiteY6" fmla="*/ 1796 h 10000"/>
              <a:gd name="connsiteX7" fmla="*/ 4321 w 10000"/>
              <a:gd name="connsiteY7" fmla="*/ 9665 h 10000"/>
              <a:gd name="connsiteX8" fmla="*/ 4367 w 10000"/>
              <a:gd name="connsiteY8" fmla="*/ 10000 h 10000"/>
              <a:gd name="connsiteX9" fmla="*/ 5817 w 10000"/>
              <a:gd name="connsiteY9" fmla="*/ 10000 h 10000"/>
              <a:gd name="connsiteX10" fmla="*/ 5863 w 10000"/>
              <a:gd name="connsiteY10" fmla="*/ 9665 h 10000"/>
              <a:gd name="connsiteX11" fmla="*/ 5863 w 10000"/>
              <a:gd name="connsiteY11" fmla="*/ 335 h 10000"/>
              <a:gd name="connsiteX12" fmla="*/ 5910 w 10000"/>
              <a:gd name="connsiteY12" fmla="*/ 0 h 10000"/>
              <a:gd name="connsiteX13" fmla="*/ 6951 w 10000"/>
              <a:gd name="connsiteY13" fmla="*/ 0 h 10000"/>
              <a:gd name="connsiteX14" fmla="*/ 6997 w 10000"/>
              <a:gd name="connsiteY14" fmla="*/ 335 h 10000"/>
              <a:gd name="connsiteX15" fmla="*/ 6997 w 10000"/>
              <a:gd name="connsiteY15" fmla="*/ 8575 h 10000"/>
              <a:gd name="connsiteX16" fmla="*/ 7045 w 10000"/>
              <a:gd name="connsiteY16" fmla="*/ 8910 h 10000"/>
              <a:gd name="connsiteX17" fmla="*/ 9157 w 10000"/>
              <a:gd name="connsiteY17" fmla="*/ 8910 h 10000"/>
              <a:gd name="connsiteX18" fmla="*/ 9203 w 10000"/>
              <a:gd name="connsiteY18" fmla="*/ 8575 h 10000"/>
              <a:gd name="connsiteX19" fmla="*/ 9203 w 10000"/>
              <a:gd name="connsiteY19" fmla="*/ 1772 h 10000"/>
              <a:gd name="connsiteX20" fmla="*/ 9251 w 10000"/>
              <a:gd name="connsiteY20" fmla="*/ 1437 h 10000"/>
              <a:gd name="connsiteX21" fmla="*/ 9955 w 10000"/>
              <a:gd name="connsiteY21" fmla="*/ 1437 h 10000"/>
              <a:gd name="connsiteX22" fmla="*/ 10000 w 10000"/>
              <a:gd name="connsiteY22" fmla="*/ 1772 h 10000"/>
              <a:gd name="connsiteX0" fmla="*/ 0 w 9955"/>
              <a:gd name="connsiteY0" fmla="*/ 7868 h 10000"/>
              <a:gd name="connsiteX1" fmla="*/ 2083 w 9955"/>
              <a:gd name="connsiteY1" fmla="*/ 7868 h 10000"/>
              <a:gd name="connsiteX2" fmla="*/ 2129 w 9955"/>
              <a:gd name="connsiteY2" fmla="*/ 7533 h 10000"/>
              <a:gd name="connsiteX3" fmla="*/ 2129 w 9955"/>
              <a:gd name="connsiteY3" fmla="*/ 1796 h 10000"/>
              <a:gd name="connsiteX4" fmla="*/ 2175 w 9955"/>
              <a:gd name="connsiteY4" fmla="*/ 1461 h 10000"/>
              <a:gd name="connsiteX5" fmla="*/ 4275 w 9955"/>
              <a:gd name="connsiteY5" fmla="*/ 1461 h 10000"/>
              <a:gd name="connsiteX6" fmla="*/ 4321 w 9955"/>
              <a:gd name="connsiteY6" fmla="*/ 1796 h 10000"/>
              <a:gd name="connsiteX7" fmla="*/ 4321 w 9955"/>
              <a:gd name="connsiteY7" fmla="*/ 9665 h 10000"/>
              <a:gd name="connsiteX8" fmla="*/ 4367 w 9955"/>
              <a:gd name="connsiteY8" fmla="*/ 10000 h 10000"/>
              <a:gd name="connsiteX9" fmla="*/ 5817 w 9955"/>
              <a:gd name="connsiteY9" fmla="*/ 10000 h 10000"/>
              <a:gd name="connsiteX10" fmla="*/ 5863 w 9955"/>
              <a:gd name="connsiteY10" fmla="*/ 9665 h 10000"/>
              <a:gd name="connsiteX11" fmla="*/ 5863 w 9955"/>
              <a:gd name="connsiteY11" fmla="*/ 335 h 10000"/>
              <a:gd name="connsiteX12" fmla="*/ 5910 w 9955"/>
              <a:gd name="connsiteY12" fmla="*/ 0 h 10000"/>
              <a:gd name="connsiteX13" fmla="*/ 6951 w 9955"/>
              <a:gd name="connsiteY13" fmla="*/ 0 h 10000"/>
              <a:gd name="connsiteX14" fmla="*/ 6997 w 9955"/>
              <a:gd name="connsiteY14" fmla="*/ 335 h 10000"/>
              <a:gd name="connsiteX15" fmla="*/ 6997 w 9955"/>
              <a:gd name="connsiteY15" fmla="*/ 8575 h 10000"/>
              <a:gd name="connsiteX16" fmla="*/ 7045 w 9955"/>
              <a:gd name="connsiteY16" fmla="*/ 8910 h 10000"/>
              <a:gd name="connsiteX17" fmla="*/ 9157 w 9955"/>
              <a:gd name="connsiteY17" fmla="*/ 8910 h 10000"/>
              <a:gd name="connsiteX18" fmla="*/ 9203 w 9955"/>
              <a:gd name="connsiteY18" fmla="*/ 8575 h 10000"/>
              <a:gd name="connsiteX19" fmla="*/ 9203 w 9955"/>
              <a:gd name="connsiteY19" fmla="*/ 1772 h 10000"/>
              <a:gd name="connsiteX20" fmla="*/ 9251 w 9955"/>
              <a:gd name="connsiteY20" fmla="*/ 1437 h 10000"/>
              <a:gd name="connsiteX21" fmla="*/ 9955 w 9955"/>
              <a:gd name="connsiteY21" fmla="*/ 1437 h 10000"/>
              <a:gd name="connsiteX0" fmla="*/ 0 w 9293"/>
              <a:gd name="connsiteY0" fmla="*/ 7868 h 10000"/>
              <a:gd name="connsiteX1" fmla="*/ 2092 w 9293"/>
              <a:gd name="connsiteY1" fmla="*/ 7868 h 10000"/>
              <a:gd name="connsiteX2" fmla="*/ 2139 w 9293"/>
              <a:gd name="connsiteY2" fmla="*/ 7533 h 10000"/>
              <a:gd name="connsiteX3" fmla="*/ 2139 w 9293"/>
              <a:gd name="connsiteY3" fmla="*/ 1796 h 10000"/>
              <a:gd name="connsiteX4" fmla="*/ 2185 w 9293"/>
              <a:gd name="connsiteY4" fmla="*/ 1461 h 10000"/>
              <a:gd name="connsiteX5" fmla="*/ 4294 w 9293"/>
              <a:gd name="connsiteY5" fmla="*/ 1461 h 10000"/>
              <a:gd name="connsiteX6" fmla="*/ 4341 w 9293"/>
              <a:gd name="connsiteY6" fmla="*/ 1796 h 10000"/>
              <a:gd name="connsiteX7" fmla="*/ 4341 w 9293"/>
              <a:gd name="connsiteY7" fmla="*/ 9665 h 10000"/>
              <a:gd name="connsiteX8" fmla="*/ 4387 w 9293"/>
              <a:gd name="connsiteY8" fmla="*/ 10000 h 10000"/>
              <a:gd name="connsiteX9" fmla="*/ 5843 w 9293"/>
              <a:gd name="connsiteY9" fmla="*/ 10000 h 10000"/>
              <a:gd name="connsiteX10" fmla="*/ 5890 w 9293"/>
              <a:gd name="connsiteY10" fmla="*/ 9665 h 10000"/>
              <a:gd name="connsiteX11" fmla="*/ 5890 w 9293"/>
              <a:gd name="connsiteY11" fmla="*/ 335 h 10000"/>
              <a:gd name="connsiteX12" fmla="*/ 5937 w 9293"/>
              <a:gd name="connsiteY12" fmla="*/ 0 h 10000"/>
              <a:gd name="connsiteX13" fmla="*/ 6982 w 9293"/>
              <a:gd name="connsiteY13" fmla="*/ 0 h 10000"/>
              <a:gd name="connsiteX14" fmla="*/ 7029 w 9293"/>
              <a:gd name="connsiteY14" fmla="*/ 335 h 10000"/>
              <a:gd name="connsiteX15" fmla="*/ 7029 w 9293"/>
              <a:gd name="connsiteY15" fmla="*/ 8575 h 10000"/>
              <a:gd name="connsiteX16" fmla="*/ 7077 w 9293"/>
              <a:gd name="connsiteY16" fmla="*/ 8910 h 10000"/>
              <a:gd name="connsiteX17" fmla="*/ 9198 w 9293"/>
              <a:gd name="connsiteY17" fmla="*/ 8910 h 10000"/>
              <a:gd name="connsiteX18" fmla="*/ 9245 w 9293"/>
              <a:gd name="connsiteY18" fmla="*/ 8575 h 10000"/>
              <a:gd name="connsiteX19" fmla="*/ 9245 w 9293"/>
              <a:gd name="connsiteY19" fmla="*/ 1772 h 10000"/>
              <a:gd name="connsiteX20" fmla="*/ 9293 w 9293"/>
              <a:gd name="connsiteY20" fmla="*/ 1437 h 10000"/>
              <a:gd name="connsiteX0" fmla="*/ 0 w 9948"/>
              <a:gd name="connsiteY0" fmla="*/ 7868 h 10000"/>
              <a:gd name="connsiteX1" fmla="*/ 2251 w 9948"/>
              <a:gd name="connsiteY1" fmla="*/ 7868 h 10000"/>
              <a:gd name="connsiteX2" fmla="*/ 2302 w 9948"/>
              <a:gd name="connsiteY2" fmla="*/ 7533 h 10000"/>
              <a:gd name="connsiteX3" fmla="*/ 2302 w 9948"/>
              <a:gd name="connsiteY3" fmla="*/ 1796 h 10000"/>
              <a:gd name="connsiteX4" fmla="*/ 2351 w 9948"/>
              <a:gd name="connsiteY4" fmla="*/ 1461 h 10000"/>
              <a:gd name="connsiteX5" fmla="*/ 4621 w 9948"/>
              <a:gd name="connsiteY5" fmla="*/ 1461 h 10000"/>
              <a:gd name="connsiteX6" fmla="*/ 4671 w 9948"/>
              <a:gd name="connsiteY6" fmla="*/ 1796 h 10000"/>
              <a:gd name="connsiteX7" fmla="*/ 4671 w 9948"/>
              <a:gd name="connsiteY7" fmla="*/ 9665 h 10000"/>
              <a:gd name="connsiteX8" fmla="*/ 4721 w 9948"/>
              <a:gd name="connsiteY8" fmla="*/ 10000 h 10000"/>
              <a:gd name="connsiteX9" fmla="*/ 6288 w 9948"/>
              <a:gd name="connsiteY9" fmla="*/ 10000 h 10000"/>
              <a:gd name="connsiteX10" fmla="*/ 6338 w 9948"/>
              <a:gd name="connsiteY10" fmla="*/ 9665 h 10000"/>
              <a:gd name="connsiteX11" fmla="*/ 6338 w 9948"/>
              <a:gd name="connsiteY11" fmla="*/ 335 h 10000"/>
              <a:gd name="connsiteX12" fmla="*/ 6389 w 9948"/>
              <a:gd name="connsiteY12" fmla="*/ 0 h 10000"/>
              <a:gd name="connsiteX13" fmla="*/ 7513 w 9948"/>
              <a:gd name="connsiteY13" fmla="*/ 0 h 10000"/>
              <a:gd name="connsiteX14" fmla="*/ 7564 w 9948"/>
              <a:gd name="connsiteY14" fmla="*/ 335 h 10000"/>
              <a:gd name="connsiteX15" fmla="*/ 7564 w 9948"/>
              <a:gd name="connsiteY15" fmla="*/ 8575 h 10000"/>
              <a:gd name="connsiteX16" fmla="*/ 7615 w 9948"/>
              <a:gd name="connsiteY16" fmla="*/ 8910 h 10000"/>
              <a:gd name="connsiteX17" fmla="*/ 9898 w 9948"/>
              <a:gd name="connsiteY17" fmla="*/ 8910 h 10000"/>
              <a:gd name="connsiteX18" fmla="*/ 9948 w 9948"/>
              <a:gd name="connsiteY18" fmla="*/ 8575 h 10000"/>
              <a:gd name="connsiteX19" fmla="*/ 9948 w 9948"/>
              <a:gd name="connsiteY19" fmla="*/ 1772 h 10000"/>
              <a:gd name="connsiteX0" fmla="*/ 0 w 10000"/>
              <a:gd name="connsiteY0" fmla="*/ 7868 h 10000"/>
              <a:gd name="connsiteX1" fmla="*/ 2263 w 10000"/>
              <a:gd name="connsiteY1" fmla="*/ 7868 h 10000"/>
              <a:gd name="connsiteX2" fmla="*/ 2314 w 10000"/>
              <a:gd name="connsiteY2" fmla="*/ 7533 h 10000"/>
              <a:gd name="connsiteX3" fmla="*/ 2314 w 10000"/>
              <a:gd name="connsiteY3" fmla="*/ 1796 h 10000"/>
              <a:gd name="connsiteX4" fmla="*/ 2363 w 10000"/>
              <a:gd name="connsiteY4" fmla="*/ 1461 h 10000"/>
              <a:gd name="connsiteX5" fmla="*/ 4645 w 10000"/>
              <a:gd name="connsiteY5" fmla="*/ 1461 h 10000"/>
              <a:gd name="connsiteX6" fmla="*/ 4695 w 10000"/>
              <a:gd name="connsiteY6" fmla="*/ 1796 h 10000"/>
              <a:gd name="connsiteX7" fmla="*/ 4695 w 10000"/>
              <a:gd name="connsiteY7" fmla="*/ 9665 h 10000"/>
              <a:gd name="connsiteX8" fmla="*/ 4746 w 10000"/>
              <a:gd name="connsiteY8" fmla="*/ 10000 h 10000"/>
              <a:gd name="connsiteX9" fmla="*/ 6321 w 10000"/>
              <a:gd name="connsiteY9" fmla="*/ 10000 h 10000"/>
              <a:gd name="connsiteX10" fmla="*/ 6371 w 10000"/>
              <a:gd name="connsiteY10" fmla="*/ 9665 h 10000"/>
              <a:gd name="connsiteX11" fmla="*/ 6371 w 10000"/>
              <a:gd name="connsiteY11" fmla="*/ 335 h 10000"/>
              <a:gd name="connsiteX12" fmla="*/ 6422 w 10000"/>
              <a:gd name="connsiteY12" fmla="*/ 0 h 10000"/>
              <a:gd name="connsiteX13" fmla="*/ 7552 w 10000"/>
              <a:gd name="connsiteY13" fmla="*/ 0 h 10000"/>
              <a:gd name="connsiteX14" fmla="*/ 7604 w 10000"/>
              <a:gd name="connsiteY14" fmla="*/ 335 h 10000"/>
              <a:gd name="connsiteX15" fmla="*/ 7604 w 10000"/>
              <a:gd name="connsiteY15" fmla="*/ 8575 h 10000"/>
              <a:gd name="connsiteX16" fmla="*/ 7655 w 10000"/>
              <a:gd name="connsiteY16" fmla="*/ 8910 h 10000"/>
              <a:gd name="connsiteX17" fmla="*/ 9950 w 10000"/>
              <a:gd name="connsiteY17" fmla="*/ 8910 h 10000"/>
              <a:gd name="connsiteX18" fmla="*/ 10000 w 10000"/>
              <a:gd name="connsiteY18" fmla="*/ 8575 h 10000"/>
              <a:gd name="connsiteX0" fmla="*/ 0 w 8266"/>
              <a:gd name="connsiteY0" fmla="*/ 7916 h 10000"/>
              <a:gd name="connsiteX1" fmla="*/ 529 w 8266"/>
              <a:gd name="connsiteY1" fmla="*/ 7868 h 10000"/>
              <a:gd name="connsiteX2" fmla="*/ 580 w 8266"/>
              <a:gd name="connsiteY2" fmla="*/ 7533 h 10000"/>
              <a:gd name="connsiteX3" fmla="*/ 580 w 8266"/>
              <a:gd name="connsiteY3" fmla="*/ 1796 h 10000"/>
              <a:gd name="connsiteX4" fmla="*/ 629 w 8266"/>
              <a:gd name="connsiteY4" fmla="*/ 1461 h 10000"/>
              <a:gd name="connsiteX5" fmla="*/ 2911 w 8266"/>
              <a:gd name="connsiteY5" fmla="*/ 1461 h 10000"/>
              <a:gd name="connsiteX6" fmla="*/ 2961 w 8266"/>
              <a:gd name="connsiteY6" fmla="*/ 1796 h 10000"/>
              <a:gd name="connsiteX7" fmla="*/ 2961 w 8266"/>
              <a:gd name="connsiteY7" fmla="*/ 9665 h 10000"/>
              <a:gd name="connsiteX8" fmla="*/ 3012 w 8266"/>
              <a:gd name="connsiteY8" fmla="*/ 10000 h 10000"/>
              <a:gd name="connsiteX9" fmla="*/ 4587 w 8266"/>
              <a:gd name="connsiteY9" fmla="*/ 10000 h 10000"/>
              <a:gd name="connsiteX10" fmla="*/ 4637 w 8266"/>
              <a:gd name="connsiteY10" fmla="*/ 9665 h 10000"/>
              <a:gd name="connsiteX11" fmla="*/ 4637 w 8266"/>
              <a:gd name="connsiteY11" fmla="*/ 335 h 10000"/>
              <a:gd name="connsiteX12" fmla="*/ 4688 w 8266"/>
              <a:gd name="connsiteY12" fmla="*/ 0 h 10000"/>
              <a:gd name="connsiteX13" fmla="*/ 5818 w 8266"/>
              <a:gd name="connsiteY13" fmla="*/ 0 h 10000"/>
              <a:gd name="connsiteX14" fmla="*/ 5870 w 8266"/>
              <a:gd name="connsiteY14" fmla="*/ 335 h 10000"/>
              <a:gd name="connsiteX15" fmla="*/ 5870 w 8266"/>
              <a:gd name="connsiteY15" fmla="*/ 8575 h 10000"/>
              <a:gd name="connsiteX16" fmla="*/ 5921 w 8266"/>
              <a:gd name="connsiteY16" fmla="*/ 8910 h 10000"/>
              <a:gd name="connsiteX17" fmla="*/ 8216 w 8266"/>
              <a:gd name="connsiteY17" fmla="*/ 8910 h 10000"/>
              <a:gd name="connsiteX18" fmla="*/ 8266 w 8266"/>
              <a:gd name="connsiteY18" fmla="*/ 8575 h 10000"/>
              <a:gd name="connsiteX0" fmla="*/ 0 w 10000"/>
              <a:gd name="connsiteY0" fmla="*/ 7916 h 10000"/>
              <a:gd name="connsiteX1" fmla="*/ 640 w 10000"/>
              <a:gd name="connsiteY1" fmla="*/ 7868 h 10000"/>
              <a:gd name="connsiteX2" fmla="*/ 702 w 10000"/>
              <a:gd name="connsiteY2" fmla="*/ 7533 h 10000"/>
              <a:gd name="connsiteX3" fmla="*/ 702 w 10000"/>
              <a:gd name="connsiteY3" fmla="*/ 1796 h 10000"/>
              <a:gd name="connsiteX4" fmla="*/ 761 w 10000"/>
              <a:gd name="connsiteY4" fmla="*/ 1461 h 10000"/>
              <a:gd name="connsiteX5" fmla="*/ 3522 w 10000"/>
              <a:gd name="connsiteY5" fmla="*/ 1461 h 10000"/>
              <a:gd name="connsiteX6" fmla="*/ 3582 w 10000"/>
              <a:gd name="connsiteY6" fmla="*/ 1796 h 10000"/>
              <a:gd name="connsiteX7" fmla="*/ 3582 w 10000"/>
              <a:gd name="connsiteY7" fmla="*/ 9665 h 10000"/>
              <a:gd name="connsiteX8" fmla="*/ 3644 w 10000"/>
              <a:gd name="connsiteY8" fmla="*/ 10000 h 10000"/>
              <a:gd name="connsiteX9" fmla="*/ 5549 w 10000"/>
              <a:gd name="connsiteY9" fmla="*/ 10000 h 10000"/>
              <a:gd name="connsiteX10" fmla="*/ 5610 w 10000"/>
              <a:gd name="connsiteY10" fmla="*/ 9665 h 10000"/>
              <a:gd name="connsiteX11" fmla="*/ 5610 w 10000"/>
              <a:gd name="connsiteY11" fmla="*/ 335 h 10000"/>
              <a:gd name="connsiteX12" fmla="*/ 5671 w 10000"/>
              <a:gd name="connsiteY12" fmla="*/ 0 h 10000"/>
              <a:gd name="connsiteX13" fmla="*/ 7038 w 10000"/>
              <a:gd name="connsiteY13" fmla="*/ 0 h 10000"/>
              <a:gd name="connsiteX14" fmla="*/ 7101 w 10000"/>
              <a:gd name="connsiteY14" fmla="*/ 335 h 10000"/>
              <a:gd name="connsiteX15" fmla="*/ 7101 w 10000"/>
              <a:gd name="connsiteY15" fmla="*/ 8575 h 10000"/>
              <a:gd name="connsiteX16" fmla="*/ 7163 w 10000"/>
              <a:gd name="connsiteY16" fmla="*/ 8910 h 10000"/>
              <a:gd name="connsiteX17" fmla="*/ 9940 w 10000"/>
              <a:gd name="connsiteY17" fmla="*/ 8910 h 10000"/>
              <a:gd name="connsiteX18" fmla="*/ 10000 w 10000"/>
              <a:gd name="connsiteY18" fmla="*/ 8575 h 10000"/>
              <a:gd name="connsiteX0" fmla="*/ 0 w 9964"/>
              <a:gd name="connsiteY0" fmla="*/ 7882 h 10000"/>
              <a:gd name="connsiteX1" fmla="*/ 604 w 9964"/>
              <a:gd name="connsiteY1" fmla="*/ 7868 h 10000"/>
              <a:gd name="connsiteX2" fmla="*/ 666 w 9964"/>
              <a:gd name="connsiteY2" fmla="*/ 7533 h 10000"/>
              <a:gd name="connsiteX3" fmla="*/ 666 w 9964"/>
              <a:gd name="connsiteY3" fmla="*/ 1796 h 10000"/>
              <a:gd name="connsiteX4" fmla="*/ 725 w 9964"/>
              <a:gd name="connsiteY4" fmla="*/ 1461 h 10000"/>
              <a:gd name="connsiteX5" fmla="*/ 3486 w 9964"/>
              <a:gd name="connsiteY5" fmla="*/ 1461 h 10000"/>
              <a:gd name="connsiteX6" fmla="*/ 3546 w 9964"/>
              <a:gd name="connsiteY6" fmla="*/ 1796 h 10000"/>
              <a:gd name="connsiteX7" fmla="*/ 3546 w 9964"/>
              <a:gd name="connsiteY7" fmla="*/ 9665 h 10000"/>
              <a:gd name="connsiteX8" fmla="*/ 3608 w 9964"/>
              <a:gd name="connsiteY8" fmla="*/ 10000 h 10000"/>
              <a:gd name="connsiteX9" fmla="*/ 5513 w 9964"/>
              <a:gd name="connsiteY9" fmla="*/ 10000 h 10000"/>
              <a:gd name="connsiteX10" fmla="*/ 5574 w 9964"/>
              <a:gd name="connsiteY10" fmla="*/ 9665 h 10000"/>
              <a:gd name="connsiteX11" fmla="*/ 5574 w 9964"/>
              <a:gd name="connsiteY11" fmla="*/ 335 h 10000"/>
              <a:gd name="connsiteX12" fmla="*/ 5635 w 9964"/>
              <a:gd name="connsiteY12" fmla="*/ 0 h 10000"/>
              <a:gd name="connsiteX13" fmla="*/ 7002 w 9964"/>
              <a:gd name="connsiteY13" fmla="*/ 0 h 10000"/>
              <a:gd name="connsiteX14" fmla="*/ 7065 w 9964"/>
              <a:gd name="connsiteY14" fmla="*/ 335 h 10000"/>
              <a:gd name="connsiteX15" fmla="*/ 7065 w 9964"/>
              <a:gd name="connsiteY15" fmla="*/ 8575 h 10000"/>
              <a:gd name="connsiteX16" fmla="*/ 7127 w 9964"/>
              <a:gd name="connsiteY16" fmla="*/ 8910 h 10000"/>
              <a:gd name="connsiteX17" fmla="*/ 9904 w 9964"/>
              <a:gd name="connsiteY17" fmla="*/ 8910 h 10000"/>
              <a:gd name="connsiteX18" fmla="*/ 9964 w 9964"/>
              <a:gd name="connsiteY18" fmla="*/ 8575 h 10000"/>
              <a:gd name="connsiteX0" fmla="*/ 0 w 10018"/>
              <a:gd name="connsiteY0" fmla="*/ 7882 h 10000"/>
              <a:gd name="connsiteX1" fmla="*/ 624 w 10018"/>
              <a:gd name="connsiteY1" fmla="*/ 7868 h 10000"/>
              <a:gd name="connsiteX2" fmla="*/ 686 w 10018"/>
              <a:gd name="connsiteY2" fmla="*/ 7533 h 10000"/>
              <a:gd name="connsiteX3" fmla="*/ 686 w 10018"/>
              <a:gd name="connsiteY3" fmla="*/ 1796 h 10000"/>
              <a:gd name="connsiteX4" fmla="*/ 746 w 10018"/>
              <a:gd name="connsiteY4" fmla="*/ 1461 h 10000"/>
              <a:gd name="connsiteX5" fmla="*/ 3517 w 10018"/>
              <a:gd name="connsiteY5" fmla="*/ 1461 h 10000"/>
              <a:gd name="connsiteX6" fmla="*/ 3577 w 10018"/>
              <a:gd name="connsiteY6" fmla="*/ 1796 h 10000"/>
              <a:gd name="connsiteX7" fmla="*/ 3577 w 10018"/>
              <a:gd name="connsiteY7" fmla="*/ 9665 h 10000"/>
              <a:gd name="connsiteX8" fmla="*/ 3639 w 10018"/>
              <a:gd name="connsiteY8" fmla="*/ 10000 h 10000"/>
              <a:gd name="connsiteX9" fmla="*/ 5551 w 10018"/>
              <a:gd name="connsiteY9" fmla="*/ 10000 h 10000"/>
              <a:gd name="connsiteX10" fmla="*/ 5612 w 10018"/>
              <a:gd name="connsiteY10" fmla="*/ 9665 h 10000"/>
              <a:gd name="connsiteX11" fmla="*/ 5612 w 10018"/>
              <a:gd name="connsiteY11" fmla="*/ 335 h 10000"/>
              <a:gd name="connsiteX12" fmla="*/ 5673 w 10018"/>
              <a:gd name="connsiteY12" fmla="*/ 0 h 10000"/>
              <a:gd name="connsiteX13" fmla="*/ 7045 w 10018"/>
              <a:gd name="connsiteY13" fmla="*/ 0 h 10000"/>
              <a:gd name="connsiteX14" fmla="*/ 7109 w 10018"/>
              <a:gd name="connsiteY14" fmla="*/ 335 h 10000"/>
              <a:gd name="connsiteX15" fmla="*/ 7109 w 10018"/>
              <a:gd name="connsiteY15" fmla="*/ 8575 h 10000"/>
              <a:gd name="connsiteX16" fmla="*/ 7171 w 10018"/>
              <a:gd name="connsiteY16" fmla="*/ 8910 h 10000"/>
              <a:gd name="connsiteX17" fmla="*/ 9958 w 10018"/>
              <a:gd name="connsiteY17" fmla="*/ 8910 h 10000"/>
              <a:gd name="connsiteX18" fmla="*/ 10018 w 10018"/>
              <a:gd name="connsiteY18" fmla="*/ 8575 h 10000"/>
              <a:gd name="connsiteX0" fmla="*/ 0 w 10023"/>
              <a:gd name="connsiteY0" fmla="*/ 7857 h 10000"/>
              <a:gd name="connsiteX1" fmla="*/ 629 w 10023"/>
              <a:gd name="connsiteY1" fmla="*/ 7868 h 10000"/>
              <a:gd name="connsiteX2" fmla="*/ 691 w 10023"/>
              <a:gd name="connsiteY2" fmla="*/ 7533 h 10000"/>
              <a:gd name="connsiteX3" fmla="*/ 691 w 10023"/>
              <a:gd name="connsiteY3" fmla="*/ 1796 h 10000"/>
              <a:gd name="connsiteX4" fmla="*/ 751 w 10023"/>
              <a:gd name="connsiteY4" fmla="*/ 1461 h 10000"/>
              <a:gd name="connsiteX5" fmla="*/ 3522 w 10023"/>
              <a:gd name="connsiteY5" fmla="*/ 1461 h 10000"/>
              <a:gd name="connsiteX6" fmla="*/ 3582 w 10023"/>
              <a:gd name="connsiteY6" fmla="*/ 1796 h 10000"/>
              <a:gd name="connsiteX7" fmla="*/ 3582 w 10023"/>
              <a:gd name="connsiteY7" fmla="*/ 9665 h 10000"/>
              <a:gd name="connsiteX8" fmla="*/ 3644 w 10023"/>
              <a:gd name="connsiteY8" fmla="*/ 10000 h 10000"/>
              <a:gd name="connsiteX9" fmla="*/ 5556 w 10023"/>
              <a:gd name="connsiteY9" fmla="*/ 10000 h 10000"/>
              <a:gd name="connsiteX10" fmla="*/ 5617 w 10023"/>
              <a:gd name="connsiteY10" fmla="*/ 9665 h 10000"/>
              <a:gd name="connsiteX11" fmla="*/ 5617 w 10023"/>
              <a:gd name="connsiteY11" fmla="*/ 335 h 10000"/>
              <a:gd name="connsiteX12" fmla="*/ 5678 w 10023"/>
              <a:gd name="connsiteY12" fmla="*/ 0 h 10000"/>
              <a:gd name="connsiteX13" fmla="*/ 7050 w 10023"/>
              <a:gd name="connsiteY13" fmla="*/ 0 h 10000"/>
              <a:gd name="connsiteX14" fmla="*/ 7114 w 10023"/>
              <a:gd name="connsiteY14" fmla="*/ 335 h 10000"/>
              <a:gd name="connsiteX15" fmla="*/ 7114 w 10023"/>
              <a:gd name="connsiteY15" fmla="*/ 8575 h 10000"/>
              <a:gd name="connsiteX16" fmla="*/ 7176 w 10023"/>
              <a:gd name="connsiteY16" fmla="*/ 8910 h 10000"/>
              <a:gd name="connsiteX17" fmla="*/ 9963 w 10023"/>
              <a:gd name="connsiteY17" fmla="*/ 8910 h 10000"/>
              <a:gd name="connsiteX18" fmla="*/ 10023 w 10023"/>
              <a:gd name="connsiteY18" fmla="*/ 8575 h 10000"/>
              <a:gd name="connsiteX0" fmla="*/ 0 w 10023"/>
              <a:gd name="connsiteY0" fmla="*/ 7857 h 10000"/>
              <a:gd name="connsiteX1" fmla="*/ 629 w 10023"/>
              <a:gd name="connsiteY1" fmla="*/ 7868 h 10000"/>
              <a:gd name="connsiteX2" fmla="*/ 691 w 10023"/>
              <a:gd name="connsiteY2" fmla="*/ 7533 h 10000"/>
              <a:gd name="connsiteX3" fmla="*/ 691 w 10023"/>
              <a:gd name="connsiteY3" fmla="*/ 1796 h 10000"/>
              <a:gd name="connsiteX4" fmla="*/ 751 w 10023"/>
              <a:gd name="connsiteY4" fmla="*/ 1461 h 10000"/>
              <a:gd name="connsiteX5" fmla="*/ 3522 w 10023"/>
              <a:gd name="connsiteY5" fmla="*/ 1461 h 10000"/>
              <a:gd name="connsiteX6" fmla="*/ 3582 w 10023"/>
              <a:gd name="connsiteY6" fmla="*/ 1796 h 10000"/>
              <a:gd name="connsiteX7" fmla="*/ 3582 w 10023"/>
              <a:gd name="connsiteY7" fmla="*/ 9665 h 10000"/>
              <a:gd name="connsiteX8" fmla="*/ 3644 w 10023"/>
              <a:gd name="connsiteY8" fmla="*/ 10000 h 10000"/>
              <a:gd name="connsiteX9" fmla="*/ 5556 w 10023"/>
              <a:gd name="connsiteY9" fmla="*/ 10000 h 10000"/>
              <a:gd name="connsiteX10" fmla="*/ 5617 w 10023"/>
              <a:gd name="connsiteY10" fmla="*/ 9665 h 10000"/>
              <a:gd name="connsiteX11" fmla="*/ 5617 w 10023"/>
              <a:gd name="connsiteY11" fmla="*/ 335 h 10000"/>
              <a:gd name="connsiteX12" fmla="*/ 5678 w 10023"/>
              <a:gd name="connsiteY12" fmla="*/ 0 h 10000"/>
              <a:gd name="connsiteX13" fmla="*/ 7050 w 10023"/>
              <a:gd name="connsiteY13" fmla="*/ 0 h 10000"/>
              <a:gd name="connsiteX14" fmla="*/ 7114 w 10023"/>
              <a:gd name="connsiteY14" fmla="*/ 335 h 10000"/>
              <a:gd name="connsiteX15" fmla="*/ 7114 w 10023"/>
              <a:gd name="connsiteY15" fmla="*/ 8575 h 10000"/>
              <a:gd name="connsiteX16" fmla="*/ 7176 w 10023"/>
              <a:gd name="connsiteY16" fmla="*/ 8910 h 10000"/>
              <a:gd name="connsiteX17" fmla="*/ 10023 w 10023"/>
              <a:gd name="connsiteY17" fmla="*/ 8575 h 10000"/>
              <a:gd name="connsiteX0" fmla="*/ 0 w 8783"/>
              <a:gd name="connsiteY0" fmla="*/ 7857 h 10000"/>
              <a:gd name="connsiteX1" fmla="*/ 629 w 8783"/>
              <a:gd name="connsiteY1" fmla="*/ 7868 h 10000"/>
              <a:gd name="connsiteX2" fmla="*/ 691 w 8783"/>
              <a:gd name="connsiteY2" fmla="*/ 7533 h 10000"/>
              <a:gd name="connsiteX3" fmla="*/ 691 w 8783"/>
              <a:gd name="connsiteY3" fmla="*/ 1796 h 10000"/>
              <a:gd name="connsiteX4" fmla="*/ 751 w 8783"/>
              <a:gd name="connsiteY4" fmla="*/ 1461 h 10000"/>
              <a:gd name="connsiteX5" fmla="*/ 3522 w 8783"/>
              <a:gd name="connsiteY5" fmla="*/ 1461 h 10000"/>
              <a:gd name="connsiteX6" fmla="*/ 3582 w 8783"/>
              <a:gd name="connsiteY6" fmla="*/ 1796 h 10000"/>
              <a:gd name="connsiteX7" fmla="*/ 3582 w 8783"/>
              <a:gd name="connsiteY7" fmla="*/ 9665 h 10000"/>
              <a:gd name="connsiteX8" fmla="*/ 3644 w 8783"/>
              <a:gd name="connsiteY8" fmla="*/ 10000 h 10000"/>
              <a:gd name="connsiteX9" fmla="*/ 5556 w 8783"/>
              <a:gd name="connsiteY9" fmla="*/ 10000 h 10000"/>
              <a:gd name="connsiteX10" fmla="*/ 5617 w 8783"/>
              <a:gd name="connsiteY10" fmla="*/ 9665 h 10000"/>
              <a:gd name="connsiteX11" fmla="*/ 5617 w 8783"/>
              <a:gd name="connsiteY11" fmla="*/ 335 h 10000"/>
              <a:gd name="connsiteX12" fmla="*/ 5678 w 8783"/>
              <a:gd name="connsiteY12" fmla="*/ 0 h 10000"/>
              <a:gd name="connsiteX13" fmla="*/ 7050 w 8783"/>
              <a:gd name="connsiteY13" fmla="*/ 0 h 10000"/>
              <a:gd name="connsiteX14" fmla="*/ 7114 w 8783"/>
              <a:gd name="connsiteY14" fmla="*/ 335 h 10000"/>
              <a:gd name="connsiteX15" fmla="*/ 7114 w 8783"/>
              <a:gd name="connsiteY15" fmla="*/ 8575 h 10000"/>
              <a:gd name="connsiteX16" fmla="*/ 7176 w 8783"/>
              <a:gd name="connsiteY16" fmla="*/ 8910 h 10000"/>
              <a:gd name="connsiteX17" fmla="*/ 8783 w 8783"/>
              <a:gd name="connsiteY17" fmla="*/ 8893 h 10000"/>
              <a:gd name="connsiteX0" fmla="*/ 0 w 9997"/>
              <a:gd name="connsiteY0" fmla="*/ 7857 h 10000"/>
              <a:gd name="connsiteX1" fmla="*/ 716 w 9997"/>
              <a:gd name="connsiteY1" fmla="*/ 7868 h 10000"/>
              <a:gd name="connsiteX2" fmla="*/ 787 w 9997"/>
              <a:gd name="connsiteY2" fmla="*/ 7533 h 10000"/>
              <a:gd name="connsiteX3" fmla="*/ 787 w 9997"/>
              <a:gd name="connsiteY3" fmla="*/ 1796 h 10000"/>
              <a:gd name="connsiteX4" fmla="*/ 855 w 9997"/>
              <a:gd name="connsiteY4" fmla="*/ 1461 h 10000"/>
              <a:gd name="connsiteX5" fmla="*/ 4010 w 9997"/>
              <a:gd name="connsiteY5" fmla="*/ 1461 h 10000"/>
              <a:gd name="connsiteX6" fmla="*/ 4078 w 9997"/>
              <a:gd name="connsiteY6" fmla="*/ 1796 h 10000"/>
              <a:gd name="connsiteX7" fmla="*/ 4078 w 9997"/>
              <a:gd name="connsiteY7" fmla="*/ 9665 h 10000"/>
              <a:gd name="connsiteX8" fmla="*/ 4149 w 9997"/>
              <a:gd name="connsiteY8" fmla="*/ 10000 h 10000"/>
              <a:gd name="connsiteX9" fmla="*/ 6326 w 9997"/>
              <a:gd name="connsiteY9" fmla="*/ 10000 h 10000"/>
              <a:gd name="connsiteX10" fmla="*/ 6395 w 9997"/>
              <a:gd name="connsiteY10" fmla="*/ 9665 h 10000"/>
              <a:gd name="connsiteX11" fmla="*/ 6395 w 9997"/>
              <a:gd name="connsiteY11" fmla="*/ 335 h 10000"/>
              <a:gd name="connsiteX12" fmla="*/ 6465 w 9997"/>
              <a:gd name="connsiteY12" fmla="*/ 0 h 10000"/>
              <a:gd name="connsiteX13" fmla="*/ 8027 w 9997"/>
              <a:gd name="connsiteY13" fmla="*/ 0 h 10000"/>
              <a:gd name="connsiteX14" fmla="*/ 8100 w 9997"/>
              <a:gd name="connsiteY14" fmla="*/ 335 h 10000"/>
              <a:gd name="connsiteX15" fmla="*/ 8100 w 9997"/>
              <a:gd name="connsiteY15" fmla="*/ 8575 h 10000"/>
              <a:gd name="connsiteX16" fmla="*/ 8170 w 9997"/>
              <a:gd name="connsiteY16" fmla="*/ 8910 h 10000"/>
              <a:gd name="connsiteX17" fmla="*/ 9997 w 9997"/>
              <a:gd name="connsiteY17" fmla="*/ 8927 h 10000"/>
              <a:gd name="connsiteX0" fmla="*/ 0 w 10000"/>
              <a:gd name="connsiteY0" fmla="*/ 7857 h 10000"/>
              <a:gd name="connsiteX1" fmla="*/ 71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1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1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35 h 10000"/>
              <a:gd name="connsiteX17" fmla="*/ 10000 w 10000"/>
              <a:gd name="connsiteY17" fmla="*/ 8927 h 10000"/>
              <a:gd name="connsiteX0" fmla="*/ 0 w 10008"/>
              <a:gd name="connsiteY0" fmla="*/ 7857 h 10000"/>
              <a:gd name="connsiteX1" fmla="*/ 726 w 10008"/>
              <a:gd name="connsiteY1" fmla="*/ 7855 h 10000"/>
              <a:gd name="connsiteX2" fmla="*/ 787 w 10008"/>
              <a:gd name="connsiteY2" fmla="*/ 7533 h 10000"/>
              <a:gd name="connsiteX3" fmla="*/ 787 w 10008"/>
              <a:gd name="connsiteY3" fmla="*/ 1796 h 10000"/>
              <a:gd name="connsiteX4" fmla="*/ 855 w 10008"/>
              <a:gd name="connsiteY4" fmla="*/ 1461 h 10000"/>
              <a:gd name="connsiteX5" fmla="*/ 4011 w 10008"/>
              <a:gd name="connsiteY5" fmla="*/ 1461 h 10000"/>
              <a:gd name="connsiteX6" fmla="*/ 4079 w 10008"/>
              <a:gd name="connsiteY6" fmla="*/ 1796 h 10000"/>
              <a:gd name="connsiteX7" fmla="*/ 4079 w 10008"/>
              <a:gd name="connsiteY7" fmla="*/ 9665 h 10000"/>
              <a:gd name="connsiteX8" fmla="*/ 4150 w 10008"/>
              <a:gd name="connsiteY8" fmla="*/ 10000 h 10000"/>
              <a:gd name="connsiteX9" fmla="*/ 6328 w 10008"/>
              <a:gd name="connsiteY9" fmla="*/ 10000 h 10000"/>
              <a:gd name="connsiteX10" fmla="*/ 6397 w 10008"/>
              <a:gd name="connsiteY10" fmla="*/ 9665 h 10000"/>
              <a:gd name="connsiteX11" fmla="*/ 6397 w 10008"/>
              <a:gd name="connsiteY11" fmla="*/ 335 h 10000"/>
              <a:gd name="connsiteX12" fmla="*/ 6467 w 10008"/>
              <a:gd name="connsiteY12" fmla="*/ 0 h 10000"/>
              <a:gd name="connsiteX13" fmla="*/ 8029 w 10008"/>
              <a:gd name="connsiteY13" fmla="*/ 0 h 10000"/>
              <a:gd name="connsiteX14" fmla="*/ 8102 w 10008"/>
              <a:gd name="connsiteY14" fmla="*/ 335 h 10000"/>
              <a:gd name="connsiteX15" fmla="*/ 8102 w 10008"/>
              <a:gd name="connsiteY15" fmla="*/ 8575 h 10000"/>
              <a:gd name="connsiteX16" fmla="*/ 8172 w 10008"/>
              <a:gd name="connsiteY16" fmla="*/ 8935 h 10000"/>
              <a:gd name="connsiteX17" fmla="*/ 10008 w 10008"/>
              <a:gd name="connsiteY17" fmla="*/ 8927 h 10000"/>
              <a:gd name="connsiteX0" fmla="*/ 0 w 10016"/>
              <a:gd name="connsiteY0" fmla="*/ 7857 h 10000"/>
              <a:gd name="connsiteX1" fmla="*/ 726 w 10016"/>
              <a:gd name="connsiteY1" fmla="*/ 7855 h 10000"/>
              <a:gd name="connsiteX2" fmla="*/ 787 w 10016"/>
              <a:gd name="connsiteY2" fmla="*/ 7533 h 10000"/>
              <a:gd name="connsiteX3" fmla="*/ 787 w 10016"/>
              <a:gd name="connsiteY3" fmla="*/ 1796 h 10000"/>
              <a:gd name="connsiteX4" fmla="*/ 855 w 10016"/>
              <a:gd name="connsiteY4" fmla="*/ 1461 h 10000"/>
              <a:gd name="connsiteX5" fmla="*/ 4011 w 10016"/>
              <a:gd name="connsiteY5" fmla="*/ 1461 h 10000"/>
              <a:gd name="connsiteX6" fmla="*/ 4079 w 10016"/>
              <a:gd name="connsiteY6" fmla="*/ 1796 h 10000"/>
              <a:gd name="connsiteX7" fmla="*/ 4079 w 10016"/>
              <a:gd name="connsiteY7" fmla="*/ 9665 h 10000"/>
              <a:gd name="connsiteX8" fmla="*/ 4150 w 10016"/>
              <a:gd name="connsiteY8" fmla="*/ 10000 h 10000"/>
              <a:gd name="connsiteX9" fmla="*/ 6328 w 10016"/>
              <a:gd name="connsiteY9" fmla="*/ 10000 h 10000"/>
              <a:gd name="connsiteX10" fmla="*/ 6397 w 10016"/>
              <a:gd name="connsiteY10" fmla="*/ 9665 h 10000"/>
              <a:gd name="connsiteX11" fmla="*/ 6397 w 10016"/>
              <a:gd name="connsiteY11" fmla="*/ 335 h 10000"/>
              <a:gd name="connsiteX12" fmla="*/ 6467 w 10016"/>
              <a:gd name="connsiteY12" fmla="*/ 0 h 10000"/>
              <a:gd name="connsiteX13" fmla="*/ 8029 w 10016"/>
              <a:gd name="connsiteY13" fmla="*/ 0 h 10000"/>
              <a:gd name="connsiteX14" fmla="*/ 8102 w 10016"/>
              <a:gd name="connsiteY14" fmla="*/ 335 h 10000"/>
              <a:gd name="connsiteX15" fmla="*/ 8102 w 10016"/>
              <a:gd name="connsiteY15" fmla="*/ 8575 h 10000"/>
              <a:gd name="connsiteX16" fmla="*/ 8172 w 10016"/>
              <a:gd name="connsiteY16" fmla="*/ 8935 h 10000"/>
              <a:gd name="connsiteX17" fmla="*/ 10016 w 10016"/>
              <a:gd name="connsiteY17" fmla="*/ 8940 h 10000"/>
              <a:gd name="connsiteX0" fmla="*/ 0 w 10016"/>
              <a:gd name="connsiteY0" fmla="*/ 7857 h 10000"/>
              <a:gd name="connsiteX1" fmla="*/ 726 w 10016"/>
              <a:gd name="connsiteY1" fmla="*/ 7855 h 10000"/>
              <a:gd name="connsiteX2" fmla="*/ 787 w 10016"/>
              <a:gd name="connsiteY2" fmla="*/ 7533 h 10000"/>
              <a:gd name="connsiteX3" fmla="*/ 787 w 10016"/>
              <a:gd name="connsiteY3" fmla="*/ 1796 h 10000"/>
              <a:gd name="connsiteX4" fmla="*/ 855 w 10016"/>
              <a:gd name="connsiteY4" fmla="*/ 1461 h 10000"/>
              <a:gd name="connsiteX5" fmla="*/ 4011 w 10016"/>
              <a:gd name="connsiteY5" fmla="*/ 1461 h 10000"/>
              <a:gd name="connsiteX6" fmla="*/ 4079 w 10016"/>
              <a:gd name="connsiteY6" fmla="*/ 1796 h 10000"/>
              <a:gd name="connsiteX7" fmla="*/ 4079 w 10016"/>
              <a:gd name="connsiteY7" fmla="*/ 9665 h 10000"/>
              <a:gd name="connsiteX8" fmla="*/ 4150 w 10016"/>
              <a:gd name="connsiteY8" fmla="*/ 10000 h 10000"/>
              <a:gd name="connsiteX9" fmla="*/ 6328 w 10016"/>
              <a:gd name="connsiteY9" fmla="*/ 10000 h 10000"/>
              <a:gd name="connsiteX10" fmla="*/ 6397 w 10016"/>
              <a:gd name="connsiteY10" fmla="*/ 9665 h 10000"/>
              <a:gd name="connsiteX11" fmla="*/ 6397 w 10016"/>
              <a:gd name="connsiteY11" fmla="*/ 335 h 10000"/>
              <a:gd name="connsiteX12" fmla="*/ 6467 w 10016"/>
              <a:gd name="connsiteY12" fmla="*/ 0 h 10000"/>
              <a:gd name="connsiteX13" fmla="*/ 8029 w 10016"/>
              <a:gd name="connsiteY13" fmla="*/ 0 h 10000"/>
              <a:gd name="connsiteX14" fmla="*/ 8102 w 10016"/>
              <a:gd name="connsiteY14" fmla="*/ 335 h 10000"/>
              <a:gd name="connsiteX15" fmla="*/ 8102 w 10016"/>
              <a:gd name="connsiteY15" fmla="*/ 8575 h 10000"/>
              <a:gd name="connsiteX16" fmla="*/ 8172 w 10016"/>
              <a:gd name="connsiteY16" fmla="*/ 8935 h 10000"/>
              <a:gd name="connsiteX17" fmla="*/ 10016 w 10016"/>
              <a:gd name="connsiteY17" fmla="*/ 8927 h 10000"/>
              <a:gd name="connsiteX0" fmla="*/ 0 w 10050"/>
              <a:gd name="connsiteY0" fmla="*/ 7857 h 10000"/>
              <a:gd name="connsiteX1" fmla="*/ 726 w 10050"/>
              <a:gd name="connsiteY1" fmla="*/ 7855 h 10000"/>
              <a:gd name="connsiteX2" fmla="*/ 787 w 10050"/>
              <a:gd name="connsiteY2" fmla="*/ 7533 h 10000"/>
              <a:gd name="connsiteX3" fmla="*/ 787 w 10050"/>
              <a:gd name="connsiteY3" fmla="*/ 1796 h 10000"/>
              <a:gd name="connsiteX4" fmla="*/ 855 w 10050"/>
              <a:gd name="connsiteY4" fmla="*/ 1461 h 10000"/>
              <a:gd name="connsiteX5" fmla="*/ 4011 w 10050"/>
              <a:gd name="connsiteY5" fmla="*/ 1461 h 10000"/>
              <a:gd name="connsiteX6" fmla="*/ 4079 w 10050"/>
              <a:gd name="connsiteY6" fmla="*/ 1796 h 10000"/>
              <a:gd name="connsiteX7" fmla="*/ 4079 w 10050"/>
              <a:gd name="connsiteY7" fmla="*/ 9665 h 10000"/>
              <a:gd name="connsiteX8" fmla="*/ 4150 w 10050"/>
              <a:gd name="connsiteY8" fmla="*/ 10000 h 10000"/>
              <a:gd name="connsiteX9" fmla="*/ 6328 w 10050"/>
              <a:gd name="connsiteY9" fmla="*/ 10000 h 10000"/>
              <a:gd name="connsiteX10" fmla="*/ 6397 w 10050"/>
              <a:gd name="connsiteY10" fmla="*/ 9665 h 10000"/>
              <a:gd name="connsiteX11" fmla="*/ 6397 w 10050"/>
              <a:gd name="connsiteY11" fmla="*/ 335 h 10000"/>
              <a:gd name="connsiteX12" fmla="*/ 6467 w 10050"/>
              <a:gd name="connsiteY12" fmla="*/ 0 h 10000"/>
              <a:gd name="connsiteX13" fmla="*/ 8029 w 10050"/>
              <a:gd name="connsiteY13" fmla="*/ 0 h 10000"/>
              <a:gd name="connsiteX14" fmla="*/ 8102 w 10050"/>
              <a:gd name="connsiteY14" fmla="*/ 335 h 10000"/>
              <a:gd name="connsiteX15" fmla="*/ 8102 w 10050"/>
              <a:gd name="connsiteY15" fmla="*/ 8575 h 10000"/>
              <a:gd name="connsiteX16" fmla="*/ 8172 w 10050"/>
              <a:gd name="connsiteY16" fmla="*/ 8935 h 10000"/>
              <a:gd name="connsiteX17" fmla="*/ 10050 w 10050"/>
              <a:gd name="connsiteY17" fmla="*/ 8927 h 10000"/>
              <a:gd name="connsiteX0" fmla="*/ 0 w 10037"/>
              <a:gd name="connsiteY0" fmla="*/ 7857 h 10000"/>
              <a:gd name="connsiteX1" fmla="*/ 726 w 10037"/>
              <a:gd name="connsiteY1" fmla="*/ 7855 h 10000"/>
              <a:gd name="connsiteX2" fmla="*/ 787 w 10037"/>
              <a:gd name="connsiteY2" fmla="*/ 7533 h 10000"/>
              <a:gd name="connsiteX3" fmla="*/ 787 w 10037"/>
              <a:gd name="connsiteY3" fmla="*/ 1796 h 10000"/>
              <a:gd name="connsiteX4" fmla="*/ 855 w 10037"/>
              <a:gd name="connsiteY4" fmla="*/ 1461 h 10000"/>
              <a:gd name="connsiteX5" fmla="*/ 4011 w 10037"/>
              <a:gd name="connsiteY5" fmla="*/ 1461 h 10000"/>
              <a:gd name="connsiteX6" fmla="*/ 4079 w 10037"/>
              <a:gd name="connsiteY6" fmla="*/ 1796 h 10000"/>
              <a:gd name="connsiteX7" fmla="*/ 4079 w 10037"/>
              <a:gd name="connsiteY7" fmla="*/ 9665 h 10000"/>
              <a:gd name="connsiteX8" fmla="*/ 4150 w 10037"/>
              <a:gd name="connsiteY8" fmla="*/ 10000 h 10000"/>
              <a:gd name="connsiteX9" fmla="*/ 6328 w 10037"/>
              <a:gd name="connsiteY9" fmla="*/ 10000 h 10000"/>
              <a:gd name="connsiteX10" fmla="*/ 6397 w 10037"/>
              <a:gd name="connsiteY10" fmla="*/ 9665 h 10000"/>
              <a:gd name="connsiteX11" fmla="*/ 6397 w 10037"/>
              <a:gd name="connsiteY11" fmla="*/ 335 h 10000"/>
              <a:gd name="connsiteX12" fmla="*/ 6467 w 10037"/>
              <a:gd name="connsiteY12" fmla="*/ 0 h 10000"/>
              <a:gd name="connsiteX13" fmla="*/ 8029 w 10037"/>
              <a:gd name="connsiteY13" fmla="*/ 0 h 10000"/>
              <a:gd name="connsiteX14" fmla="*/ 8102 w 10037"/>
              <a:gd name="connsiteY14" fmla="*/ 335 h 10000"/>
              <a:gd name="connsiteX15" fmla="*/ 8102 w 10037"/>
              <a:gd name="connsiteY15" fmla="*/ 8575 h 10000"/>
              <a:gd name="connsiteX16" fmla="*/ 8172 w 10037"/>
              <a:gd name="connsiteY16" fmla="*/ 8935 h 10000"/>
              <a:gd name="connsiteX17" fmla="*/ 10037 w 10037"/>
              <a:gd name="connsiteY17" fmla="*/ 8940 h 10000"/>
              <a:gd name="connsiteX0" fmla="*/ 0 w 10037"/>
              <a:gd name="connsiteY0" fmla="*/ 7857 h 10000"/>
              <a:gd name="connsiteX1" fmla="*/ 726 w 10037"/>
              <a:gd name="connsiteY1" fmla="*/ 7855 h 10000"/>
              <a:gd name="connsiteX2" fmla="*/ 787 w 10037"/>
              <a:gd name="connsiteY2" fmla="*/ 7533 h 10000"/>
              <a:gd name="connsiteX3" fmla="*/ 787 w 10037"/>
              <a:gd name="connsiteY3" fmla="*/ 1796 h 10000"/>
              <a:gd name="connsiteX4" fmla="*/ 855 w 10037"/>
              <a:gd name="connsiteY4" fmla="*/ 1461 h 10000"/>
              <a:gd name="connsiteX5" fmla="*/ 4011 w 10037"/>
              <a:gd name="connsiteY5" fmla="*/ 1461 h 10000"/>
              <a:gd name="connsiteX6" fmla="*/ 4079 w 10037"/>
              <a:gd name="connsiteY6" fmla="*/ 1796 h 10000"/>
              <a:gd name="connsiteX7" fmla="*/ 4079 w 10037"/>
              <a:gd name="connsiteY7" fmla="*/ 9665 h 10000"/>
              <a:gd name="connsiteX8" fmla="*/ 4150 w 10037"/>
              <a:gd name="connsiteY8" fmla="*/ 10000 h 10000"/>
              <a:gd name="connsiteX9" fmla="*/ 6328 w 10037"/>
              <a:gd name="connsiteY9" fmla="*/ 10000 h 10000"/>
              <a:gd name="connsiteX10" fmla="*/ 6397 w 10037"/>
              <a:gd name="connsiteY10" fmla="*/ 9665 h 10000"/>
              <a:gd name="connsiteX11" fmla="*/ 6397 w 10037"/>
              <a:gd name="connsiteY11" fmla="*/ 335 h 10000"/>
              <a:gd name="connsiteX12" fmla="*/ 6467 w 10037"/>
              <a:gd name="connsiteY12" fmla="*/ 0 h 10000"/>
              <a:gd name="connsiteX13" fmla="*/ 8029 w 10037"/>
              <a:gd name="connsiteY13" fmla="*/ 0 h 10000"/>
              <a:gd name="connsiteX14" fmla="*/ 8102 w 10037"/>
              <a:gd name="connsiteY14" fmla="*/ 335 h 10000"/>
              <a:gd name="connsiteX15" fmla="*/ 8102 w 10037"/>
              <a:gd name="connsiteY15" fmla="*/ 8575 h 10000"/>
              <a:gd name="connsiteX16" fmla="*/ 8172 w 10037"/>
              <a:gd name="connsiteY16" fmla="*/ 8935 h 10000"/>
              <a:gd name="connsiteX17" fmla="*/ 10037 w 10037"/>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28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28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66 h 10000"/>
              <a:gd name="connsiteX0" fmla="*/ 0 w 9995"/>
              <a:gd name="connsiteY0" fmla="*/ 7857 h 10000"/>
              <a:gd name="connsiteX1" fmla="*/ 726 w 9995"/>
              <a:gd name="connsiteY1" fmla="*/ 7855 h 10000"/>
              <a:gd name="connsiteX2" fmla="*/ 787 w 9995"/>
              <a:gd name="connsiteY2" fmla="*/ 7533 h 10000"/>
              <a:gd name="connsiteX3" fmla="*/ 787 w 9995"/>
              <a:gd name="connsiteY3" fmla="*/ 1796 h 10000"/>
              <a:gd name="connsiteX4" fmla="*/ 855 w 9995"/>
              <a:gd name="connsiteY4" fmla="*/ 1461 h 10000"/>
              <a:gd name="connsiteX5" fmla="*/ 4011 w 9995"/>
              <a:gd name="connsiteY5" fmla="*/ 1461 h 10000"/>
              <a:gd name="connsiteX6" fmla="*/ 4079 w 9995"/>
              <a:gd name="connsiteY6" fmla="*/ 1796 h 10000"/>
              <a:gd name="connsiteX7" fmla="*/ 4079 w 9995"/>
              <a:gd name="connsiteY7" fmla="*/ 9665 h 10000"/>
              <a:gd name="connsiteX8" fmla="*/ 4150 w 9995"/>
              <a:gd name="connsiteY8" fmla="*/ 10000 h 10000"/>
              <a:gd name="connsiteX9" fmla="*/ 6328 w 9995"/>
              <a:gd name="connsiteY9" fmla="*/ 10000 h 10000"/>
              <a:gd name="connsiteX10" fmla="*/ 6397 w 9995"/>
              <a:gd name="connsiteY10" fmla="*/ 9665 h 10000"/>
              <a:gd name="connsiteX11" fmla="*/ 6397 w 9995"/>
              <a:gd name="connsiteY11" fmla="*/ 335 h 10000"/>
              <a:gd name="connsiteX12" fmla="*/ 6467 w 9995"/>
              <a:gd name="connsiteY12" fmla="*/ 0 h 10000"/>
              <a:gd name="connsiteX13" fmla="*/ 8029 w 9995"/>
              <a:gd name="connsiteY13" fmla="*/ 0 h 10000"/>
              <a:gd name="connsiteX14" fmla="*/ 8102 w 9995"/>
              <a:gd name="connsiteY14" fmla="*/ 335 h 10000"/>
              <a:gd name="connsiteX15" fmla="*/ 8102 w 9995"/>
              <a:gd name="connsiteY15" fmla="*/ 8575 h 10000"/>
              <a:gd name="connsiteX16" fmla="*/ 8172 w 9995"/>
              <a:gd name="connsiteY16" fmla="*/ 8935 h 10000"/>
              <a:gd name="connsiteX17" fmla="*/ 9995 w 9995"/>
              <a:gd name="connsiteY17" fmla="*/ 8916 h 10000"/>
              <a:gd name="connsiteX0" fmla="*/ 0 w 10005"/>
              <a:gd name="connsiteY0" fmla="*/ 7857 h 10000"/>
              <a:gd name="connsiteX1" fmla="*/ 726 w 10005"/>
              <a:gd name="connsiteY1" fmla="*/ 7855 h 10000"/>
              <a:gd name="connsiteX2" fmla="*/ 787 w 10005"/>
              <a:gd name="connsiteY2" fmla="*/ 7533 h 10000"/>
              <a:gd name="connsiteX3" fmla="*/ 787 w 10005"/>
              <a:gd name="connsiteY3" fmla="*/ 1796 h 10000"/>
              <a:gd name="connsiteX4" fmla="*/ 855 w 10005"/>
              <a:gd name="connsiteY4" fmla="*/ 1461 h 10000"/>
              <a:gd name="connsiteX5" fmla="*/ 4013 w 10005"/>
              <a:gd name="connsiteY5" fmla="*/ 1461 h 10000"/>
              <a:gd name="connsiteX6" fmla="*/ 4081 w 10005"/>
              <a:gd name="connsiteY6" fmla="*/ 1796 h 10000"/>
              <a:gd name="connsiteX7" fmla="*/ 4081 w 10005"/>
              <a:gd name="connsiteY7" fmla="*/ 9665 h 10000"/>
              <a:gd name="connsiteX8" fmla="*/ 4152 w 10005"/>
              <a:gd name="connsiteY8" fmla="*/ 10000 h 10000"/>
              <a:gd name="connsiteX9" fmla="*/ 6331 w 10005"/>
              <a:gd name="connsiteY9" fmla="*/ 10000 h 10000"/>
              <a:gd name="connsiteX10" fmla="*/ 6400 w 10005"/>
              <a:gd name="connsiteY10" fmla="*/ 9665 h 10000"/>
              <a:gd name="connsiteX11" fmla="*/ 6400 w 10005"/>
              <a:gd name="connsiteY11" fmla="*/ 335 h 10000"/>
              <a:gd name="connsiteX12" fmla="*/ 6470 w 10005"/>
              <a:gd name="connsiteY12" fmla="*/ 0 h 10000"/>
              <a:gd name="connsiteX13" fmla="*/ 8033 w 10005"/>
              <a:gd name="connsiteY13" fmla="*/ 0 h 10000"/>
              <a:gd name="connsiteX14" fmla="*/ 8106 w 10005"/>
              <a:gd name="connsiteY14" fmla="*/ 335 h 10000"/>
              <a:gd name="connsiteX15" fmla="*/ 8106 w 10005"/>
              <a:gd name="connsiteY15" fmla="*/ 8575 h 10000"/>
              <a:gd name="connsiteX16" fmla="*/ 8176 w 10005"/>
              <a:gd name="connsiteY16" fmla="*/ 8935 h 10000"/>
              <a:gd name="connsiteX17" fmla="*/ 10005 w 10005"/>
              <a:gd name="connsiteY17" fmla="*/ 8941 h 10000"/>
              <a:gd name="connsiteX0" fmla="*/ 0 w 10005"/>
              <a:gd name="connsiteY0" fmla="*/ 7857 h 10000"/>
              <a:gd name="connsiteX1" fmla="*/ 726 w 10005"/>
              <a:gd name="connsiteY1" fmla="*/ 7855 h 10000"/>
              <a:gd name="connsiteX2" fmla="*/ 787 w 10005"/>
              <a:gd name="connsiteY2" fmla="*/ 7533 h 10000"/>
              <a:gd name="connsiteX3" fmla="*/ 787 w 10005"/>
              <a:gd name="connsiteY3" fmla="*/ 1796 h 10000"/>
              <a:gd name="connsiteX4" fmla="*/ 855 w 10005"/>
              <a:gd name="connsiteY4" fmla="*/ 1461 h 10000"/>
              <a:gd name="connsiteX5" fmla="*/ 4013 w 10005"/>
              <a:gd name="connsiteY5" fmla="*/ 1461 h 10000"/>
              <a:gd name="connsiteX6" fmla="*/ 4081 w 10005"/>
              <a:gd name="connsiteY6" fmla="*/ 1796 h 10000"/>
              <a:gd name="connsiteX7" fmla="*/ 4081 w 10005"/>
              <a:gd name="connsiteY7" fmla="*/ 9665 h 10000"/>
              <a:gd name="connsiteX8" fmla="*/ 4152 w 10005"/>
              <a:gd name="connsiteY8" fmla="*/ 10000 h 10000"/>
              <a:gd name="connsiteX9" fmla="*/ 6331 w 10005"/>
              <a:gd name="connsiteY9" fmla="*/ 10000 h 10000"/>
              <a:gd name="connsiteX10" fmla="*/ 6400 w 10005"/>
              <a:gd name="connsiteY10" fmla="*/ 9665 h 10000"/>
              <a:gd name="connsiteX11" fmla="*/ 6400 w 10005"/>
              <a:gd name="connsiteY11" fmla="*/ 335 h 10000"/>
              <a:gd name="connsiteX12" fmla="*/ 6470 w 10005"/>
              <a:gd name="connsiteY12" fmla="*/ 0 h 10000"/>
              <a:gd name="connsiteX13" fmla="*/ 8033 w 10005"/>
              <a:gd name="connsiteY13" fmla="*/ 0 h 10000"/>
              <a:gd name="connsiteX14" fmla="*/ 8106 w 10005"/>
              <a:gd name="connsiteY14" fmla="*/ 335 h 10000"/>
              <a:gd name="connsiteX15" fmla="*/ 8106 w 10005"/>
              <a:gd name="connsiteY15" fmla="*/ 8575 h 10000"/>
              <a:gd name="connsiteX16" fmla="*/ 8176 w 10005"/>
              <a:gd name="connsiteY16" fmla="*/ 8935 h 10000"/>
              <a:gd name="connsiteX17" fmla="*/ 10005 w 10005"/>
              <a:gd name="connsiteY17" fmla="*/ 8941 h 10000"/>
              <a:gd name="connsiteX0" fmla="*/ 0 w 10005"/>
              <a:gd name="connsiteY0" fmla="*/ 7857 h 10000"/>
              <a:gd name="connsiteX1" fmla="*/ 726 w 10005"/>
              <a:gd name="connsiteY1" fmla="*/ 7855 h 10000"/>
              <a:gd name="connsiteX2" fmla="*/ 787 w 10005"/>
              <a:gd name="connsiteY2" fmla="*/ 7533 h 10000"/>
              <a:gd name="connsiteX3" fmla="*/ 787 w 10005"/>
              <a:gd name="connsiteY3" fmla="*/ 1796 h 10000"/>
              <a:gd name="connsiteX4" fmla="*/ 855 w 10005"/>
              <a:gd name="connsiteY4" fmla="*/ 1461 h 10000"/>
              <a:gd name="connsiteX5" fmla="*/ 4013 w 10005"/>
              <a:gd name="connsiteY5" fmla="*/ 1461 h 10000"/>
              <a:gd name="connsiteX6" fmla="*/ 4081 w 10005"/>
              <a:gd name="connsiteY6" fmla="*/ 1796 h 10000"/>
              <a:gd name="connsiteX7" fmla="*/ 4081 w 10005"/>
              <a:gd name="connsiteY7" fmla="*/ 9665 h 10000"/>
              <a:gd name="connsiteX8" fmla="*/ 4152 w 10005"/>
              <a:gd name="connsiteY8" fmla="*/ 10000 h 10000"/>
              <a:gd name="connsiteX9" fmla="*/ 6331 w 10005"/>
              <a:gd name="connsiteY9" fmla="*/ 10000 h 10000"/>
              <a:gd name="connsiteX10" fmla="*/ 6400 w 10005"/>
              <a:gd name="connsiteY10" fmla="*/ 9665 h 10000"/>
              <a:gd name="connsiteX11" fmla="*/ 6400 w 10005"/>
              <a:gd name="connsiteY11" fmla="*/ 335 h 10000"/>
              <a:gd name="connsiteX12" fmla="*/ 6470 w 10005"/>
              <a:gd name="connsiteY12" fmla="*/ 0 h 10000"/>
              <a:gd name="connsiteX13" fmla="*/ 8033 w 10005"/>
              <a:gd name="connsiteY13" fmla="*/ 0 h 10000"/>
              <a:gd name="connsiteX14" fmla="*/ 8106 w 10005"/>
              <a:gd name="connsiteY14" fmla="*/ 335 h 10000"/>
              <a:gd name="connsiteX15" fmla="*/ 8106 w 10005"/>
              <a:gd name="connsiteY15" fmla="*/ 8575 h 10000"/>
              <a:gd name="connsiteX16" fmla="*/ 8176 w 10005"/>
              <a:gd name="connsiteY16" fmla="*/ 8935 h 10000"/>
              <a:gd name="connsiteX17" fmla="*/ 10005 w 10005"/>
              <a:gd name="connsiteY17" fmla="*/ 8941 h 10000"/>
              <a:gd name="connsiteX0" fmla="*/ 0 w 10015"/>
              <a:gd name="connsiteY0" fmla="*/ 7857 h 10000"/>
              <a:gd name="connsiteX1" fmla="*/ 726 w 10015"/>
              <a:gd name="connsiteY1" fmla="*/ 7855 h 10000"/>
              <a:gd name="connsiteX2" fmla="*/ 787 w 10015"/>
              <a:gd name="connsiteY2" fmla="*/ 7533 h 10000"/>
              <a:gd name="connsiteX3" fmla="*/ 787 w 10015"/>
              <a:gd name="connsiteY3" fmla="*/ 1796 h 10000"/>
              <a:gd name="connsiteX4" fmla="*/ 855 w 10015"/>
              <a:gd name="connsiteY4" fmla="*/ 1461 h 10000"/>
              <a:gd name="connsiteX5" fmla="*/ 4013 w 10015"/>
              <a:gd name="connsiteY5" fmla="*/ 1461 h 10000"/>
              <a:gd name="connsiteX6" fmla="*/ 4081 w 10015"/>
              <a:gd name="connsiteY6" fmla="*/ 1796 h 10000"/>
              <a:gd name="connsiteX7" fmla="*/ 4081 w 10015"/>
              <a:gd name="connsiteY7" fmla="*/ 9665 h 10000"/>
              <a:gd name="connsiteX8" fmla="*/ 4152 w 10015"/>
              <a:gd name="connsiteY8" fmla="*/ 10000 h 10000"/>
              <a:gd name="connsiteX9" fmla="*/ 6331 w 10015"/>
              <a:gd name="connsiteY9" fmla="*/ 10000 h 10000"/>
              <a:gd name="connsiteX10" fmla="*/ 6400 w 10015"/>
              <a:gd name="connsiteY10" fmla="*/ 9665 h 10000"/>
              <a:gd name="connsiteX11" fmla="*/ 6400 w 10015"/>
              <a:gd name="connsiteY11" fmla="*/ 335 h 10000"/>
              <a:gd name="connsiteX12" fmla="*/ 6470 w 10015"/>
              <a:gd name="connsiteY12" fmla="*/ 0 h 10000"/>
              <a:gd name="connsiteX13" fmla="*/ 8033 w 10015"/>
              <a:gd name="connsiteY13" fmla="*/ 0 h 10000"/>
              <a:gd name="connsiteX14" fmla="*/ 8106 w 10015"/>
              <a:gd name="connsiteY14" fmla="*/ 335 h 10000"/>
              <a:gd name="connsiteX15" fmla="*/ 8106 w 10015"/>
              <a:gd name="connsiteY15" fmla="*/ 8575 h 10000"/>
              <a:gd name="connsiteX16" fmla="*/ 8176 w 10015"/>
              <a:gd name="connsiteY16" fmla="*/ 8935 h 10000"/>
              <a:gd name="connsiteX17" fmla="*/ 10015 w 10015"/>
              <a:gd name="connsiteY17" fmla="*/ 894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015" h="10000">
                <a:moveTo>
                  <a:pt x="0" y="7857"/>
                </a:moveTo>
                <a:cubicBezTo>
                  <a:pt x="34" y="7853"/>
                  <a:pt x="360" y="7855"/>
                  <a:pt x="726" y="7855"/>
                </a:cubicBezTo>
                <a:cubicBezTo>
                  <a:pt x="766" y="7855"/>
                  <a:pt x="787" y="7713"/>
                  <a:pt x="787" y="7533"/>
                </a:cubicBezTo>
                <a:lnTo>
                  <a:pt x="787" y="1796"/>
                </a:lnTo>
                <a:cubicBezTo>
                  <a:pt x="787" y="1605"/>
                  <a:pt x="815" y="1461"/>
                  <a:pt x="855" y="1461"/>
                </a:cubicBezTo>
                <a:lnTo>
                  <a:pt x="4013" y="1461"/>
                </a:lnTo>
                <a:cubicBezTo>
                  <a:pt x="4049" y="1461"/>
                  <a:pt x="4081" y="1605"/>
                  <a:pt x="4081" y="1796"/>
                </a:cubicBezTo>
                <a:lnTo>
                  <a:pt x="4081" y="9665"/>
                </a:lnTo>
                <a:cubicBezTo>
                  <a:pt x="4081" y="9844"/>
                  <a:pt x="4112" y="10000"/>
                  <a:pt x="4152" y="10000"/>
                </a:cubicBezTo>
                <a:lnTo>
                  <a:pt x="6331" y="10000"/>
                </a:lnTo>
                <a:cubicBezTo>
                  <a:pt x="6371" y="10000"/>
                  <a:pt x="6400" y="9844"/>
                  <a:pt x="6400" y="9665"/>
                </a:cubicBezTo>
                <a:lnTo>
                  <a:pt x="6400" y="335"/>
                </a:lnTo>
                <a:cubicBezTo>
                  <a:pt x="6400" y="156"/>
                  <a:pt x="6432" y="0"/>
                  <a:pt x="6470" y="0"/>
                </a:cubicBezTo>
                <a:lnTo>
                  <a:pt x="8033" y="0"/>
                </a:lnTo>
                <a:cubicBezTo>
                  <a:pt x="8075" y="0"/>
                  <a:pt x="8106" y="156"/>
                  <a:pt x="8106" y="335"/>
                </a:cubicBezTo>
                <a:lnTo>
                  <a:pt x="8106" y="8575"/>
                </a:lnTo>
                <a:cubicBezTo>
                  <a:pt x="8106" y="8754"/>
                  <a:pt x="8138" y="8935"/>
                  <a:pt x="8176" y="8935"/>
                </a:cubicBezTo>
                <a:cubicBezTo>
                  <a:pt x="8276" y="8937"/>
                  <a:pt x="9405" y="8939"/>
                  <a:pt x="10015" y="8941"/>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Freeform 10"/>
          <p:cNvSpPr>
            <a:spLocks/>
          </p:cNvSpPr>
          <p:nvPr/>
        </p:nvSpPr>
        <p:spPr bwMode="gray">
          <a:xfrm>
            <a:off x="3" y="4482313"/>
            <a:ext cx="9143997" cy="1084634"/>
          </a:xfrm>
          <a:custGeom>
            <a:avLst/>
            <a:gdLst>
              <a:gd name="T0" fmla="*/ 0 w 8479"/>
              <a:gd name="T1" fmla="*/ 130 h 583"/>
              <a:gd name="T2" fmla="*/ 419 w 8479"/>
              <a:gd name="T3" fmla="*/ 130 h 583"/>
              <a:gd name="T4" fmla="*/ 447 w 8479"/>
              <a:gd name="T5" fmla="*/ 158 h 583"/>
              <a:gd name="T6" fmla="*/ 447 w 8479"/>
              <a:gd name="T7" fmla="*/ 458 h 583"/>
              <a:gd name="T8" fmla="*/ 475 w 8479"/>
              <a:gd name="T9" fmla="*/ 486 h 583"/>
              <a:gd name="T10" fmla="*/ 1724 w 8479"/>
              <a:gd name="T11" fmla="*/ 486 h 583"/>
              <a:gd name="T12" fmla="*/ 1752 w 8479"/>
              <a:gd name="T13" fmla="*/ 458 h 583"/>
              <a:gd name="T14" fmla="*/ 1752 w 8479"/>
              <a:gd name="T15" fmla="*/ 36 h 583"/>
              <a:gd name="T16" fmla="*/ 1780 w 8479"/>
              <a:gd name="T17" fmla="*/ 8 h 583"/>
              <a:gd name="T18" fmla="*/ 2675 w 8479"/>
              <a:gd name="T19" fmla="*/ 8 h 583"/>
              <a:gd name="T20" fmla="*/ 2703 w 8479"/>
              <a:gd name="T21" fmla="*/ 36 h 583"/>
              <a:gd name="T22" fmla="*/ 2703 w 8479"/>
              <a:gd name="T23" fmla="*/ 458 h 583"/>
              <a:gd name="T24" fmla="*/ 2731 w 8479"/>
              <a:gd name="T25" fmla="*/ 486 h 583"/>
              <a:gd name="T26" fmla="*/ 4228 w 8479"/>
              <a:gd name="T27" fmla="*/ 486 h 583"/>
              <a:gd name="T28" fmla="*/ 4256 w 8479"/>
              <a:gd name="T29" fmla="*/ 458 h 583"/>
              <a:gd name="T30" fmla="*/ 4256 w 8479"/>
              <a:gd name="T31" fmla="*/ 214 h 583"/>
              <a:gd name="T32" fmla="*/ 4284 w 8479"/>
              <a:gd name="T33" fmla="*/ 186 h 583"/>
              <a:gd name="T34" fmla="*/ 5867 w 8479"/>
              <a:gd name="T35" fmla="*/ 186 h 583"/>
              <a:gd name="T36" fmla="*/ 5895 w 8479"/>
              <a:gd name="T37" fmla="*/ 214 h 583"/>
              <a:gd name="T38" fmla="*/ 5895 w 8479"/>
              <a:gd name="T39" fmla="*/ 309 h 583"/>
              <a:gd name="T40" fmla="*/ 5923 w 8479"/>
              <a:gd name="T41" fmla="*/ 337 h 583"/>
              <a:gd name="T42" fmla="*/ 6495 w 8479"/>
              <a:gd name="T43" fmla="*/ 337 h 583"/>
              <a:gd name="T44" fmla="*/ 6523 w 8479"/>
              <a:gd name="T45" fmla="*/ 309 h 583"/>
              <a:gd name="T46" fmla="*/ 6523 w 8479"/>
              <a:gd name="T47" fmla="*/ 28 h 583"/>
              <a:gd name="T48" fmla="*/ 6551 w 8479"/>
              <a:gd name="T49" fmla="*/ 0 h 583"/>
              <a:gd name="T50" fmla="*/ 7543 w 8479"/>
              <a:gd name="T51" fmla="*/ 0 h 583"/>
              <a:gd name="T52" fmla="*/ 7571 w 8479"/>
              <a:gd name="T53" fmla="*/ 28 h 583"/>
              <a:gd name="T54" fmla="*/ 7571 w 8479"/>
              <a:gd name="T55" fmla="*/ 555 h 583"/>
              <a:gd name="T56" fmla="*/ 7599 w 8479"/>
              <a:gd name="T57" fmla="*/ 583 h 583"/>
              <a:gd name="T58" fmla="*/ 8479 w 8479"/>
              <a:gd name="T59" fmla="*/ 583 h 583"/>
              <a:gd name="connsiteX0" fmla="*/ 0 w 9506"/>
              <a:gd name="connsiteY0" fmla="*/ 2230 h 10000"/>
              <a:gd name="connsiteX1" fmla="*/ 33 w 9506"/>
              <a:gd name="connsiteY1" fmla="*/ 2710 h 10000"/>
              <a:gd name="connsiteX2" fmla="*/ 33 w 9506"/>
              <a:gd name="connsiteY2" fmla="*/ 7856 h 10000"/>
              <a:gd name="connsiteX3" fmla="*/ 66 w 9506"/>
              <a:gd name="connsiteY3" fmla="*/ 8336 h 10000"/>
              <a:gd name="connsiteX4" fmla="*/ 1539 w 9506"/>
              <a:gd name="connsiteY4" fmla="*/ 8336 h 10000"/>
              <a:gd name="connsiteX5" fmla="*/ 1572 w 9506"/>
              <a:gd name="connsiteY5" fmla="*/ 7856 h 10000"/>
              <a:gd name="connsiteX6" fmla="*/ 1572 w 9506"/>
              <a:gd name="connsiteY6" fmla="*/ 617 h 10000"/>
              <a:gd name="connsiteX7" fmla="*/ 1605 w 9506"/>
              <a:gd name="connsiteY7" fmla="*/ 137 h 10000"/>
              <a:gd name="connsiteX8" fmla="*/ 2661 w 9506"/>
              <a:gd name="connsiteY8" fmla="*/ 137 h 10000"/>
              <a:gd name="connsiteX9" fmla="*/ 2694 w 9506"/>
              <a:gd name="connsiteY9" fmla="*/ 617 h 10000"/>
              <a:gd name="connsiteX10" fmla="*/ 2694 w 9506"/>
              <a:gd name="connsiteY10" fmla="*/ 7856 h 10000"/>
              <a:gd name="connsiteX11" fmla="*/ 2727 w 9506"/>
              <a:gd name="connsiteY11" fmla="*/ 8336 h 10000"/>
              <a:gd name="connsiteX12" fmla="*/ 4492 w 9506"/>
              <a:gd name="connsiteY12" fmla="*/ 8336 h 10000"/>
              <a:gd name="connsiteX13" fmla="*/ 4525 w 9506"/>
              <a:gd name="connsiteY13" fmla="*/ 7856 h 10000"/>
              <a:gd name="connsiteX14" fmla="*/ 4525 w 9506"/>
              <a:gd name="connsiteY14" fmla="*/ 3671 h 10000"/>
              <a:gd name="connsiteX15" fmla="*/ 4558 w 9506"/>
              <a:gd name="connsiteY15" fmla="*/ 3190 h 10000"/>
              <a:gd name="connsiteX16" fmla="*/ 6425 w 9506"/>
              <a:gd name="connsiteY16" fmla="*/ 3190 h 10000"/>
              <a:gd name="connsiteX17" fmla="*/ 6458 w 9506"/>
              <a:gd name="connsiteY17" fmla="*/ 3671 h 10000"/>
              <a:gd name="connsiteX18" fmla="*/ 6458 w 9506"/>
              <a:gd name="connsiteY18" fmla="*/ 5300 h 10000"/>
              <a:gd name="connsiteX19" fmla="*/ 6491 w 9506"/>
              <a:gd name="connsiteY19" fmla="*/ 5780 h 10000"/>
              <a:gd name="connsiteX20" fmla="*/ 7166 w 9506"/>
              <a:gd name="connsiteY20" fmla="*/ 5780 h 10000"/>
              <a:gd name="connsiteX21" fmla="*/ 7199 w 9506"/>
              <a:gd name="connsiteY21" fmla="*/ 5300 h 10000"/>
              <a:gd name="connsiteX22" fmla="*/ 7199 w 9506"/>
              <a:gd name="connsiteY22" fmla="*/ 480 h 10000"/>
              <a:gd name="connsiteX23" fmla="*/ 7232 w 9506"/>
              <a:gd name="connsiteY23" fmla="*/ 0 h 10000"/>
              <a:gd name="connsiteX24" fmla="*/ 8402 w 9506"/>
              <a:gd name="connsiteY24" fmla="*/ 0 h 10000"/>
              <a:gd name="connsiteX25" fmla="*/ 8435 w 9506"/>
              <a:gd name="connsiteY25" fmla="*/ 480 h 10000"/>
              <a:gd name="connsiteX26" fmla="*/ 8435 w 9506"/>
              <a:gd name="connsiteY26" fmla="*/ 9520 h 10000"/>
              <a:gd name="connsiteX27" fmla="*/ 8468 w 9506"/>
              <a:gd name="connsiteY27" fmla="*/ 10000 h 10000"/>
              <a:gd name="connsiteX28" fmla="*/ 9506 w 9506"/>
              <a:gd name="connsiteY28" fmla="*/ 10000 h 10000"/>
              <a:gd name="connsiteX0" fmla="*/ 0 w 9965"/>
              <a:gd name="connsiteY0" fmla="*/ 2710 h 10000"/>
              <a:gd name="connsiteX1" fmla="*/ 0 w 9965"/>
              <a:gd name="connsiteY1" fmla="*/ 7856 h 10000"/>
              <a:gd name="connsiteX2" fmla="*/ 34 w 9965"/>
              <a:gd name="connsiteY2" fmla="*/ 8336 h 10000"/>
              <a:gd name="connsiteX3" fmla="*/ 1584 w 9965"/>
              <a:gd name="connsiteY3" fmla="*/ 8336 h 10000"/>
              <a:gd name="connsiteX4" fmla="*/ 1619 w 9965"/>
              <a:gd name="connsiteY4" fmla="*/ 7856 h 10000"/>
              <a:gd name="connsiteX5" fmla="*/ 1619 w 9965"/>
              <a:gd name="connsiteY5" fmla="*/ 617 h 10000"/>
              <a:gd name="connsiteX6" fmla="*/ 1653 w 9965"/>
              <a:gd name="connsiteY6" fmla="*/ 137 h 10000"/>
              <a:gd name="connsiteX7" fmla="*/ 2764 w 9965"/>
              <a:gd name="connsiteY7" fmla="*/ 137 h 10000"/>
              <a:gd name="connsiteX8" fmla="*/ 2799 w 9965"/>
              <a:gd name="connsiteY8" fmla="*/ 617 h 10000"/>
              <a:gd name="connsiteX9" fmla="*/ 2799 w 9965"/>
              <a:gd name="connsiteY9" fmla="*/ 7856 h 10000"/>
              <a:gd name="connsiteX10" fmla="*/ 2834 w 9965"/>
              <a:gd name="connsiteY10" fmla="*/ 8336 h 10000"/>
              <a:gd name="connsiteX11" fmla="*/ 4690 w 9965"/>
              <a:gd name="connsiteY11" fmla="*/ 8336 h 10000"/>
              <a:gd name="connsiteX12" fmla="*/ 4725 w 9965"/>
              <a:gd name="connsiteY12" fmla="*/ 7856 h 10000"/>
              <a:gd name="connsiteX13" fmla="*/ 4725 w 9965"/>
              <a:gd name="connsiteY13" fmla="*/ 3671 h 10000"/>
              <a:gd name="connsiteX14" fmla="*/ 4760 w 9965"/>
              <a:gd name="connsiteY14" fmla="*/ 3190 h 10000"/>
              <a:gd name="connsiteX15" fmla="*/ 6724 w 9965"/>
              <a:gd name="connsiteY15" fmla="*/ 3190 h 10000"/>
              <a:gd name="connsiteX16" fmla="*/ 6759 w 9965"/>
              <a:gd name="connsiteY16" fmla="*/ 3671 h 10000"/>
              <a:gd name="connsiteX17" fmla="*/ 6759 w 9965"/>
              <a:gd name="connsiteY17" fmla="*/ 5300 h 10000"/>
              <a:gd name="connsiteX18" fmla="*/ 6793 w 9965"/>
              <a:gd name="connsiteY18" fmla="*/ 5780 h 10000"/>
              <a:gd name="connsiteX19" fmla="*/ 7503 w 9965"/>
              <a:gd name="connsiteY19" fmla="*/ 5780 h 10000"/>
              <a:gd name="connsiteX20" fmla="*/ 7538 w 9965"/>
              <a:gd name="connsiteY20" fmla="*/ 5300 h 10000"/>
              <a:gd name="connsiteX21" fmla="*/ 7538 w 9965"/>
              <a:gd name="connsiteY21" fmla="*/ 480 h 10000"/>
              <a:gd name="connsiteX22" fmla="*/ 7573 w 9965"/>
              <a:gd name="connsiteY22" fmla="*/ 0 h 10000"/>
              <a:gd name="connsiteX23" fmla="*/ 8804 w 9965"/>
              <a:gd name="connsiteY23" fmla="*/ 0 h 10000"/>
              <a:gd name="connsiteX24" fmla="*/ 8838 w 9965"/>
              <a:gd name="connsiteY24" fmla="*/ 480 h 10000"/>
              <a:gd name="connsiteX25" fmla="*/ 8838 w 9965"/>
              <a:gd name="connsiteY25" fmla="*/ 9520 h 10000"/>
              <a:gd name="connsiteX26" fmla="*/ 8873 w 9965"/>
              <a:gd name="connsiteY26" fmla="*/ 10000 h 10000"/>
              <a:gd name="connsiteX27" fmla="*/ 9965 w 9965"/>
              <a:gd name="connsiteY27" fmla="*/ 10000 h 10000"/>
              <a:gd name="connsiteX0" fmla="*/ 0 w 10000"/>
              <a:gd name="connsiteY0" fmla="*/ 7856 h 10000"/>
              <a:gd name="connsiteX1" fmla="*/ 34 w 10000"/>
              <a:gd name="connsiteY1" fmla="*/ 8336 h 10000"/>
              <a:gd name="connsiteX2" fmla="*/ 1590 w 10000"/>
              <a:gd name="connsiteY2" fmla="*/ 8336 h 10000"/>
              <a:gd name="connsiteX3" fmla="*/ 1625 w 10000"/>
              <a:gd name="connsiteY3" fmla="*/ 7856 h 10000"/>
              <a:gd name="connsiteX4" fmla="*/ 1625 w 10000"/>
              <a:gd name="connsiteY4" fmla="*/ 617 h 10000"/>
              <a:gd name="connsiteX5" fmla="*/ 1659 w 10000"/>
              <a:gd name="connsiteY5" fmla="*/ 137 h 10000"/>
              <a:gd name="connsiteX6" fmla="*/ 2774 w 10000"/>
              <a:gd name="connsiteY6" fmla="*/ 137 h 10000"/>
              <a:gd name="connsiteX7" fmla="*/ 2809 w 10000"/>
              <a:gd name="connsiteY7" fmla="*/ 617 h 10000"/>
              <a:gd name="connsiteX8" fmla="*/ 2809 w 10000"/>
              <a:gd name="connsiteY8" fmla="*/ 7856 h 10000"/>
              <a:gd name="connsiteX9" fmla="*/ 2844 w 10000"/>
              <a:gd name="connsiteY9" fmla="*/ 8336 h 10000"/>
              <a:gd name="connsiteX10" fmla="*/ 4706 w 10000"/>
              <a:gd name="connsiteY10" fmla="*/ 8336 h 10000"/>
              <a:gd name="connsiteX11" fmla="*/ 4742 w 10000"/>
              <a:gd name="connsiteY11" fmla="*/ 7856 h 10000"/>
              <a:gd name="connsiteX12" fmla="*/ 4742 w 10000"/>
              <a:gd name="connsiteY12" fmla="*/ 3671 h 10000"/>
              <a:gd name="connsiteX13" fmla="*/ 4777 w 10000"/>
              <a:gd name="connsiteY13" fmla="*/ 3190 h 10000"/>
              <a:gd name="connsiteX14" fmla="*/ 6748 w 10000"/>
              <a:gd name="connsiteY14" fmla="*/ 3190 h 10000"/>
              <a:gd name="connsiteX15" fmla="*/ 6783 w 10000"/>
              <a:gd name="connsiteY15" fmla="*/ 3671 h 10000"/>
              <a:gd name="connsiteX16" fmla="*/ 6783 w 10000"/>
              <a:gd name="connsiteY16" fmla="*/ 5300 h 10000"/>
              <a:gd name="connsiteX17" fmla="*/ 6817 w 10000"/>
              <a:gd name="connsiteY17" fmla="*/ 5780 h 10000"/>
              <a:gd name="connsiteX18" fmla="*/ 7529 w 10000"/>
              <a:gd name="connsiteY18" fmla="*/ 5780 h 10000"/>
              <a:gd name="connsiteX19" fmla="*/ 7564 w 10000"/>
              <a:gd name="connsiteY19" fmla="*/ 5300 h 10000"/>
              <a:gd name="connsiteX20" fmla="*/ 7564 w 10000"/>
              <a:gd name="connsiteY20" fmla="*/ 480 h 10000"/>
              <a:gd name="connsiteX21" fmla="*/ 7600 w 10000"/>
              <a:gd name="connsiteY21" fmla="*/ 0 h 10000"/>
              <a:gd name="connsiteX22" fmla="*/ 8835 w 10000"/>
              <a:gd name="connsiteY22" fmla="*/ 0 h 10000"/>
              <a:gd name="connsiteX23" fmla="*/ 8869 w 10000"/>
              <a:gd name="connsiteY23" fmla="*/ 480 h 10000"/>
              <a:gd name="connsiteX24" fmla="*/ 8869 w 10000"/>
              <a:gd name="connsiteY24" fmla="*/ 9520 h 10000"/>
              <a:gd name="connsiteX25" fmla="*/ 8904 w 10000"/>
              <a:gd name="connsiteY25" fmla="*/ 10000 h 10000"/>
              <a:gd name="connsiteX26" fmla="*/ 10000 w 10000"/>
              <a:gd name="connsiteY26" fmla="*/ 10000 h 10000"/>
              <a:gd name="connsiteX0" fmla="*/ 0 w 9966"/>
              <a:gd name="connsiteY0" fmla="*/ 8336 h 10000"/>
              <a:gd name="connsiteX1" fmla="*/ 1556 w 9966"/>
              <a:gd name="connsiteY1" fmla="*/ 8336 h 10000"/>
              <a:gd name="connsiteX2" fmla="*/ 1591 w 9966"/>
              <a:gd name="connsiteY2" fmla="*/ 7856 h 10000"/>
              <a:gd name="connsiteX3" fmla="*/ 1591 w 9966"/>
              <a:gd name="connsiteY3" fmla="*/ 617 h 10000"/>
              <a:gd name="connsiteX4" fmla="*/ 1625 w 9966"/>
              <a:gd name="connsiteY4" fmla="*/ 137 h 10000"/>
              <a:gd name="connsiteX5" fmla="*/ 2740 w 9966"/>
              <a:gd name="connsiteY5" fmla="*/ 137 h 10000"/>
              <a:gd name="connsiteX6" fmla="*/ 2775 w 9966"/>
              <a:gd name="connsiteY6" fmla="*/ 617 h 10000"/>
              <a:gd name="connsiteX7" fmla="*/ 2775 w 9966"/>
              <a:gd name="connsiteY7" fmla="*/ 7856 h 10000"/>
              <a:gd name="connsiteX8" fmla="*/ 2810 w 9966"/>
              <a:gd name="connsiteY8" fmla="*/ 8336 h 10000"/>
              <a:gd name="connsiteX9" fmla="*/ 4672 w 9966"/>
              <a:gd name="connsiteY9" fmla="*/ 8336 h 10000"/>
              <a:gd name="connsiteX10" fmla="*/ 4708 w 9966"/>
              <a:gd name="connsiteY10" fmla="*/ 7856 h 10000"/>
              <a:gd name="connsiteX11" fmla="*/ 4708 w 9966"/>
              <a:gd name="connsiteY11" fmla="*/ 3671 h 10000"/>
              <a:gd name="connsiteX12" fmla="*/ 4743 w 9966"/>
              <a:gd name="connsiteY12" fmla="*/ 3190 h 10000"/>
              <a:gd name="connsiteX13" fmla="*/ 6714 w 9966"/>
              <a:gd name="connsiteY13" fmla="*/ 3190 h 10000"/>
              <a:gd name="connsiteX14" fmla="*/ 6749 w 9966"/>
              <a:gd name="connsiteY14" fmla="*/ 3671 h 10000"/>
              <a:gd name="connsiteX15" fmla="*/ 6749 w 9966"/>
              <a:gd name="connsiteY15" fmla="*/ 5300 h 10000"/>
              <a:gd name="connsiteX16" fmla="*/ 6783 w 9966"/>
              <a:gd name="connsiteY16" fmla="*/ 5780 h 10000"/>
              <a:gd name="connsiteX17" fmla="*/ 7495 w 9966"/>
              <a:gd name="connsiteY17" fmla="*/ 5780 h 10000"/>
              <a:gd name="connsiteX18" fmla="*/ 7530 w 9966"/>
              <a:gd name="connsiteY18" fmla="*/ 5300 h 10000"/>
              <a:gd name="connsiteX19" fmla="*/ 7530 w 9966"/>
              <a:gd name="connsiteY19" fmla="*/ 480 h 10000"/>
              <a:gd name="connsiteX20" fmla="*/ 7566 w 9966"/>
              <a:gd name="connsiteY20" fmla="*/ 0 h 10000"/>
              <a:gd name="connsiteX21" fmla="*/ 8801 w 9966"/>
              <a:gd name="connsiteY21" fmla="*/ 0 h 10000"/>
              <a:gd name="connsiteX22" fmla="*/ 8835 w 9966"/>
              <a:gd name="connsiteY22" fmla="*/ 480 h 10000"/>
              <a:gd name="connsiteX23" fmla="*/ 8835 w 9966"/>
              <a:gd name="connsiteY23" fmla="*/ 9520 h 10000"/>
              <a:gd name="connsiteX24" fmla="*/ 8870 w 9966"/>
              <a:gd name="connsiteY24" fmla="*/ 10000 h 10000"/>
              <a:gd name="connsiteX25" fmla="*/ 9966 w 9966"/>
              <a:gd name="connsiteY25" fmla="*/ 10000 h 10000"/>
              <a:gd name="connsiteX0" fmla="*/ 0 w 8439"/>
              <a:gd name="connsiteY0" fmla="*/ 8336 h 10000"/>
              <a:gd name="connsiteX1" fmla="*/ 35 w 8439"/>
              <a:gd name="connsiteY1" fmla="*/ 7856 h 10000"/>
              <a:gd name="connsiteX2" fmla="*/ 35 w 8439"/>
              <a:gd name="connsiteY2" fmla="*/ 617 h 10000"/>
              <a:gd name="connsiteX3" fmla="*/ 70 w 8439"/>
              <a:gd name="connsiteY3" fmla="*/ 137 h 10000"/>
              <a:gd name="connsiteX4" fmla="*/ 1188 w 8439"/>
              <a:gd name="connsiteY4" fmla="*/ 137 h 10000"/>
              <a:gd name="connsiteX5" fmla="*/ 1223 w 8439"/>
              <a:gd name="connsiteY5" fmla="*/ 617 h 10000"/>
              <a:gd name="connsiteX6" fmla="*/ 1223 w 8439"/>
              <a:gd name="connsiteY6" fmla="*/ 7856 h 10000"/>
              <a:gd name="connsiteX7" fmla="*/ 1259 w 8439"/>
              <a:gd name="connsiteY7" fmla="*/ 8336 h 10000"/>
              <a:gd name="connsiteX8" fmla="*/ 3127 w 8439"/>
              <a:gd name="connsiteY8" fmla="*/ 8336 h 10000"/>
              <a:gd name="connsiteX9" fmla="*/ 3163 w 8439"/>
              <a:gd name="connsiteY9" fmla="*/ 7856 h 10000"/>
              <a:gd name="connsiteX10" fmla="*/ 3163 w 8439"/>
              <a:gd name="connsiteY10" fmla="*/ 3671 h 10000"/>
              <a:gd name="connsiteX11" fmla="*/ 3198 w 8439"/>
              <a:gd name="connsiteY11" fmla="*/ 3190 h 10000"/>
              <a:gd name="connsiteX12" fmla="*/ 5176 w 8439"/>
              <a:gd name="connsiteY12" fmla="*/ 3190 h 10000"/>
              <a:gd name="connsiteX13" fmla="*/ 5211 w 8439"/>
              <a:gd name="connsiteY13" fmla="*/ 3671 h 10000"/>
              <a:gd name="connsiteX14" fmla="*/ 5211 w 8439"/>
              <a:gd name="connsiteY14" fmla="*/ 5300 h 10000"/>
              <a:gd name="connsiteX15" fmla="*/ 5245 w 8439"/>
              <a:gd name="connsiteY15" fmla="*/ 5780 h 10000"/>
              <a:gd name="connsiteX16" fmla="*/ 5960 w 8439"/>
              <a:gd name="connsiteY16" fmla="*/ 5780 h 10000"/>
              <a:gd name="connsiteX17" fmla="*/ 5995 w 8439"/>
              <a:gd name="connsiteY17" fmla="*/ 5300 h 10000"/>
              <a:gd name="connsiteX18" fmla="*/ 5995 w 8439"/>
              <a:gd name="connsiteY18" fmla="*/ 480 h 10000"/>
              <a:gd name="connsiteX19" fmla="*/ 6031 w 8439"/>
              <a:gd name="connsiteY19" fmla="*/ 0 h 10000"/>
              <a:gd name="connsiteX20" fmla="*/ 7270 w 8439"/>
              <a:gd name="connsiteY20" fmla="*/ 0 h 10000"/>
              <a:gd name="connsiteX21" fmla="*/ 7304 w 8439"/>
              <a:gd name="connsiteY21" fmla="*/ 480 h 10000"/>
              <a:gd name="connsiteX22" fmla="*/ 7304 w 8439"/>
              <a:gd name="connsiteY22" fmla="*/ 9520 h 10000"/>
              <a:gd name="connsiteX23" fmla="*/ 7339 w 8439"/>
              <a:gd name="connsiteY23" fmla="*/ 10000 h 10000"/>
              <a:gd name="connsiteX24" fmla="*/ 8439 w 8439"/>
              <a:gd name="connsiteY24" fmla="*/ 10000 h 10000"/>
              <a:gd name="connsiteX0" fmla="*/ 0 w 9959"/>
              <a:gd name="connsiteY0" fmla="*/ 7856 h 10000"/>
              <a:gd name="connsiteX1" fmla="*/ 0 w 9959"/>
              <a:gd name="connsiteY1" fmla="*/ 617 h 10000"/>
              <a:gd name="connsiteX2" fmla="*/ 42 w 9959"/>
              <a:gd name="connsiteY2" fmla="*/ 137 h 10000"/>
              <a:gd name="connsiteX3" fmla="*/ 1367 w 9959"/>
              <a:gd name="connsiteY3" fmla="*/ 137 h 10000"/>
              <a:gd name="connsiteX4" fmla="*/ 1408 w 9959"/>
              <a:gd name="connsiteY4" fmla="*/ 617 h 10000"/>
              <a:gd name="connsiteX5" fmla="*/ 1408 w 9959"/>
              <a:gd name="connsiteY5" fmla="*/ 7856 h 10000"/>
              <a:gd name="connsiteX6" fmla="*/ 1451 w 9959"/>
              <a:gd name="connsiteY6" fmla="*/ 8336 h 10000"/>
              <a:gd name="connsiteX7" fmla="*/ 3664 w 9959"/>
              <a:gd name="connsiteY7" fmla="*/ 8336 h 10000"/>
              <a:gd name="connsiteX8" fmla="*/ 3707 w 9959"/>
              <a:gd name="connsiteY8" fmla="*/ 7856 h 10000"/>
              <a:gd name="connsiteX9" fmla="*/ 3707 w 9959"/>
              <a:gd name="connsiteY9" fmla="*/ 3671 h 10000"/>
              <a:gd name="connsiteX10" fmla="*/ 3749 w 9959"/>
              <a:gd name="connsiteY10" fmla="*/ 3190 h 10000"/>
              <a:gd name="connsiteX11" fmla="*/ 6092 w 9959"/>
              <a:gd name="connsiteY11" fmla="*/ 3190 h 10000"/>
              <a:gd name="connsiteX12" fmla="*/ 6134 w 9959"/>
              <a:gd name="connsiteY12" fmla="*/ 3671 h 10000"/>
              <a:gd name="connsiteX13" fmla="*/ 6134 w 9959"/>
              <a:gd name="connsiteY13" fmla="*/ 5300 h 10000"/>
              <a:gd name="connsiteX14" fmla="*/ 6174 w 9959"/>
              <a:gd name="connsiteY14" fmla="*/ 5780 h 10000"/>
              <a:gd name="connsiteX15" fmla="*/ 7021 w 9959"/>
              <a:gd name="connsiteY15" fmla="*/ 5780 h 10000"/>
              <a:gd name="connsiteX16" fmla="*/ 7063 w 9959"/>
              <a:gd name="connsiteY16" fmla="*/ 5300 h 10000"/>
              <a:gd name="connsiteX17" fmla="*/ 7063 w 9959"/>
              <a:gd name="connsiteY17" fmla="*/ 480 h 10000"/>
              <a:gd name="connsiteX18" fmla="*/ 7106 w 9959"/>
              <a:gd name="connsiteY18" fmla="*/ 0 h 10000"/>
              <a:gd name="connsiteX19" fmla="*/ 8574 w 9959"/>
              <a:gd name="connsiteY19" fmla="*/ 0 h 10000"/>
              <a:gd name="connsiteX20" fmla="*/ 8614 w 9959"/>
              <a:gd name="connsiteY20" fmla="*/ 480 h 10000"/>
              <a:gd name="connsiteX21" fmla="*/ 8614 w 9959"/>
              <a:gd name="connsiteY21" fmla="*/ 9520 h 10000"/>
              <a:gd name="connsiteX22" fmla="*/ 8656 w 9959"/>
              <a:gd name="connsiteY22" fmla="*/ 10000 h 10000"/>
              <a:gd name="connsiteX23" fmla="*/ 9959 w 9959"/>
              <a:gd name="connsiteY23" fmla="*/ 10000 h 10000"/>
              <a:gd name="connsiteX0" fmla="*/ 0 w 10000"/>
              <a:gd name="connsiteY0" fmla="*/ 617 h 10000"/>
              <a:gd name="connsiteX1" fmla="*/ 42 w 10000"/>
              <a:gd name="connsiteY1" fmla="*/ 137 h 10000"/>
              <a:gd name="connsiteX2" fmla="*/ 1373 w 10000"/>
              <a:gd name="connsiteY2" fmla="*/ 137 h 10000"/>
              <a:gd name="connsiteX3" fmla="*/ 1414 w 10000"/>
              <a:gd name="connsiteY3" fmla="*/ 617 h 10000"/>
              <a:gd name="connsiteX4" fmla="*/ 1414 w 10000"/>
              <a:gd name="connsiteY4" fmla="*/ 7856 h 10000"/>
              <a:gd name="connsiteX5" fmla="*/ 1457 w 10000"/>
              <a:gd name="connsiteY5" fmla="*/ 8336 h 10000"/>
              <a:gd name="connsiteX6" fmla="*/ 3679 w 10000"/>
              <a:gd name="connsiteY6" fmla="*/ 8336 h 10000"/>
              <a:gd name="connsiteX7" fmla="*/ 3722 w 10000"/>
              <a:gd name="connsiteY7" fmla="*/ 7856 h 10000"/>
              <a:gd name="connsiteX8" fmla="*/ 3722 w 10000"/>
              <a:gd name="connsiteY8" fmla="*/ 3671 h 10000"/>
              <a:gd name="connsiteX9" fmla="*/ 3764 w 10000"/>
              <a:gd name="connsiteY9" fmla="*/ 3190 h 10000"/>
              <a:gd name="connsiteX10" fmla="*/ 6117 w 10000"/>
              <a:gd name="connsiteY10" fmla="*/ 3190 h 10000"/>
              <a:gd name="connsiteX11" fmla="*/ 6159 w 10000"/>
              <a:gd name="connsiteY11" fmla="*/ 3671 h 10000"/>
              <a:gd name="connsiteX12" fmla="*/ 6159 w 10000"/>
              <a:gd name="connsiteY12" fmla="*/ 5300 h 10000"/>
              <a:gd name="connsiteX13" fmla="*/ 6199 w 10000"/>
              <a:gd name="connsiteY13" fmla="*/ 5780 h 10000"/>
              <a:gd name="connsiteX14" fmla="*/ 7050 w 10000"/>
              <a:gd name="connsiteY14" fmla="*/ 5780 h 10000"/>
              <a:gd name="connsiteX15" fmla="*/ 7092 w 10000"/>
              <a:gd name="connsiteY15" fmla="*/ 5300 h 10000"/>
              <a:gd name="connsiteX16" fmla="*/ 7092 w 10000"/>
              <a:gd name="connsiteY16" fmla="*/ 480 h 10000"/>
              <a:gd name="connsiteX17" fmla="*/ 7135 w 10000"/>
              <a:gd name="connsiteY17" fmla="*/ 0 h 10000"/>
              <a:gd name="connsiteX18" fmla="*/ 8609 w 10000"/>
              <a:gd name="connsiteY18" fmla="*/ 0 h 10000"/>
              <a:gd name="connsiteX19" fmla="*/ 8649 w 10000"/>
              <a:gd name="connsiteY19" fmla="*/ 480 h 10000"/>
              <a:gd name="connsiteX20" fmla="*/ 8649 w 10000"/>
              <a:gd name="connsiteY20" fmla="*/ 9520 h 10000"/>
              <a:gd name="connsiteX21" fmla="*/ 8692 w 10000"/>
              <a:gd name="connsiteY21" fmla="*/ 10000 h 10000"/>
              <a:gd name="connsiteX22" fmla="*/ 10000 w 10000"/>
              <a:gd name="connsiteY22" fmla="*/ 10000 h 10000"/>
              <a:gd name="connsiteX0" fmla="*/ 0 w 8692"/>
              <a:gd name="connsiteY0" fmla="*/ 617 h 10000"/>
              <a:gd name="connsiteX1" fmla="*/ 42 w 8692"/>
              <a:gd name="connsiteY1" fmla="*/ 137 h 10000"/>
              <a:gd name="connsiteX2" fmla="*/ 1373 w 8692"/>
              <a:gd name="connsiteY2" fmla="*/ 137 h 10000"/>
              <a:gd name="connsiteX3" fmla="*/ 1414 w 8692"/>
              <a:gd name="connsiteY3" fmla="*/ 617 h 10000"/>
              <a:gd name="connsiteX4" fmla="*/ 1414 w 8692"/>
              <a:gd name="connsiteY4" fmla="*/ 7856 h 10000"/>
              <a:gd name="connsiteX5" fmla="*/ 1457 w 8692"/>
              <a:gd name="connsiteY5" fmla="*/ 8336 h 10000"/>
              <a:gd name="connsiteX6" fmla="*/ 3679 w 8692"/>
              <a:gd name="connsiteY6" fmla="*/ 8336 h 10000"/>
              <a:gd name="connsiteX7" fmla="*/ 3722 w 8692"/>
              <a:gd name="connsiteY7" fmla="*/ 7856 h 10000"/>
              <a:gd name="connsiteX8" fmla="*/ 3722 w 8692"/>
              <a:gd name="connsiteY8" fmla="*/ 3671 h 10000"/>
              <a:gd name="connsiteX9" fmla="*/ 3764 w 8692"/>
              <a:gd name="connsiteY9" fmla="*/ 3190 h 10000"/>
              <a:gd name="connsiteX10" fmla="*/ 6117 w 8692"/>
              <a:gd name="connsiteY10" fmla="*/ 3190 h 10000"/>
              <a:gd name="connsiteX11" fmla="*/ 6159 w 8692"/>
              <a:gd name="connsiteY11" fmla="*/ 3671 h 10000"/>
              <a:gd name="connsiteX12" fmla="*/ 6159 w 8692"/>
              <a:gd name="connsiteY12" fmla="*/ 5300 h 10000"/>
              <a:gd name="connsiteX13" fmla="*/ 6199 w 8692"/>
              <a:gd name="connsiteY13" fmla="*/ 5780 h 10000"/>
              <a:gd name="connsiteX14" fmla="*/ 7050 w 8692"/>
              <a:gd name="connsiteY14" fmla="*/ 5780 h 10000"/>
              <a:gd name="connsiteX15" fmla="*/ 7092 w 8692"/>
              <a:gd name="connsiteY15" fmla="*/ 5300 h 10000"/>
              <a:gd name="connsiteX16" fmla="*/ 7092 w 8692"/>
              <a:gd name="connsiteY16" fmla="*/ 480 h 10000"/>
              <a:gd name="connsiteX17" fmla="*/ 7135 w 8692"/>
              <a:gd name="connsiteY17" fmla="*/ 0 h 10000"/>
              <a:gd name="connsiteX18" fmla="*/ 8609 w 8692"/>
              <a:gd name="connsiteY18" fmla="*/ 0 h 10000"/>
              <a:gd name="connsiteX19" fmla="*/ 8649 w 8692"/>
              <a:gd name="connsiteY19" fmla="*/ 480 h 10000"/>
              <a:gd name="connsiteX20" fmla="*/ 8649 w 8692"/>
              <a:gd name="connsiteY20" fmla="*/ 9520 h 10000"/>
              <a:gd name="connsiteX21" fmla="*/ 8692 w 8692"/>
              <a:gd name="connsiteY21" fmla="*/ 10000 h 10000"/>
              <a:gd name="connsiteX0" fmla="*/ 0 w 9951"/>
              <a:gd name="connsiteY0" fmla="*/ 617 h 9520"/>
              <a:gd name="connsiteX1" fmla="*/ 48 w 9951"/>
              <a:gd name="connsiteY1" fmla="*/ 137 h 9520"/>
              <a:gd name="connsiteX2" fmla="*/ 1580 w 9951"/>
              <a:gd name="connsiteY2" fmla="*/ 137 h 9520"/>
              <a:gd name="connsiteX3" fmla="*/ 1627 w 9951"/>
              <a:gd name="connsiteY3" fmla="*/ 617 h 9520"/>
              <a:gd name="connsiteX4" fmla="*/ 1627 w 9951"/>
              <a:gd name="connsiteY4" fmla="*/ 7856 h 9520"/>
              <a:gd name="connsiteX5" fmla="*/ 1676 w 9951"/>
              <a:gd name="connsiteY5" fmla="*/ 8336 h 9520"/>
              <a:gd name="connsiteX6" fmla="*/ 4233 w 9951"/>
              <a:gd name="connsiteY6" fmla="*/ 8336 h 9520"/>
              <a:gd name="connsiteX7" fmla="*/ 4282 w 9951"/>
              <a:gd name="connsiteY7" fmla="*/ 7856 h 9520"/>
              <a:gd name="connsiteX8" fmla="*/ 4282 w 9951"/>
              <a:gd name="connsiteY8" fmla="*/ 3671 h 9520"/>
              <a:gd name="connsiteX9" fmla="*/ 4330 w 9951"/>
              <a:gd name="connsiteY9" fmla="*/ 3190 h 9520"/>
              <a:gd name="connsiteX10" fmla="*/ 7038 w 9951"/>
              <a:gd name="connsiteY10" fmla="*/ 3190 h 9520"/>
              <a:gd name="connsiteX11" fmla="*/ 7086 w 9951"/>
              <a:gd name="connsiteY11" fmla="*/ 3671 h 9520"/>
              <a:gd name="connsiteX12" fmla="*/ 7086 w 9951"/>
              <a:gd name="connsiteY12" fmla="*/ 5300 h 9520"/>
              <a:gd name="connsiteX13" fmla="*/ 7132 w 9951"/>
              <a:gd name="connsiteY13" fmla="*/ 5780 h 9520"/>
              <a:gd name="connsiteX14" fmla="*/ 8111 w 9951"/>
              <a:gd name="connsiteY14" fmla="*/ 5780 h 9520"/>
              <a:gd name="connsiteX15" fmla="*/ 8159 w 9951"/>
              <a:gd name="connsiteY15" fmla="*/ 5300 h 9520"/>
              <a:gd name="connsiteX16" fmla="*/ 8159 w 9951"/>
              <a:gd name="connsiteY16" fmla="*/ 480 h 9520"/>
              <a:gd name="connsiteX17" fmla="*/ 8209 w 9951"/>
              <a:gd name="connsiteY17" fmla="*/ 0 h 9520"/>
              <a:gd name="connsiteX18" fmla="*/ 9905 w 9951"/>
              <a:gd name="connsiteY18" fmla="*/ 0 h 9520"/>
              <a:gd name="connsiteX19" fmla="*/ 9951 w 9951"/>
              <a:gd name="connsiteY19" fmla="*/ 480 h 9520"/>
              <a:gd name="connsiteX20" fmla="*/ 9951 w 9951"/>
              <a:gd name="connsiteY20" fmla="*/ 9520 h 9520"/>
              <a:gd name="connsiteX0" fmla="*/ 0 w 10000"/>
              <a:gd name="connsiteY0" fmla="*/ 648 h 8756"/>
              <a:gd name="connsiteX1" fmla="*/ 48 w 10000"/>
              <a:gd name="connsiteY1" fmla="*/ 144 h 8756"/>
              <a:gd name="connsiteX2" fmla="*/ 1588 w 10000"/>
              <a:gd name="connsiteY2" fmla="*/ 144 h 8756"/>
              <a:gd name="connsiteX3" fmla="*/ 1635 w 10000"/>
              <a:gd name="connsiteY3" fmla="*/ 648 h 8756"/>
              <a:gd name="connsiteX4" fmla="*/ 1635 w 10000"/>
              <a:gd name="connsiteY4" fmla="*/ 8252 h 8756"/>
              <a:gd name="connsiteX5" fmla="*/ 1684 w 10000"/>
              <a:gd name="connsiteY5" fmla="*/ 8756 h 8756"/>
              <a:gd name="connsiteX6" fmla="*/ 4254 w 10000"/>
              <a:gd name="connsiteY6" fmla="*/ 8756 h 8756"/>
              <a:gd name="connsiteX7" fmla="*/ 4303 w 10000"/>
              <a:gd name="connsiteY7" fmla="*/ 8252 h 8756"/>
              <a:gd name="connsiteX8" fmla="*/ 4303 w 10000"/>
              <a:gd name="connsiteY8" fmla="*/ 3856 h 8756"/>
              <a:gd name="connsiteX9" fmla="*/ 4351 w 10000"/>
              <a:gd name="connsiteY9" fmla="*/ 3351 h 8756"/>
              <a:gd name="connsiteX10" fmla="*/ 7073 w 10000"/>
              <a:gd name="connsiteY10" fmla="*/ 3351 h 8756"/>
              <a:gd name="connsiteX11" fmla="*/ 7121 w 10000"/>
              <a:gd name="connsiteY11" fmla="*/ 3856 h 8756"/>
              <a:gd name="connsiteX12" fmla="*/ 7121 w 10000"/>
              <a:gd name="connsiteY12" fmla="*/ 5567 h 8756"/>
              <a:gd name="connsiteX13" fmla="*/ 7167 w 10000"/>
              <a:gd name="connsiteY13" fmla="*/ 6071 h 8756"/>
              <a:gd name="connsiteX14" fmla="*/ 8151 w 10000"/>
              <a:gd name="connsiteY14" fmla="*/ 6071 h 8756"/>
              <a:gd name="connsiteX15" fmla="*/ 8199 w 10000"/>
              <a:gd name="connsiteY15" fmla="*/ 5567 h 8756"/>
              <a:gd name="connsiteX16" fmla="*/ 8199 w 10000"/>
              <a:gd name="connsiteY16" fmla="*/ 504 h 8756"/>
              <a:gd name="connsiteX17" fmla="*/ 8249 w 10000"/>
              <a:gd name="connsiteY17" fmla="*/ 0 h 8756"/>
              <a:gd name="connsiteX18" fmla="*/ 9954 w 10000"/>
              <a:gd name="connsiteY18" fmla="*/ 0 h 8756"/>
              <a:gd name="connsiteX19" fmla="*/ 10000 w 10000"/>
              <a:gd name="connsiteY19" fmla="*/ 504 h 8756"/>
              <a:gd name="connsiteX0" fmla="*/ 0 w 9954"/>
              <a:gd name="connsiteY0" fmla="*/ 740 h 10000"/>
              <a:gd name="connsiteX1" fmla="*/ 48 w 9954"/>
              <a:gd name="connsiteY1" fmla="*/ 164 h 10000"/>
              <a:gd name="connsiteX2" fmla="*/ 1588 w 9954"/>
              <a:gd name="connsiteY2" fmla="*/ 164 h 10000"/>
              <a:gd name="connsiteX3" fmla="*/ 1635 w 9954"/>
              <a:gd name="connsiteY3" fmla="*/ 740 h 10000"/>
              <a:gd name="connsiteX4" fmla="*/ 1635 w 9954"/>
              <a:gd name="connsiteY4" fmla="*/ 9424 h 10000"/>
              <a:gd name="connsiteX5" fmla="*/ 1684 w 9954"/>
              <a:gd name="connsiteY5" fmla="*/ 10000 h 10000"/>
              <a:gd name="connsiteX6" fmla="*/ 4254 w 9954"/>
              <a:gd name="connsiteY6" fmla="*/ 10000 h 10000"/>
              <a:gd name="connsiteX7" fmla="*/ 4303 w 9954"/>
              <a:gd name="connsiteY7" fmla="*/ 9424 h 10000"/>
              <a:gd name="connsiteX8" fmla="*/ 4303 w 9954"/>
              <a:gd name="connsiteY8" fmla="*/ 4404 h 10000"/>
              <a:gd name="connsiteX9" fmla="*/ 4351 w 9954"/>
              <a:gd name="connsiteY9" fmla="*/ 3827 h 10000"/>
              <a:gd name="connsiteX10" fmla="*/ 7073 w 9954"/>
              <a:gd name="connsiteY10" fmla="*/ 3827 h 10000"/>
              <a:gd name="connsiteX11" fmla="*/ 7121 w 9954"/>
              <a:gd name="connsiteY11" fmla="*/ 4404 h 10000"/>
              <a:gd name="connsiteX12" fmla="*/ 7121 w 9954"/>
              <a:gd name="connsiteY12" fmla="*/ 6358 h 10000"/>
              <a:gd name="connsiteX13" fmla="*/ 7167 w 9954"/>
              <a:gd name="connsiteY13" fmla="*/ 6934 h 10000"/>
              <a:gd name="connsiteX14" fmla="*/ 8151 w 9954"/>
              <a:gd name="connsiteY14" fmla="*/ 6934 h 10000"/>
              <a:gd name="connsiteX15" fmla="*/ 8199 w 9954"/>
              <a:gd name="connsiteY15" fmla="*/ 6358 h 10000"/>
              <a:gd name="connsiteX16" fmla="*/ 8199 w 9954"/>
              <a:gd name="connsiteY16" fmla="*/ 576 h 10000"/>
              <a:gd name="connsiteX17" fmla="*/ 8249 w 9954"/>
              <a:gd name="connsiteY17" fmla="*/ 0 h 10000"/>
              <a:gd name="connsiteX18" fmla="*/ 9954 w 9954"/>
              <a:gd name="connsiteY18" fmla="*/ 0 h 10000"/>
              <a:gd name="connsiteX0" fmla="*/ 0 w 8287"/>
              <a:gd name="connsiteY0" fmla="*/ 740 h 10000"/>
              <a:gd name="connsiteX1" fmla="*/ 48 w 8287"/>
              <a:gd name="connsiteY1" fmla="*/ 164 h 10000"/>
              <a:gd name="connsiteX2" fmla="*/ 1595 w 8287"/>
              <a:gd name="connsiteY2" fmla="*/ 164 h 10000"/>
              <a:gd name="connsiteX3" fmla="*/ 1643 w 8287"/>
              <a:gd name="connsiteY3" fmla="*/ 740 h 10000"/>
              <a:gd name="connsiteX4" fmla="*/ 1643 w 8287"/>
              <a:gd name="connsiteY4" fmla="*/ 9424 h 10000"/>
              <a:gd name="connsiteX5" fmla="*/ 1692 w 8287"/>
              <a:gd name="connsiteY5" fmla="*/ 10000 h 10000"/>
              <a:gd name="connsiteX6" fmla="*/ 4274 w 8287"/>
              <a:gd name="connsiteY6" fmla="*/ 10000 h 10000"/>
              <a:gd name="connsiteX7" fmla="*/ 4323 w 8287"/>
              <a:gd name="connsiteY7" fmla="*/ 9424 h 10000"/>
              <a:gd name="connsiteX8" fmla="*/ 4323 w 8287"/>
              <a:gd name="connsiteY8" fmla="*/ 4404 h 10000"/>
              <a:gd name="connsiteX9" fmla="*/ 4371 w 8287"/>
              <a:gd name="connsiteY9" fmla="*/ 3827 h 10000"/>
              <a:gd name="connsiteX10" fmla="*/ 7106 w 8287"/>
              <a:gd name="connsiteY10" fmla="*/ 3827 h 10000"/>
              <a:gd name="connsiteX11" fmla="*/ 7154 w 8287"/>
              <a:gd name="connsiteY11" fmla="*/ 4404 h 10000"/>
              <a:gd name="connsiteX12" fmla="*/ 7154 w 8287"/>
              <a:gd name="connsiteY12" fmla="*/ 6358 h 10000"/>
              <a:gd name="connsiteX13" fmla="*/ 7200 w 8287"/>
              <a:gd name="connsiteY13" fmla="*/ 6934 h 10000"/>
              <a:gd name="connsiteX14" fmla="*/ 8189 w 8287"/>
              <a:gd name="connsiteY14" fmla="*/ 6934 h 10000"/>
              <a:gd name="connsiteX15" fmla="*/ 8237 w 8287"/>
              <a:gd name="connsiteY15" fmla="*/ 6358 h 10000"/>
              <a:gd name="connsiteX16" fmla="*/ 8237 w 8287"/>
              <a:gd name="connsiteY16" fmla="*/ 576 h 10000"/>
              <a:gd name="connsiteX17" fmla="*/ 8287 w 8287"/>
              <a:gd name="connsiteY17" fmla="*/ 0 h 10000"/>
              <a:gd name="connsiteX0" fmla="*/ 0 w 9940"/>
              <a:gd name="connsiteY0" fmla="*/ 576 h 9836"/>
              <a:gd name="connsiteX1" fmla="*/ 58 w 9940"/>
              <a:gd name="connsiteY1" fmla="*/ 0 h 9836"/>
              <a:gd name="connsiteX2" fmla="*/ 1925 w 9940"/>
              <a:gd name="connsiteY2" fmla="*/ 0 h 9836"/>
              <a:gd name="connsiteX3" fmla="*/ 1983 w 9940"/>
              <a:gd name="connsiteY3" fmla="*/ 576 h 9836"/>
              <a:gd name="connsiteX4" fmla="*/ 1983 w 9940"/>
              <a:gd name="connsiteY4" fmla="*/ 9260 h 9836"/>
              <a:gd name="connsiteX5" fmla="*/ 2042 w 9940"/>
              <a:gd name="connsiteY5" fmla="*/ 9836 h 9836"/>
              <a:gd name="connsiteX6" fmla="*/ 5157 w 9940"/>
              <a:gd name="connsiteY6" fmla="*/ 9836 h 9836"/>
              <a:gd name="connsiteX7" fmla="*/ 5217 w 9940"/>
              <a:gd name="connsiteY7" fmla="*/ 9260 h 9836"/>
              <a:gd name="connsiteX8" fmla="*/ 5217 w 9940"/>
              <a:gd name="connsiteY8" fmla="*/ 4240 h 9836"/>
              <a:gd name="connsiteX9" fmla="*/ 5275 w 9940"/>
              <a:gd name="connsiteY9" fmla="*/ 3663 h 9836"/>
              <a:gd name="connsiteX10" fmla="*/ 8575 w 9940"/>
              <a:gd name="connsiteY10" fmla="*/ 3663 h 9836"/>
              <a:gd name="connsiteX11" fmla="*/ 8633 w 9940"/>
              <a:gd name="connsiteY11" fmla="*/ 4240 h 9836"/>
              <a:gd name="connsiteX12" fmla="*/ 8633 w 9940"/>
              <a:gd name="connsiteY12" fmla="*/ 6194 h 9836"/>
              <a:gd name="connsiteX13" fmla="*/ 8688 w 9940"/>
              <a:gd name="connsiteY13" fmla="*/ 6770 h 9836"/>
              <a:gd name="connsiteX14" fmla="*/ 9882 w 9940"/>
              <a:gd name="connsiteY14" fmla="*/ 6770 h 9836"/>
              <a:gd name="connsiteX15" fmla="*/ 9940 w 9940"/>
              <a:gd name="connsiteY15" fmla="*/ 6194 h 9836"/>
              <a:gd name="connsiteX16" fmla="*/ 9940 w 9940"/>
              <a:gd name="connsiteY16" fmla="*/ 412 h 9836"/>
              <a:gd name="connsiteX0" fmla="*/ 0 w 10000"/>
              <a:gd name="connsiteY0" fmla="*/ 586 h 10000"/>
              <a:gd name="connsiteX1" fmla="*/ 58 w 10000"/>
              <a:gd name="connsiteY1" fmla="*/ 0 h 10000"/>
              <a:gd name="connsiteX2" fmla="*/ 1937 w 10000"/>
              <a:gd name="connsiteY2" fmla="*/ 0 h 10000"/>
              <a:gd name="connsiteX3" fmla="*/ 1995 w 10000"/>
              <a:gd name="connsiteY3" fmla="*/ 586 h 10000"/>
              <a:gd name="connsiteX4" fmla="*/ 1995 w 10000"/>
              <a:gd name="connsiteY4" fmla="*/ 9414 h 10000"/>
              <a:gd name="connsiteX5" fmla="*/ 2054 w 10000"/>
              <a:gd name="connsiteY5" fmla="*/ 10000 h 10000"/>
              <a:gd name="connsiteX6" fmla="*/ 5188 w 10000"/>
              <a:gd name="connsiteY6" fmla="*/ 10000 h 10000"/>
              <a:gd name="connsiteX7" fmla="*/ 5248 w 10000"/>
              <a:gd name="connsiteY7" fmla="*/ 9414 h 10000"/>
              <a:gd name="connsiteX8" fmla="*/ 5248 w 10000"/>
              <a:gd name="connsiteY8" fmla="*/ 4311 h 10000"/>
              <a:gd name="connsiteX9" fmla="*/ 5307 w 10000"/>
              <a:gd name="connsiteY9" fmla="*/ 3724 h 10000"/>
              <a:gd name="connsiteX10" fmla="*/ 8627 w 10000"/>
              <a:gd name="connsiteY10" fmla="*/ 3724 h 10000"/>
              <a:gd name="connsiteX11" fmla="*/ 8685 w 10000"/>
              <a:gd name="connsiteY11" fmla="*/ 4311 h 10000"/>
              <a:gd name="connsiteX12" fmla="*/ 8685 w 10000"/>
              <a:gd name="connsiteY12" fmla="*/ 6297 h 10000"/>
              <a:gd name="connsiteX13" fmla="*/ 8740 w 10000"/>
              <a:gd name="connsiteY13" fmla="*/ 6883 h 10000"/>
              <a:gd name="connsiteX14" fmla="*/ 9942 w 10000"/>
              <a:gd name="connsiteY14" fmla="*/ 6883 h 10000"/>
              <a:gd name="connsiteX15" fmla="*/ 10000 w 10000"/>
              <a:gd name="connsiteY15" fmla="*/ 6297 h 10000"/>
              <a:gd name="connsiteX0" fmla="*/ 0 w 10000"/>
              <a:gd name="connsiteY0" fmla="*/ 586 h 10000"/>
              <a:gd name="connsiteX1" fmla="*/ 1937 w 10000"/>
              <a:gd name="connsiteY1" fmla="*/ 0 h 10000"/>
              <a:gd name="connsiteX2" fmla="*/ 1995 w 10000"/>
              <a:gd name="connsiteY2" fmla="*/ 586 h 10000"/>
              <a:gd name="connsiteX3" fmla="*/ 1995 w 10000"/>
              <a:gd name="connsiteY3" fmla="*/ 9414 h 10000"/>
              <a:gd name="connsiteX4" fmla="*/ 2054 w 10000"/>
              <a:gd name="connsiteY4" fmla="*/ 10000 h 10000"/>
              <a:gd name="connsiteX5" fmla="*/ 5188 w 10000"/>
              <a:gd name="connsiteY5" fmla="*/ 10000 h 10000"/>
              <a:gd name="connsiteX6" fmla="*/ 5248 w 10000"/>
              <a:gd name="connsiteY6" fmla="*/ 9414 h 10000"/>
              <a:gd name="connsiteX7" fmla="*/ 5248 w 10000"/>
              <a:gd name="connsiteY7" fmla="*/ 4311 h 10000"/>
              <a:gd name="connsiteX8" fmla="*/ 5307 w 10000"/>
              <a:gd name="connsiteY8" fmla="*/ 3724 h 10000"/>
              <a:gd name="connsiteX9" fmla="*/ 8627 w 10000"/>
              <a:gd name="connsiteY9" fmla="*/ 3724 h 10000"/>
              <a:gd name="connsiteX10" fmla="*/ 8685 w 10000"/>
              <a:gd name="connsiteY10" fmla="*/ 4311 h 10000"/>
              <a:gd name="connsiteX11" fmla="*/ 8685 w 10000"/>
              <a:gd name="connsiteY11" fmla="*/ 6297 h 10000"/>
              <a:gd name="connsiteX12" fmla="*/ 8740 w 10000"/>
              <a:gd name="connsiteY12" fmla="*/ 6883 h 10000"/>
              <a:gd name="connsiteX13" fmla="*/ 9942 w 10000"/>
              <a:gd name="connsiteY13" fmla="*/ 6883 h 10000"/>
              <a:gd name="connsiteX14" fmla="*/ 10000 w 10000"/>
              <a:gd name="connsiteY14" fmla="*/ 6297 h 10000"/>
              <a:gd name="connsiteX0" fmla="*/ 0 w 8803"/>
              <a:gd name="connsiteY0" fmla="*/ 40 h 10113"/>
              <a:gd name="connsiteX1" fmla="*/ 740 w 8803"/>
              <a:gd name="connsiteY1" fmla="*/ 113 h 10113"/>
              <a:gd name="connsiteX2" fmla="*/ 798 w 8803"/>
              <a:gd name="connsiteY2" fmla="*/ 699 h 10113"/>
              <a:gd name="connsiteX3" fmla="*/ 798 w 8803"/>
              <a:gd name="connsiteY3" fmla="*/ 9527 h 10113"/>
              <a:gd name="connsiteX4" fmla="*/ 857 w 8803"/>
              <a:gd name="connsiteY4" fmla="*/ 10113 h 10113"/>
              <a:gd name="connsiteX5" fmla="*/ 3991 w 8803"/>
              <a:gd name="connsiteY5" fmla="*/ 10113 h 10113"/>
              <a:gd name="connsiteX6" fmla="*/ 4051 w 8803"/>
              <a:gd name="connsiteY6" fmla="*/ 9527 h 10113"/>
              <a:gd name="connsiteX7" fmla="*/ 4051 w 8803"/>
              <a:gd name="connsiteY7" fmla="*/ 4424 h 10113"/>
              <a:gd name="connsiteX8" fmla="*/ 4110 w 8803"/>
              <a:gd name="connsiteY8" fmla="*/ 3837 h 10113"/>
              <a:gd name="connsiteX9" fmla="*/ 7430 w 8803"/>
              <a:gd name="connsiteY9" fmla="*/ 3837 h 10113"/>
              <a:gd name="connsiteX10" fmla="*/ 7488 w 8803"/>
              <a:gd name="connsiteY10" fmla="*/ 4424 h 10113"/>
              <a:gd name="connsiteX11" fmla="*/ 7488 w 8803"/>
              <a:gd name="connsiteY11" fmla="*/ 6410 h 10113"/>
              <a:gd name="connsiteX12" fmla="*/ 7543 w 8803"/>
              <a:gd name="connsiteY12" fmla="*/ 6996 h 10113"/>
              <a:gd name="connsiteX13" fmla="*/ 8745 w 8803"/>
              <a:gd name="connsiteY13" fmla="*/ 6996 h 10113"/>
              <a:gd name="connsiteX14" fmla="*/ 8803 w 8803"/>
              <a:gd name="connsiteY14" fmla="*/ 6410 h 10113"/>
              <a:gd name="connsiteX0" fmla="*/ 0 w 10000"/>
              <a:gd name="connsiteY0" fmla="*/ 75 h 9905"/>
              <a:gd name="connsiteX1" fmla="*/ 841 w 10000"/>
              <a:gd name="connsiteY1" fmla="*/ 17 h 9905"/>
              <a:gd name="connsiteX2" fmla="*/ 907 w 10000"/>
              <a:gd name="connsiteY2" fmla="*/ 596 h 9905"/>
              <a:gd name="connsiteX3" fmla="*/ 907 w 10000"/>
              <a:gd name="connsiteY3" fmla="*/ 9326 h 9905"/>
              <a:gd name="connsiteX4" fmla="*/ 974 w 10000"/>
              <a:gd name="connsiteY4" fmla="*/ 9905 h 9905"/>
              <a:gd name="connsiteX5" fmla="*/ 4534 w 10000"/>
              <a:gd name="connsiteY5" fmla="*/ 9905 h 9905"/>
              <a:gd name="connsiteX6" fmla="*/ 4602 w 10000"/>
              <a:gd name="connsiteY6" fmla="*/ 9326 h 9905"/>
              <a:gd name="connsiteX7" fmla="*/ 4602 w 10000"/>
              <a:gd name="connsiteY7" fmla="*/ 4280 h 9905"/>
              <a:gd name="connsiteX8" fmla="*/ 4669 w 10000"/>
              <a:gd name="connsiteY8" fmla="*/ 3699 h 9905"/>
              <a:gd name="connsiteX9" fmla="*/ 8440 w 10000"/>
              <a:gd name="connsiteY9" fmla="*/ 3699 h 9905"/>
              <a:gd name="connsiteX10" fmla="*/ 8506 w 10000"/>
              <a:gd name="connsiteY10" fmla="*/ 4280 h 9905"/>
              <a:gd name="connsiteX11" fmla="*/ 8506 w 10000"/>
              <a:gd name="connsiteY11" fmla="*/ 6243 h 9905"/>
              <a:gd name="connsiteX12" fmla="*/ 8569 w 10000"/>
              <a:gd name="connsiteY12" fmla="*/ 6823 h 9905"/>
              <a:gd name="connsiteX13" fmla="*/ 9934 w 10000"/>
              <a:gd name="connsiteY13" fmla="*/ 6823 h 9905"/>
              <a:gd name="connsiteX14" fmla="*/ 10000 w 10000"/>
              <a:gd name="connsiteY14" fmla="*/ 6243 h 9905"/>
              <a:gd name="connsiteX0" fmla="*/ 0 w 10000"/>
              <a:gd name="connsiteY0" fmla="*/ 59 h 9983"/>
              <a:gd name="connsiteX1" fmla="*/ 841 w 10000"/>
              <a:gd name="connsiteY1" fmla="*/ 0 h 9983"/>
              <a:gd name="connsiteX2" fmla="*/ 907 w 10000"/>
              <a:gd name="connsiteY2" fmla="*/ 585 h 9983"/>
              <a:gd name="connsiteX3" fmla="*/ 907 w 10000"/>
              <a:gd name="connsiteY3" fmla="*/ 9398 h 9983"/>
              <a:gd name="connsiteX4" fmla="*/ 974 w 10000"/>
              <a:gd name="connsiteY4" fmla="*/ 9983 h 9983"/>
              <a:gd name="connsiteX5" fmla="*/ 4534 w 10000"/>
              <a:gd name="connsiteY5" fmla="*/ 9983 h 9983"/>
              <a:gd name="connsiteX6" fmla="*/ 4602 w 10000"/>
              <a:gd name="connsiteY6" fmla="*/ 9398 h 9983"/>
              <a:gd name="connsiteX7" fmla="*/ 4602 w 10000"/>
              <a:gd name="connsiteY7" fmla="*/ 4304 h 9983"/>
              <a:gd name="connsiteX8" fmla="*/ 4669 w 10000"/>
              <a:gd name="connsiteY8" fmla="*/ 3717 h 9983"/>
              <a:gd name="connsiteX9" fmla="*/ 8440 w 10000"/>
              <a:gd name="connsiteY9" fmla="*/ 3717 h 9983"/>
              <a:gd name="connsiteX10" fmla="*/ 8506 w 10000"/>
              <a:gd name="connsiteY10" fmla="*/ 4304 h 9983"/>
              <a:gd name="connsiteX11" fmla="*/ 8506 w 10000"/>
              <a:gd name="connsiteY11" fmla="*/ 6286 h 9983"/>
              <a:gd name="connsiteX12" fmla="*/ 8569 w 10000"/>
              <a:gd name="connsiteY12" fmla="*/ 6871 h 9983"/>
              <a:gd name="connsiteX13" fmla="*/ 9934 w 10000"/>
              <a:gd name="connsiteY13" fmla="*/ 6871 h 9983"/>
              <a:gd name="connsiteX14" fmla="*/ 10000 w 10000"/>
              <a:gd name="connsiteY14" fmla="*/ 6286 h 9983"/>
              <a:gd name="connsiteX0" fmla="*/ 0 w 10003"/>
              <a:gd name="connsiteY0" fmla="*/ 0 h 10029"/>
              <a:gd name="connsiteX1" fmla="*/ 844 w 10003"/>
              <a:gd name="connsiteY1" fmla="*/ 29 h 10029"/>
              <a:gd name="connsiteX2" fmla="*/ 910 w 10003"/>
              <a:gd name="connsiteY2" fmla="*/ 615 h 10029"/>
              <a:gd name="connsiteX3" fmla="*/ 910 w 10003"/>
              <a:gd name="connsiteY3" fmla="*/ 9443 h 10029"/>
              <a:gd name="connsiteX4" fmla="*/ 977 w 10003"/>
              <a:gd name="connsiteY4" fmla="*/ 10029 h 10029"/>
              <a:gd name="connsiteX5" fmla="*/ 4537 w 10003"/>
              <a:gd name="connsiteY5" fmla="*/ 10029 h 10029"/>
              <a:gd name="connsiteX6" fmla="*/ 4605 w 10003"/>
              <a:gd name="connsiteY6" fmla="*/ 9443 h 10029"/>
              <a:gd name="connsiteX7" fmla="*/ 4605 w 10003"/>
              <a:gd name="connsiteY7" fmla="*/ 4340 h 10029"/>
              <a:gd name="connsiteX8" fmla="*/ 4672 w 10003"/>
              <a:gd name="connsiteY8" fmla="*/ 3752 h 10029"/>
              <a:gd name="connsiteX9" fmla="*/ 8443 w 10003"/>
              <a:gd name="connsiteY9" fmla="*/ 3752 h 10029"/>
              <a:gd name="connsiteX10" fmla="*/ 8509 w 10003"/>
              <a:gd name="connsiteY10" fmla="*/ 4340 h 10029"/>
              <a:gd name="connsiteX11" fmla="*/ 8509 w 10003"/>
              <a:gd name="connsiteY11" fmla="*/ 6326 h 10029"/>
              <a:gd name="connsiteX12" fmla="*/ 8572 w 10003"/>
              <a:gd name="connsiteY12" fmla="*/ 6912 h 10029"/>
              <a:gd name="connsiteX13" fmla="*/ 9937 w 10003"/>
              <a:gd name="connsiteY13" fmla="*/ 6912 h 10029"/>
              <a:gd name="connsiteX14" fmla="*/ 10003 w 10003"/>
              <a:gd name="connsiteY14" fmla="*/ 6326 h 10029"/>
              <a:gd name="connsiteX0" fmla="*/ 0 w 10003"/>
              <a:gd name="connsiteY0" fmla="*/ 59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0 h 10029"/>
              <a:gd name="connsiteX1" fmla="*/ 844 w 10003"/>
              <a:gd name="connsiteY1" fmla="*/ 29 h 10029"/>
              <a:gd name="connsiteX2" fmla="*/ 910 w 10003"/>
              <a:gd name="connsiteY2" fmla="*/ 615 h 10029"/>
              <a:gd name="connsiteX3" fmla="*/ 910 w 10003"/>
              <a:gd name="connsiteY3" fmla="*/ 9443 h 10029"/>
              <a:gd name="connsiteX4" fmla="*/ 977 w 10003"/>
              <a:gd name="connsiteY4" fmla="*/ 10029 h 10029"/>
              <a:gd name="connsiteX5" fmla="*/ 4537 w 10003"/>
              <a:gd name="connsiteY5" fmla="*/ 10029 h 10029"/>
              <a:gd name="connsiteX6" fmla="*/ 4605 w 10003"/>
              <a:gd name="connsiteY6" fmla="*/ 9443 h 10029"/>
              <a:gd name="connsiteX7" fmla="*/ 4605 w 10003"/>
              <a:gd name="connsiteY7" fmla="*/ 4340 h 10029"/>
              <a:gd name="connsiteX8" fmla="*/ 4672 w 10003"/>
              <a:gd name="connsiteY8" fmla="*/ 3752 h 10029"/>
              <a:gd name="connsiteX9" fmla="*/ 8443 w 10003"/>
              <a:gd name="connsiteY9" fmla="*/ 3752 h 10029"/>
              <a:gd name="connsiteX10" fmla="*/ 8509 w 10003"/>
              <a:gd name="connsiteY10" fmla="*/ 4340 h 10029"/>
              <a:gd name="connsiteX11" fmla="*/ 8509 w 10003"/>
              <a:gd name="connsiteY11" fmla="*/ 6326 h 10029"/>
              <a:gd name="connsiteX12" fmla="*/ 8572 w 10003"/>
              <a:gd name="connsiteY12" fmla="*/ 6912 h 10029"/>
              <a:gd name="connsiteX13" fmla="*/ 9937 w 10003"/>
              <a:gd name="connsiteY13" fmla="*/ 6912 h 10029"/>
              <a:gd name="connsiteX14" fmla="*/ 10003 w 10003"/>
              <a:gd name="connsiteY14" fmla="*/ 6326 h 10029"/>
              <a:gd name="connsiteX0" fmla="*/ 0 w 10003"/>
              <a:gd name="connsiteY0" fmla="*/ 30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0 h 10029"/>
              <a:gd name="connsiteX1" fmla="*/ 844 w 10003"/>
              <a:gd name="connsiteY1" fmla="*/ 29 h 10029"/>
              <a:gd name="connsiteX2" fmla="*/ 910 w 10003"/>
              <a:gd name="connsiteY2" fmla="*/ 615 h 10029"/>
              <a:gd name="connsiteX3" fmla="*/ 910 w 10003"/>
              <a:gd name="connsiteY3" fmla="*/ 9443 h 10029"/>
              <a:gd name="connsiteX4" fmla="*/ 977 w 10003"/>
              <a:gd name="connsiteY4" fmla="*/ 10029 h 10029"/>
              <a:gd name="connsiteX5" fmla="*/ 4537 w 10003"/>
              <a:gd name="connsiteY5" fmla="*/ 10029 h 10029"/>
              <a:gd name="connsiteX6" fmla="*/ 4605 w 10003"/>
              <a:gd name="connsiteY6" fmla="*/ 9443 h 10029"/>
              <a:gd name="connsiteX7" fmla="*/ 4605 w 10003"/>
              <a:gd name="connsiteY7" fmla="*/ 4340 h 10029"/>
              <a:gd name="connsiteX8" fmla="*/ 4672 w 10003"/>
              <a:gd name="connsiteY8" fmla="*/ 3752 h 10029"/>
              <a:gd name="connsiteX9" fmla="*/ 8443 w 10003"/>
              <a:gd name="connsiteY9" fmla="*/ 3752 h 10029"/>
              <a:gd name="connsiteX10" fmla="*/ 8509 w 10003"/>
              <a:gd name="connsiteY10" fmla="*/ 4340 h 10029"/>
              <a:gd name="connsiteX11" fmla="*/ 8509 w 10003"/>
              <a:gd name="connsiteY11" fmla="*/ 6326 h 10029"/>
              <a:gd name="connsiteX12" fmla="*/ 8572 w 10003"/>
              <a:gd name="connsiteY12" fmla="*/ 6912 h 10029"/>
              <a:gd name="connsiteX13" fmla="*/ 9937 w 10003"/>
              <a:gd name="connsiteY13" fmla="*/ 6912 h 10029"/>
              <a:gd name="connsiteX14" fmla="*/ 10003 w 10003"/>
              <a:gd name="connsiteY14" fmla="*/ 6326 h 10029"/>
              <a:gd name="connsiteX0" fmla="*/ 0 w 10003"/>
              <a:gd name="connsiteY0" fmla="*/ 30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1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1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10003 w 10003"/>
              <a:gd name="connsiteY13" fmla="*/ 6297 h 10000"/>
              <a:gd name="connsiteX0" fmla="*/ 0 w 9498"/>
              <a:gd name="connsiteY0" fmla="*/ 1 h 10000"/>
              <a:gd name="connsiteX1" fmla="*/ 844 w 9498"/>
              <a:gd name="connsiteY1" fmla="*/ 0 h 10000"/>
              <a:gd name="connsiteX2" fmla="*/ 910 w 9498"/>
              <a:gd name="connsiteY2" fmla="*/ 586 h 10000"/>
              <a:gd name="connsiteX3" fmla="*/ 910 w 9498"/>
              <a:gd name="connsiteY3" fmla="*/ 9414 h 10000"/>
              <a:gd name="connsiteX4" fmla="*/ 977 w 9498"/>
              <a:gd name="connsiteY4" fmla="*/ 10000 h 10000"/>
              <a:gd name="connsiteX5" fmla="*/ 4537 w 9498"/>
              <a:gd name="connsiteY5" fmla="*/ 10000 h 10000"/>
              <a:gd name="connsiteX6" fmla="*/ 4605 w 9498"/>
              <a:gd name="connsiteY6" fmla="*/ 9414 h 10000"/>
              <a:gd name="connsiteX7" fmla="*/ 4605 w 9498"/>
              <a:gd name="connsiteY7" fmla="*/ 4311 h 10000"/>
              <a:gd name="connsiteX8" fmla="*/ 4672 w 9498"/>
              <a:gd name="connsiteY8" fmla="*/ 3723 h 10000"/>
              <a:gd name="connsiteX9" fmla="*/ 8443 w 9498"/>
              <a:gd name="connsiteY9" fmla="*/ 3723 h 10000"/>
              <a:gd name="connsiteX10" fmla="*/ 8509 w 9498"/>
              <a:gd name="connsiteY10" fmla="*/ 4311 h 10000"/>
              <a:gd name="connsiteX11" fmla="*/ 8509 w 9498"/>
              <a:gd name="connsiteY11" fmla="*/ 6297 h 10000"/>
              <a:gd name="connsiteX12" fmla="*/ 8572 w 9498"/>
              <a:gd name="connsiteY12" fmla="*/ 6883 h 10000"/>
              <a:gd name="connsiteX13" fmla="*/ 9498 w 9498"/>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49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1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1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1 w 10000"/>
              <a:gd name="connsiteY12" fmla="*/ 6861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27 h 10000"/>
              <a:gd name="connsiteX13" fmla="*/ 10000 w 10000"/>
              <a:gd name="connsiteY13" fmla="*/ 6912 h 10000"/>
              <a:gd name="connsiteX0" fmla="*/ 0 w 10029"/>
              <a:gd name="connsiteY0" fmla="*/ 1 h 10000"/>
              <a:gd name="connsiteX1" fmla="*/ 889 w 10029"/>
              <a:gd name="connsiteY1" fmla="*/ 0 h 10000"/>
              <a:gd name="connsiteX2" fmla="*/ 958 w 10029"/>
              <a:gd name="connsiteY2" fmla="*/ 586 h 10000"/>
              <a:gd name="connsiteX3" fmla="*/ 958 w 10029"/>
              <a:gd name="connsiteY3" fmla="*/ 9414 h 10000"/>
              <a:gd name="connsiteX4" fmla="*/ 1029 w 10029"/>
              <a:gd name="connsiteY4" fmla="*/ 10000 h 10000"/>
              <a:gd name="connsiteX5" fmla="*/ 4777 w 10029"/>
              <a:gd name="connsiteY5" fmla="*/ 10000 h 10000"/>
              <a:gd name="connsiteX6" fmla="*/ 4848 w 10029"/>
              <a:gd name="connsiteY6" fmla="*/ 9414 h 10000"/>
              <a:gd name="connsiteX7" fmla="*/ 4848 w 10029"/>
              <a:gd name="connsiteY7" fmla="*/ 4311 h 10000"/>
              <a:gd name="connsiteX8" fmla="*/ 4919 w 10029"/>
              <a:gd name="connsiteY8" fmla="*/ 3723 h 10000"/>
              <a:gd name="connsiteX9" fmla="*/ 8889 w 10029"/>
              <a:gd name="connsiteY9" fmla="*/ 3723 h 10000"/>
              <a:gd name="connsiteX10" fmla="*/ 8959 w 10029"/>
              <a:gd name="connsiteY10" fmla="*/ 4311 h 10000"/>
              <a:gd name="connsiteX11" fmla="*/ 8959 w 10029"/>
              <a:gd name="connsiteY11" fmla="*/ 6297 h 10000"/>
              <a:gd name="connsiteX12" fmla="*/ 9014 w 10029"/>
              <a:gd name="connsiteY12" fmla="*/ 6927 h 10000"/>
              <a:gd name="connsiteX13" fmla="*/ 10029 w 10029"/>
              <a:gd name="connsiteY13" fmla="*/ 6912 h 10000"/>
              <a:gd name="connsiteX0" fmla="*/ 0 w 10029"/>
              <a:gd name="connsiteY0" fmla="*/ 1 h 10000"/>
              <a:gd name="connsiteX1" fmla="*/ 889 w 10029"/>
              <a:gd name="connsiteY1" fmla="*/ 0 h 10000"/>
              <a:gd name="connsiteX2" fmla="*/ 958 w 10029"/>
              <a:gd name="connsiteY2" fmla="*/ 586 h 10000"/>
              <a:gd name="connsiteX3" fmla="*/ 958 w 10029"/>
              <a:gd name="connsiteY3" fmla="*/ 9414 h 10000"/>
              <a:gd name="connsiteX4" fmla="*/ 1029 w 10029"/>
              <a:gd name="connsiteY4" fmla="*/ 10000 h 10000"/>
              <a:gd name="connsiteX5" fmla="*/ 4777 w 10029"/>
              <a:gd name="connsiteY5" fmla="*/ 10000 h 10000"/>
              <a:gd name="connsiteX6" fmla="*/ 4848 w 10029"/>
              <a:gd name="connsiteY6" fmla="*/ 9414 h 10000"/>
              <a:gd name="connsiteX7" fmla="*/ 4848 w 10029"/>
              <a:gd name="connsiteY7" fmla="*/ 4311 h 10000"/>
              <a:gd name="connsiteX8" fmla="*/ 4919 w 10029"/>
              <a:gd name="connsiteY8" fmla="*/ 3723 h 10000"/>
              <a:gd name="connsiteX9" fmla="*/ 8889 w 10029"/>
              <a:gd name="connsiteY9" fmla="*/ 3723 h 10000"/>
              <a:gd name="connsiteX10" fmla="*/ 8959 w 10029"/>
              <a:gd name="connsiteY10" fmla="*/ 4311 h 10000"/>
              <a:gd name="connsiteX11" fmla="*/ 8959 w 10029"/>
              <a:gd name="connsiteY11" fmla="*/ 6297 h 10000"/>
              <a:gd name="connsiteX12" fmla="*/ 9014 w 10029"/>
              <a:gd name="connsiteY12" fmla="*/ 6927 h 10000"/>
              <a:gd name="connsiteX13" fmla="*/ 10029 w 10029"/>
              <a:gd name="connsiteY13" fmla="*/ 6912 h 10000"/>
              <a:gd name="connsiteX0" fmla="*/ 0 w 10063"/>
              <a:gd name="connsiteY0" fmla="*/ 1 h 10000"/>
              <a:gd name="connsiteX1" fmla="*/ 889 w 10063"/>
              <a:gd name="connsiteY1" fmla="*/ 0 h 10000"/>
              <a:gd name="connsiteX2" fmla="*/ 958 w 10063"/>
              <a:gd name="connsiteY2" fmla="*/ 586 h 10000"/>
              <a:gd name="connsiteX3" fmla="*/ 958 w 10063"/>
              <a:gd name="connsiteY3" fmla="*/ 9414 h 10000"/>
              <a:gd name="connsiteX4" fmla="*/ 1029 w 10063"/>
              <a:gd name="connsiteY4" fmla="*/ 10000 h 10000"/>
              <a:gd name="connsiteX5" fmla="*/ 4777 w 10063"/>
              <a:gd name="connsiteY5" fmla="*/ 10000 h 10000"/>
              <a:gd name="connsiteX6" fmla="*/ 4848 w 10063"/>
              <a:gd name="connsiteY6" fmla="*/ 9414 h 10000"/>
              <a:gd name="connsiteX7" fmla="*/ 4848 w 10063"/>
              <a:gd name="connsiteY7" fmla="*/ 4311 h 10000"/>
              <a:gd name="connsiteX8" fmla="*/ 4919 w 10063"/>
              <a:gd name="connsiteY8" fmla="*/ 3723 h 10000"/>
              <a:gd name="connsiteX9" fmla="*/ 8889 w 10063"/>
              <a:gd name="connsiteY9" fmla="*/ 3723 h 10000"/>
              <a:gd name="connsiteX10" fmla="*/ 8959 w 10063"/>
              <a:gd name="connsiteY10" fmla="*/ 4311 h 10000"/>
              <a:gd name="connsiteX11" fmla="*/ 8959 w 10063"/>
              <a:gd name="connsiteY11" fmla="*/ 6297 h 10000"/>
              <a:gd name="connsiteX12" fmla="*/ 9014 w 10063"/>
              <a:gd name="connsiteY12" fmla="*/ 6927 h 10000"/>
              <a:gd name="connsiteX13" fmla="*/ 10063 w 10063"/>
              <a:gd name="connsiteY13" fmla="*/ 6912 h 10000"/>
              <a:gd name="connsiteX0" fmla="*/ 0 w 9995"/>
              <a:gd name="connsiteY0" fmla="*/ 1 h 10000"/>
              <a:gd name="connsiteX1" fmla="*/ 889 w 9995"/>
              <a:gd name="connsiteY1" fmla="*/ 0 h 10000"/>
              <a:gd name="connsiteX2" fmla="*/ 958 w 9995"/>
              <a:gd name="connsiteY2" fmla="*/ 586 h 10000"/>
              <a:gd name="connsiteX3" fmla="*/ 958 w 9995"/>
              <a:gd name="connsiteY3" fmla="*/ 9414 h 10000"/>
              <a:gd name="connsiteX4" fmla="*/ 1029 w 9995"/>
              <a:gd name="connsiteY4" fmla="*/ 10000 h 10000"/>
              <a:gd name="connsiteX5" fmla="*/ 4777 w 9995"/>
              <a:gd name="connsiteY5" fmla="*/ 10000 h 10000"/>
              <a:gd name="connsiteX6" fmla="*/ 4848 w 9995"/>
              <a:gd name="connsiteY6" fmla="*/ 9414 h 10000"/>
              <a:gd name="connsiteX7" fmla="*/ 4848 w 9995"/>
              <a:gd name="connsiteY7" fmla="*/ 4311 h 10000"/>
              <a:gd name="connsiteX8" fmla="*/ 4919 w 9995"/>
              <a:gd name="connsiteY8" fmla="*/ 3723 h 10000"/>
              <a:gd name="connsiteX9" fmla="*/ 8889 w 9995"/>
              <a:gd name="connsiteY9" fmla="*/ 3723 h 10000"/>
              <a:gd name="connsiteX10" fmla="*/ 8959 w 9995"/>
              <a:gd name="connsiteY10" fmla="*/ 4311 h 10000"/>
              <a:gd name="connsiteX11" fmla="*/ 8959 w 9995"/>
              <a:gd name="connsiteY11" fmla="*/ 6297 h 10000"/>
              <a:gd name="connsiteX12" fmla="*/ 9014 w 9995"/>
              <a:gd name="connsiteY12" fmla="*/ 6927 h 10000"/>
              <a:gd name="connsiteX13" fmla="*/ 9995 w 9995"/>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78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34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22 w 10000"/>
              <a:gd name="connsiteY12" fmla="*/ 6949 h 10000"/>
              <a:gd name="connsiteX13" fmla="*/ 10000 w 10000"/>
              <a:gd name="connsiteY13" fmla="*/ 6934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49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7000 h 10000"/>
              <a:gd name="connsiteX0" fmla="*/ 0 w 10007"/>
              <a:gd name="connsiteY0" fmla="*/ 1 h 10000"/>
              <a:gd name="connsiteX1" fmla="*/ 889 w 10007"/>
              <a:gd name="connsiteY1" fmla="*/ 0 h 10000"/>
              <a:gd name="connsiteX2" fmla="*/ 958 w 10007"/>
              <a:gd name="connsiteY2" fmla="*/ 586 h 10000"/>
              <a:gd name="connsiteX3" fmla="*/ 958 w 10007"/>
              <a:gd name="connsiteY3" fmla="*/ 9414 h 10000"/>
              <a:gd name="connsiteX4" fmla="*/ 1030 w 10007"/>
              <a:gd name="connsiteY4" fmla="*/ 10000 h 10000"/>
              <a:gd name="connsiteX5" fmla="*/ 4779 w 10007"/>
              <a:gd name="connsiteY5" fmla="*/ 10000 h 10000"/>
              <a:gd name="connsiteX6" fmla="*/ 4850 w 10007"/>
              <a:gd name="connsiteY6" fmla="*/ 9414 h 10000"/>
              <a:gd name="connsiteX7" fmla="*/ 4850 w 10007"/>
              <a:gd name="connsiteY7" fmla="*/ 4311 h 10000"/>
              <a:gd name="connsiteX8" fmla="*/ 4921 w 10007"/>
              <a:gd name="connsiteY8" fmla="*/ 3723 h 10000"/>
              <a:gd name="connsiteX9" fmla="*/ 8893 w 10007"/>
              <a:gd name="connsiteY9" fmla="*/ 3723 h 10000"/>
              <a:gd name="connsiteX10" fmla="*/ 8963 w 10007"/>
              <a:gd name="connsiteY10" fmla="*/ 4311 h 10000"/>
              <a:gd name="connsiteX11" fmla="*/ 8963 w 10007"/>
              <a:gd name="connsiteY11" fmla="*/ 6297 h 10000"/>
              <a:gd name="connsiteX12" fmla="*/ 9022 w 10007"/>
              <a:gd name="connsiteY12" fmla="*/ 6971 h 10000"/>
              <a:gd name="connsiteX13" fmla="*/ 10007 w 10007"/>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7000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7000 h 10000"/>
              <a:gd name="connsiteX0" fmla="*/ 0 w 10013"/>
              <a:gd name="connsiteY0" fmla="*/ 1 h 10000"/>
              <a:gd name="connsiteX1" fmla="*/ 889 w 10013"/>
              <a:gd name="connsiteY1" fmla="*/ 0 h 10000"/>
              <a:gd name="connsiteX2" fmla="*/ 958 w 10013"/>
              <a:gd name="connsiteY2" fmla="*/ 586 h 10000"/>
              <a:gd name="connsiteX3" fmla="*/ 958 w 10013"/>
              <a:gd name="connsiteY3" fmla="*/ 9414 h 10000"/>
              <a:gd name="connsiteX4" fmla="*/ 1030 w 10013"/>
              <a:gd name="connsiteY4" fmla="*/ 10000 h 10000"/>
              <a:gd name="connsiteX5" fmla="*/ 4779 w 10013"/>
              <a:gd name="connsiteY5" fmla="*/ 10000 h 10000"/>
              <a:gd name="connsiteX6" fmla="*/ 4850 w 10013"/>
              <a:gd name="connsiteY6" fmla="*/ 9414 h 10000"/>
              <a:gd name="connsiteX7" fmla="*/ 4850 w 10013"/>
              <a:gd name="connsiteY7" fmla="*/ 4311 h 10000"/>
              <a:gd name="connsiteX8" fmla="*/ 4921 w 10013"/>
              <a:gd name="connsiteY8" fmla="*/ 3723 h 10000"/>
              <a:gd name="connsiteX9" fmla="*/ 8893 w 10013"/>
              <a:gd name="connsiteY9" fmla="*/ 3723 h 10000"/>
              <a:gd name="connsiteX10" fmla="*/ 8963 w 10013"/>
              <a:gd name="connsiteY10" fmla="*/ 4311 h 10000"/>
              <a:gd name="connsiteX11" fmla="*/ 8963 w 10013"/>
              <a:gd name="connsiteY11" fmla="*/ 6297 h 10000"/>
              <a:gd name="connsiteX12" fmla="*/ 9022 w 10013"/>
              <a:gd name="connsiteY12" fmla="*/ 6971 h 10000"/>
              <a:gd name="connsiteX13" fmla="*/ 10013 w 10013"/>
              <a:gd name="connsiteY13" fmla="*/ 6956 h 10000"/>
              <a:gd name="connsiteX0" fmla="*/ 0 w 10081"/>
              <a:gd name="connsiteY0" fmla="*/ 1 h 10000"/>
              <a:gd name="connsiteX1" fmla="*/ 889 w 10081"/>
              <a:gd name="connsiteY1" fmla="*/ 0 h 10000"/>
              <a:gd name="connsiteX2" fmla="*/ 958 w 10081"/>
              <a:gd name="connsiteY2" fmla="*/ 586 h 10000"/>
              <a:gd name="connsiteX3" fmla="*/ 958 w 10081"/>
              <a:gd name="connsiteY3" fmla="*/ 9414 h 10000"/>
              <a:gd name="connsiteX4" fmla="*/ 1030 w 10081"/>
              <a:gd name="connsiteY4" fmla="*/ 10000 h 10000"/>
              <a:gd name="connsiteX5" fmla="*/ 4779 w 10081"/>
              <a:gd name="connsiteY5" fmla="*/ 10000 h 10000"/>
              <a:gd name="connsiteX6" fmla="*/ 4850 w 10081"/>
              <a:gd name="connsiteY6" fmla="*/ 9414 h 10000"/>
              <a:gd name="connsiteX7" fmla="*/ 4850 w 10081"/>
              <a:gd name="connsiteY7" fmla="*/ 4311 h 10000"/>
              <a:gd name="connsiteX8" fmla="*/ 4921 w 10081"/>
              <a:gd name="connsiteY8" fmla="*/ 3723 h 10000"/>
              <a:gd name="connsiteX9" fmla="*/ 8893 w 10081"/>
              <a:gd name="connsiteY9" fmla="*/ 3723 h 10000"/>
              <a:gd name="connsiteX10" fmla="*/ 8963 w 10081"/>
              <a:gd name="connsiteY10" fmla="*/ 4311 h 10000"/>
              <a:gd name="connsiteX11" fmla="*/ 8963 w 10081"/>
              <a:gd name="connsiteY11" fmla="*/ 6297 h 10000"/>
              <a:gd name="connsiteX12" fmla="*/ 9022 w 10081"/>
              <a:gd name="connsiteY12" fmla="*/ 6971 h 10000"/>
              <a:gd name="connsiteX13" fmla="*/ 10081 w 10081"/>
              <a:gd name="connsiteY13" fmla="*/ 6978 h 10000"/>
              <a:gd name="connsiteX0" fmla="*/ 0 w 10089"/>
              <a:gd name="connsiteY0" fmla="*/ 1 h 10000"/>
              <a:gd name="connsiteX1" fmla="*/ 889 w 10089"/>
              <a:gd name="connsiteY1" fmla="*/ 0 h 10000"/>
              <a:gd name="connsiteX2" fmla="*/ 958 w 10089"/>
              <a:gd name="connsiteY2" fmla="*/ 586 h 10000"/>
              <a:gd name="connsiteX3" fmla="*/ 958 w 10089"/>
              <a:gd name="connsiteY3" fmla="*/ 9414 h 10000"/>
              <a:gd name="connsiteX4" fmla="*/ 1030 w 10089"/>
              <a:gd name="connsiteY4" fmla="*/ 10000 h 10000"/>
              <a:gd name="connsiteX5" fmla="*/ 4779 w 10089"/>
              <a:gd name="connsiteY5" fmla="*/ 10000 h 10000"/>
              <a:gd name="connsiteX6" fmla="*/ 4850 w 10089"/>
              <a:gd name="connsiteY6" fmla="*/ 9414 h 10000"/>
              <a:gd name="connsiteX7" fmla="*/ 4850 w 10089"/>
              <a:gd name="connsiteY7" fmla="*/ 4311 h 10000"/>
              <a:gd name="connsiteX8" fmla="*/ 4921 w 10089"/>
              <a:gd name="connsiteY8" fmla="*/ 3723 h 10000"/>
              <a:gd name="connsiteX9" fmla="*/ 8893 w 10089"/>
              <a:gd name="connsiteY9" fmla="*/ 3723 h 10000"/>
              <a:gd name="connsiteX10" fmla="*/ 8963 w 10089"/>
              <a:gd name="connsiteY10" fmla="*/ 4311 h 10000"/>
              <a:gd name="connsiteX11" fmla="*/ 8963 w 10089"/>
              <a:gd name="connsiteY11" fmla="*/ 6297 h 10000"/>
              <a:gd name="connsiteX12" fmla="*/ 9022 w 10089"/>
              <a:gd name="connsiteY12" fmla="*/ 6971 h 10000"/>
              <a:gd name="connsiteX13" fmla="*/ 10089 w 10089"/>
              <a:gd name="connsiteY13" fmla="*/ 6956 h 10000"/>
              <a:gd name="connsiteX0" fmla="*/ 0 w 10092"/>
              <a:gd name="connsiteY0" fmla="*/ 1 h 10000"/>
              <a:gd name="connsiteX1" fmla="*/ 889 w 10092"/>
              <a:gd name="connsiteY1" fmla="*/ 0 h 10000"/>
              <a:gd name="connsiteX2" fmla="*/ 958 w 10092"/>
              <a:gd name="connsiteY2" fmla="*/ 586 h 10000"/>
              <a:gd name="connsiteX3" fmla="*/ 958 w 10092"/>
              <a:gd name="connsiteY3" fmla="*/ 9414 h 10000"/>
              <a:gd name="connsiteX4" fmla="*/ 1030 w 10092"/>
              <a:gd name="connsiteY4" fmla="*/ 10000 h 10000"/>
              <a:gd name="connsiteX5" fmla="*/ 4779 w 10092"/>
              <a:gd name="connsiteY5" fmla="*/ 10000 h 10000"/>
              <a:gd name="connsiteX6" fmla="*/ 4850 w 10092"/>
              <a:gd name="connsiteY6" fmla="*/ 9414 h 10000"/>
              <a:gd name="connsiteX7" fmla="*/ 4850 w 10092"/>
              <a:gd name="connsiteY7" fmla="*/ 4311 h 10000"/>
              <a:gd name="connsiteX8" fmla="*/ 4921 w 10092"/>
              <a:gd name="connsiteY8" fmla="*/ 3723 h 10000"/>
              <a:gd name="connsiteX9" fmla="*/ 8893 w 10092"/>
              <a:gd name="connsiteY9" fmla="*/ 3723 h 10000"/>
              <a:gd name="connsiteX10" fmla="*/ 8963 w 10092"/>
              <a:gd name="connsiteY10" fmla="*/ 4311 h 10000"/>
              <a:gd name="connsiteX11" fmla="*/ 8963 w 10092"/>
              <a:gd name="connsiteY11" fmla="*/ 6297 h 10000"/>
              <a:gd name="connsiteX12" fmla="*/ 9022 w 10092"/>
              <a:gd name="connsiteY12" fmla="*/ 6971 h 10000"/>
              <a:gd name="connsiteX13" fmla="*/ 10092 w 10092"/>
              <a:gd name="connsiteY13" fmla="*/ 6978 h 10000"/>
              <a:gd name="connsiteX0" fmla="*/ 0 w 10095"/>
              <a:gd name="connsiteY0" fmla="*/ 1 h 10000"/>
              <a:gd name="connsiteX1" fmla="*/ 889 w 10095"/>
              <a:gd name="connsiteY1" fmla="*/ 0 h 10000"/>
              <a:gd name="connsiteX2" fmla="*/ 958 w 10095"/>
              <a:gd name="connsiteY2" fmla="*/ 586 h 10000"/>
              <a:gd name="connsiteX3" fmla="*/ 958 w 10095"/>
              <a:gd name="connsiteY3" fmla="*/ 9414 h 10000"/>
              <a:gd name="connsiteX4" fmla="*/ 1030 w 10095"/>
              <a:gd name="connsiteY4" fmla="*/ 10000 h 10000"/>
              <a:gd name="connsiteX5" fmla="*/ 4779 w 10095"/>
              <a:gd name="connsiteY5" fmla="*/ 10000 h 10000"/>
              <a:gd name="connsiteX6" fmla="*/ 4850 w 10095"/>
              <a:gd name="connsiteY6" fmla="*/ 9414 h 10000"/>
              <a:gd name="connsiteX7" fmla="*/ 4850 w 10095"/>
              <a:gd name="connsiteY7" fmla="*/ 4311 h 10000"/>
              <a:gd name="connsiteX8" fmla="*/ 4921 w 10095"/>
              <a:gd name="connsiteY8" fmla="*/ 3723 h 10000"/>
              <a:gd name="connsiteX9" fmla="*/ 8893 w 10095"/>
              <a:gd name="connsiteY9" fmla="*/ 3723 h 10000"/>
              <a:gd name="connsiteX10" fmla="*/ 8963 w 10095"/>
              <a:gd name="connsiteY10" fmla="*/ 4311 h 10000"/>
              <a:gd name="connsiteX11" fmla="*/ 8963 w 10095"/>
              <a:gd name="connsiteY11" fmla="*/ 6297 h 10000"/>
              <a:gd name="connsiteX12" fmla="*/ 9022 w 10095"/>
              <a:gd name="connsiteY12" fmla="*/ 6971 h 10000"/>
              <a:gd name="connsiteX13" fmla="*/ 10095 w 10095"/>
              <a:gd name="connsiteY13" fmla="*/ 6978 h 10000"/>
              <a:gd name="connsiteX0" fmla="*/ 0 w 10095"/>
              <a:gd name="connsiteY0" fmla="*/ 1 h 10000"/>
              <a:gd name="connsiteX1" fmla="*/ 889 w 10095"/>
              <a:gd name="connsiteY1" fmla="*/ 0 h 10000"/>
              <a:gd name="connsiteX2" fmla="*/ 958 w 10095"/>
              <a:gd name="connsiteY2" fmla="*/ 586 h 10000"/>
              <a:gd name="connsiteX3" fmla="*/ 958 w 10095"/>
              <a:gd name="connsiteY3" fmla="*/ 9414 h 10000"/>
              <a:gd name="connsiteX4" fmla="*/ 1030 w 10095"/>
              <a:gd name="connsiteY4" fmla="*/ 10000 h 10000"/>
              <a:gd name="connsiteX5" fmla="*/ 4779 w 10095"/>
              <a:gd name="connsiteY5" fmla="*/ 10000 h 10000"/>
              <a:gd name="connsiteX6" fmla="*/ 4850 w 10095"/>
              <a:gd name="connsiteY6" fmla="*/ 9414 h 10000"/>
              <a:gd name="connsiteX7" fmla="*/ 4850 w 10095"/>
              <a:gd name="connsiteY7" fmla="*/ 4311 h 10000"/>
              <a:gd name="connsiteX8" fmla="*/ 4921 w 10095"/>
              <a:gd name="connsiteY8" fmla="*/ 3723 h 10000"/>
              <a:gd name="connsiteX9" fmla="*/ 8893 w 10095"/>
              <a:gd name="connsiteY9" fmla="*/ 3723 h 10000"/>
              <a:gd name="connsiteX10" fmla="*/ 8963 w 10095"/>
              <a:gd name="connsiteY10" fmla="*/ 4311 h 10000"/>
              <a:gd name="connsiteX11" fmla="*/ 8963 w 10095"/>
              <a:gd name="connsiteY11" fmla="*/ 6297 h 10000"/>
              <a:gd name="connsiteX12" fmla="*/ 9022 w 10095"/>
              <a:gd name="connsiteY12" fmla="*/ 6971 h 10000"/>
              <a:gd name="connsiteX13" fmla="*/ 10095 w 10095"/>
              <a:gd name="connsiteY13" fmla="*/ 6978 h 10000"/>
              <a:gd name="connsiteX0" fmla="*/ 0 w 10095"/>
              <a:gd name="connsiteY0" fmla="*/ 1 h 10000"/>
              <a:gd name="connsiteX1" fmla="*/ 889 w 10095"/>
              <a:gd name="connsiteY1" fmla="*/ 0 h 10000"/>
              <a:gd name="connsiteX2" fmla="*/ 958 w 10095"/>
              <a:gd name="connsiteY2" fmla="*/ 586 h 10000"/>
              <a:gd name="connsiteX3" fmla="*/ 958 w 10095"/>
              <a:gd name="connsiteY3" fmla="*/ 9414 h 10000"/>
              <a:gd name="connsiteX4" fmla="*/ 1030 w 10095"/>
              <a:gd name="connsiteY4" fmla="*/ 10000 h 10000"/>
              <a:gd name="connsiteX5" fmla="*/ 4779 w 10095"/>
              <a:gd name="connsiteY5" fmla="*/ 10000 h 10000"/>
              <a:gd name="connsiteX6" fmla="*/ 4850 w 10095"/>
              <a:gd name="connsiteY6" fmla="*/ 9414 h 10000"/>
              <a:gd name="connsiteX7" fmla="*/ 4850 w 10095"/>
              <a:gd name="connsiteY7" fmla="*/ 4311 h 10000"/>
              <a:gd name="connsiteX8" fmla="*/ 4921 w 10095"/>
              <a:gd name="connsiteY8" fmla="*/ 3723 h 10000"/>
              <a:gd name="connsiteX9" fmla="*/ 8893 w 10095"/>
              <a:gd name="connsiteY9" fmla="*/ 3723 h 10000"/>
              <a:gd name="connsiteX10" fmla="*/ 8963 w 10095"/>
              <a:gd name="connsiteY10" fmla="*/ 4311 h 10000"/>
              <a:gd name="connsiteX11" fmla="*/ 8963 w 10095"/>
              <a:gd name="connsiteY11" fmla="*/ 6297 h 10000"/>
              <a:gd name="connsiteX12" fmla="*/ 9022 w 10095"/>
              <a:gd name="connsiteY12" fmla="*/ 6971 h 10000"/>
              <a:gd name="connsiteX13" fmla="*/ 10095 w 10095"/>
              <a:gd name="connsiteY13" fmla="*/ 6912 h 10000"/>
              <a:gd name="connsiteX0" fmla="*/ 0 w 10105"/>
              <a:gd name="connsiteY0" fmla="*/ 1 h 10000"/>
              <a:gd name="connsiteX1" fmla="*/ 889 w 10105"/>
              <a:gd name="connsiteY1" fmla="*/ 0 h 10000"/>
              <a:gd name="connsiteX2" fmla="*/ 958 w 10105"/>
              <a:gd name="connsiteY2" fmla="*/ 586 h 10000"/>
              <a:gd name="connsiteX3" fmla="*/ 958 w 10105"/>
              <a:gd name="connsiteY3" fmla="*/ 9414 h 10000"/>
              <a:gd name="connsiteX4" fmla="*/ 1030 w 10105"/>
              <a:gd name="connsiteY4" fmla="*/ 10000 h 10000"/>
              <a:gd name="connsiteX5" fmla="*/ 4779 w 10105"/>
              <a:gd name="connsiteY5" fmla="*/ 10000 h 10000"/>
              <a:gd name="connsiteX6" fmla="*/ 4850 w 10105"/>
              <a:gd name="connsiteY6" fmla="*/ 9414 h 10000"/>
              <a:gd name="connsiteX7" fmla="*/ 4850 w 10105"/>
              <a:gd name="connsiteY7" fmla="*/ 4311 h 10000"/>
              <a:gd name="connsiteX8" fmla="*/ 4921 w 10105"/>
              <a:gd name="connsiteY8" fmla="*/ 3723 h 10000"/>
              <a:gd name="connsiteX9" fmla="*/ 8893 w 10105"/>
              <a:gd name="connsiteY9" fmla="*/ 3723 h 10000"/>
              <a:gd name="connsiteX10" fmla="*/ 8963 w 10105"/>
              <a:gd name="connsiteY10" fmla="*/ 4311 h 10000"/>
              <a:gd name="connsiteX11" fmla="*/ 8963 w 10105"/>
              <a:gd name="connsiteY11" fmla="*/ 6297 h 10000"/>
              <a:gd name="connsiteX12" fmla="*/ 9022 w 10105"/>
              <a:gd name="connsiteY12" fmla="*/ 6971 h 10000"/>
              <a:gd name="connsiteX13" fmla="*/ 10105 w 10105"/>
              <a:gd name="connsiteY13" fmla="*/ 6978 h 10000"/>
              <a:gd name="connsiteX0" fmla="*/ 0 w 10105"/>
              <a:gd name="connsiteY0" fmla="*/ 1 h 10000"/>
              <a:gd name="connsiteX1" fmla="*/ 889 w 10105"/>
              <a:gd name="connsiteY1" fmla="*/ 0 h 10000"/>
              <a:gd name="connsiteX2" fmla="*/ 958 w 10105"/>
              <a:gd name="connsiteY2" fmla="*/ 586 h 10000"/>
              <a:gd name="connsiteX3" fmla="*/ 958 w 10105"/>
              <a:gd name="connsiteY3" fmla="*/ 9414 h 10000"/>
              <a:gd name="connsiteX4" fmla="*/ 1030 w 10105"/>
              <a:gd name="connsiteY4" fmla="*/ 10000 h 10000"/>
              <a:gd name="connsiteX5" fmla="*/ 4779 w 10105"/>
              <a:gd name="connsiteY5" fmla="*/ 10000 h 10000"/>
              <a:gd name="connsiteX6" fmla="*/ 4850 w 10105"/>
              <a:gd name="connsiteY6" fmla="*/ 9414 h 10000"/>
              <a:gd name="connsiteX7" fmla="*/ 4850 w 10105"/>
              <a:gd name="connsiteY7" fmla="*/ 4311 h 10000"/>
              <a:gd name="connsiteX8" fmla="*/ 4921 w 10105"/>
              <a:gd name="connsiteY8" fmla="*/ 3723 h 10000"/>
              <a:gd name="connsiteX9" fmla="*/ 8893 w 10105"/>
              <a:gd name="connsiteY9" fmla="*/ 3723 h 10000"/>
              <a:gd name="connsiteX10" fmla="*/ 8963 w 10105"/>
              <a:gd name="connsiteY10" fmla="*/ 4311 h 10000"/>
              <a:gd name="connsiteX11" fmla="*/ 8963 w 10105"/>
              <a:gd name="connsiteY11" fmla="*/ 6297 h 10000"/>
              <a:gd name="connsiteX12" fmla="*/ 9022 w 10105"/>
              <a:gd name="connsiteY12" fmla="*/ 6971 h 10000"/>
              <a:gd name="connsiteX13" fmla="*/ 10105 w 10105"/>
              <a:gd name="connsiteY13" fmla="*/ 6978 h 10000"/>
              <a:gd name="connsiteX0" fmla="*/ 0 w 10105"/>
              <a:gd name="connsiteY0" fmla="*/ 1 h 10000"/>
              <a:gd name="connsiteX1" fmla="*/ 889 w 10105"/>
              <a:gd name="connsiteY1" fmla="*/ 0 h 10000"/>
              <a:gd name="connsiteX2" fmla="*/ 958 w 10105"/>
              <a:gd name="connsiteY2" fmla="*/ 586 h 10000"/>
              <a:gd name="connsiteX3" fmla="*/ 958 w 10105"/>
              <a:gd name="connsiteY3" fmla="*/ 9414 h 10000"/>
              <a:gd name="connsiteX4" fmla="*/ 1030 w 10105"/>
              <a:gd name="connsiteY4" fmla="*/ 10000 h 10000"/>
              <a:gd name="connsiteX5" fmla="*/ 4779 w 10105"/>
              <a:gd name="connsiteY5" fmla="*/ 10000 h 10000"/>
              <a:gd name="connsiteX6" fmla="*/ 4850 w 10105"/>
              <a:gd name="connsiteY6" fmla="*/ 9414 h 10000"/>
              <a:gd name="connsiteX7" fmla="*/ 4850 w 10105"/>
              <a:gd name="connsiteY7" fmla="*/ 4311 h 10000"/>
              <a:gd name="connsiteX8" fmla="*/ 4921 w 10105"/>
              <a:gd name="connsiteY8" fmla="*/ 3723 h 10000"/>
              <a:gd name="connsiteX9" fmla="*/ 8893 w 10105"/>
              <a:gd name="connsiteY9" fmla="*/ 3723 h 10000"/>
              <a:gd name="connsiteX10" fmla="*/ 8963 w 10105"/>
              <a:gd name="connsiteY10" fmla="*/ 4311 h 10000"/>
              <a:gd name="connsiteX11" fmla="*/ 8963 w 10105"/>
              <a:gd name="connsiteY11" fmla="*/ 6297 h 10000"/>
              <a:gd name="connsiteX12" fmla="*/ 9022 w 10105"/>
              <a:gd name="connsiteY12" fmla="*/ 6971 h 10000"/>
              <a:gd name="connsiteX13" fmla="*/ 10105 w 10105"/>
              <a:gd name="connsiteY13" fmla="*/ 6978 h 10000"/>
              <a:gd name="connsiteX0" fmla="*/ 0 w 10131"/>
              <a:gd name="connsiteY0" fmla="*/ 1 h 10000"/>
              <a:gd name="connsiteX1" fmla="*/ 889 w 10131"/>
              <a:gd name="connsiteY1" fmla="*/ 0 h 10000"/>
              <a:gd name="connsiteX2" fmla="*/ 958 w 10131"/>
              <a:gd name="connsiteY2" fmla="*/ 586 h 10000"/>
              <a:gd name="connsiteX3" fmla="*/ 958 w 10131"/>
              <a:gd name="connsiteY3" fmla="*/ 9414 h 10000"/>
              <a:gd name="connsiteX4" fmla="*/ 1030 w 10131"/>
              <a:gd name="connsiteY4" fmla="*/ 10000 h 10000"/>
              <a:gd name="connsiteX5" fmla="*/ 4779 w 10131"/>
              <a:gd name="connsiteY5" fmla="*/ 10000 h 10000"/>
              <a:gd name="connsiteX6" fmla="*/ 4850 w 10131"/>
              <a:gd name="connsiteY6" fmla="*/ 9414 h 10000"/>
              <a:gd name="connsiteX7" fmla="*/ 4850 w 10131"/>
              <a:gd name="connsiteY7" fmla="*/ 4311 h 10000"/>
              <a:gd name="connsiteX8" fmla="*/ 4921 w 10131"/>
              <a:gd name="connsiteY8" fmla="*/ 3723 h 10000"/>
              <a:gd name="connsiteX9" fmla="*/ 8893 w 10131"/>
              <a:gd name="connsiteY9" fmla="*/ 3723 h 10000"/>
              <a:gd name="connsiteX10" fmla="*/ 8963 w 10131"/>
              <a:gd name="connsiteY10" fmla="*/ 4311 h 10000"/>
              <a:gd name="connsiteX11" fmla="*/ 8963 w 10131"/>
              <a:gd name="connsiteY11" fmla="*/ 6297 h 10000"/>
              <a:gd name="connsiteX12" fmla="*/ 9022 w 10131"/>
              <a:gd name="connsiteY12" fmla="*/ 6971 h 10000"/>
              <a:gd name="connsiteX13" fmla="*/ 10131 w 10131"/>
              <a:gd name="connsiteY13" fmla="*/ 6978 h 10000"/>
              <a:gd name="connsiteX0" fmla="*/ 0 w 9996"/>
              <a:gd name="connsiteY0" fmla="*/ 1 h 10000"/>
              <a:gd name="connsiteX1" fmla="*/ 889 w 9996"/>
              <a:gd name="connsiteY1" fmla="*/ 0 h 10000"/>
              <a:gd name="connsiteX2" fmla="*/ 958 w 9996"/>
              <a:gd name="connsiteY2" fmla="*/ 586 h 10000"/>
              <a:gd name="connsiteX3" fmla="*/ 958 w 9996"/>
              <a:gd name="connsiteY3" fmla="*/ 9414 h 10000"/>
              <a:gd name="connsiteX4" fmla="*/ 1030 w 9996"/>
              <a:gd name="connsiteY4" fmla="*/ 10000 h 10000"/>
              <a:gd name="connsiteX5" fmla="*/ 4779 w 9996"/>
              <a:gd name="connsiteY5" fmla="*/ 10000 h 10000"/>
              <a:gd name="connsiteX6" fmla="*/ 4850 w 9996"/>
              <a:gd name="connsiteY6" fmla="*/ 9414 h 10000"/>
              <a:gd name="connsiteX7" fmla="*/ 4850 w 9996"/>
              <a:gd name="connsiteY7" fmla="*/ 4311 h 10000"/>
              <a:gd name="connsiteX8" fmla="*/ 4921 w 9996"/>
              <a:gd name="connsiteY8" fmla="*/ 3723 h 10000"/>
              <a:gd name="connsiteX9" fmla="*/ 8893 w 9996"/>
              <a:gd name="connsiteY9" fmla="*/ 3723 h 10000"/>
              <a:gd name="connsiteX10" fmla="*/ 8963 w 9996"/>
              <a:gd name="connsiteY10" fmla="*/ 4311 h 10000"/>
              <a:gd name="connsiteX11" fmla="*/ 8963 w 9996"/>
              <a:gd name="connsiteY11" fmla="*/ 6297 h 10000"/>
              <a:gd name="connsiteX12" fmla="*/ 9022 w 9996"/>
              <a:gd name="connsiteY12" fmla="*/ 6971 h 10000"/>
              <a:gd name="connsiteX13" fmla="*/ 9996 w 9996"/>
              <a:gd name="connsiteY13" fmla="*/ 6978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996" h="10000">
                <a:moveTo>
                  <a:pt x="0" y="1"/>
                </a:moveTo>
                <a:lnTo>
                  <a:pt x="889" y="0"/>
                </a:lnTo>
                <a:cubicBezTo>
                  <a:pt x="924" y="0"/>
                  <a:pt x="958" y="272"/>
                  <a:pt x="958" y="586"/>
                </a:cubicBezTo>
                <a:lnTo>
                  <a:pt x="958" y="9414"/>
                </a:lnTo>
                <a:cubicBezTo>
                  <a:pt x="958" y="9750"/>
                  <a:pt x="989" y="10000"/>
                  <a:pt x="1030" y="10000"/>
                </a:cubicBezTo>
                <a:lnTo>
                  <a:pt x="4779" y="10000"/>
                </a:lnTo>
                <a:cubicBezTo>
                  <a:pt x="4818" y="10000"/>
                  <a:pt x="4850" y="9750"/>
                  <a:pt x="4850" y="9414"/>
                </a:cubicBezTo>
                <a:lnTo>
                  <a:pt x="4850" y="4311"/>
                </a:lnTo>
                <a:cubicBezTo>
                  <a:pt x="4850" y="3996"/>
                  <a:pt x="4883" y="3723"/>
                  <a:pt x="4921" y="3723"/>
                </a:cubicBezTo>
                <a:lnTo>
                  <a:pt x="8893" y="3723"/>
                </a:lnTo>
                <a:cubicBezTo>
                  <a:pt x="8932" y="3723"/>
                  <a:pt x="8963" y="3996"/>
                  <a:pt x="8963" y="4311"/>
                </a:cubicBezTo>
                <a:lnTo>
                  <a:pt x="8963" y="6297"/>
                </a:lnTo>
                <a:cubicBezTo>
                  <a:pt x="8963" y="6633"/>
                  <a:pt x="8986" y="6971"/>
                  <a:pt x="9022" y="6971"/>
                </a:cubicBezTo>
                <a:cubicBezTo>
                  <a:pt x="9669" y="6959"/>
                  <a:pt x="9686" y="6968"/>
                  <a:pt x="9996" y="6978"/>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Freeform 11"/>
          <p:cNvSpPr>
            <a:spLocks/>
          </p:cNvSpPr>
          <p:nvPr/>
        </p:nvSpPr>
        <p:spPr bwMode="gray">
          <a:xfrm>
            <a:off x="-4979" y="4336985"/>
            <a:ext cx="9147342" cy="1757619"/>
          </a:xfrm>
          <a:custGeom>
            <a:avLst/>
            <a:gdLst>
              <a:gd name="T0" fmla="*/ 0 w 8479"/>
              <a:gd name="T1" fmla="*/ 772 h 894"/>
              <a:gd name="T2" fmla="*/ 1132 w 8479"/>
              <a:gd name="T3" fmla="*/ 772 h 894"/>
              <a:gd name="T4" fmla="*/ 1160 w 8479"/>
              <a:gd name="T5" fmla="*/ 744 h 894"/>
              <a:gd name="T6" fmla="*/ 1160 w 8479"/>
              <a:gd name="T7" fmla="*/ 263 h 894"/>
              <a:gd name="T8" fmla="*/ 1188 w 8479"/>
              <a:gd name="T9" fmla="*/ 235 h 894"/>
              <a:gd name="T10" fmla="*/ 2202 w 8479"/>
              <a:gd name="T11" fmla="*/ 235 h 894"/>
              <a:gd name="T12" fmla="*/ 2230 w 8479"/>
              <a:gd name="T13" fmla="*/ 263 h 894"/>
              <a:gd name="T14" fmla="*/ 2230 w 8479"/>
              <a:gd name="T15" fmla="*/ 745 h 894"/>
              <a:gd name="T16" fmla="*/ 2258 w 8479"/>
              <a:gd name="T17" fmla="*/ 773 h 894"/>
              <a:gd name="T18" fmla="*/ 3688 w 8479"/>
              <a:gd name="T19" fmla="*/ 773 h 894"/>
              <a:gd name="T20" fmla="*/ 3716 w 8479"/>
              <a:gd name="T21" fmla="*/ 745 h 894"/>
              <a:gd name="T22" fmla="*/ 3716 w 8479"/>
              <a:gd name="T23" fmla="*/ 28 h 894"/>
              <a:gd name="T24" fmla="*/ 3744 w 8479"/>
              <a:gd name="T25" fmla="*/ 0 h 894"/>
              <a:gd name="T26" fmla="*/ 5033 w 8479"/>
              <a:gd name="T27" fmla="*/ 0 h 894"/>
              <a:gd name="T28" fmla="*/ 5061 w 8479"/>
              <a:gd name="T29" fmla="*/ 28 h 894"/>
              <a:gd name="T30" fmla="*/ 5061 w 8479"/>
              <a:gd name="T31" fmla="*/ 516 h 894"/>
              <a:gd name="T32" fmla="*/ 5089 w 8479"/>
              <a:gd name="T33" fmla="*/ 544 h 894"/>
              <a:gd name="T34" fmla="*/ 5446 w 8479"/>
              <a:gd name="T35" fmla="*/ 544 h 894"/>
              <a:gd name="T36" fmla="*/ 5474 w 8479"/>
              <a:gd name="T37" fmla="*/ 516 h 894"/>
              <a:gd name="T38" fmla="*/ 5474 w 8479"/>
              <a:gd name="T39" fmla="*/ 205 h 894"/>
              <a:gd name="T40" fmla="*/ 5502 w 8479"/>
              <a:gd name="T41" fmla="*/ 177 h 894"/>
              <a:gd name="T42" fmla="*/ 6295 w 8479"/>
              <a:gd name="T43" fmla="*/ 177 h 894"/>
              <a:gd name="T44" fmla="*/ 6323 w 8479"/>
              <a:gd name="T45" fmla="*/ 205 h 894"/>
              <a:gd name="T46" fmla="*/ 6323 w 8479"/>
              <a:gd name="T47" fmla="*/ 866 h 894"/>
              <a:gd name="T48" fmla="*/ 6351 w 8479"/>
              <a:gd name="T49" fmla="*/ 894 h 894"/>
              <a:gd name="T50" fmla="*/ 7237 w 8479"/>
              <a:gd name="T51" fmla="*/ 894 h 894"/>
              <a:gd name="T52" fmla="*/ 7265 w 8479"/>
              <a:gd name="T53" fmla="*/ 866 h 894"/>
              <a:gd name="T54" fmla="*/ 7265 w 8479"/>
              <a:gd name="T55" fmla="*/ 563 h 894"/>
              <a:gd name="T56" fmla="*/ 7293 w 8479"/>
              <a:gd name="T57" fmla="*/ 535 h 894"/>
              <a:gd name="T58" fmla="*/ 8479 w 8479"/>
              <a:gd name="T59" fmla="*/ 535 h 894"/>
              <a:gd name="connsiteX0" fmla="*/ 0 w 8665"/>
              <a:gd name="connsiteY0" fmla="*/ 8635 h 10000"/>
              <a:gd name="connsiteX1" fmla="*/ 33 w 8665"/>
              <a:gd name="connsiteY1" fmla="*/ 8322 h 10000"/>
              <a:gd name="connsiteX2" fmla="*/ 33 w 8665"/>
              <a:gd name="connsiteY2" fmla="*/ 2942 h 10000"/>
              <a:gd name="connsiteX3" fmla="*/ 66 w 8665"/>
              <a:gd name="connsiteY3" fmla="*/ 2629 h 10000"/>
              <a:gd name="connsiteX4" fmla="*/ 1262 w 8665"/>
              <a:gd name="connsiteY4" fmla="*/ 2629 h 10000"/>
              <a:gd name="connsiteX5" fmla="*/ 1295 w 8665"/>
              <a:gd name="connsiteY5" fmla="*/ 2942 h 10000"/>
              <a:gd name="connsiteX6" fmla="*/ 1295 w 8665"/>
              <a:gd name="connsiteY6" fmla="*/ 8333 h 10000"/>
              <a:gd name="connsiteX7" fmla="*/ 1328 w 8665"/>
              <a:gd name="connsiteY7" fmla="*/ 8647 h 10000"/>
              <a:gd name="connsiteX8" fmla="*/ 3015 w 8665"/>
              <a:gd name="connsiteY8" fmla="*/ 8647 h 10000"/>
              <a:gd name="connsiteX9" fmla="*/ 3048 w 8665"/>
              <a:gd name="connsiteY9" fmla="*/ 8333 h 10000"/>
              <a:gd name="connsiteX10" fmla="*/ 3048 w 8665"/>
              <a:gd name="connsiteY10" fmla="*/ 313 h 10000"/>
              <a:gd name="connsiteX11" fmla="*/ 3081 w 8665"/>
              <a:gd name="connsiteY11" fmla="*/ 0 h 10000"/>
              <a:gd name="connsiteX12" fmla="*/ 4601 w 8665"/>
              <a:gd name="connsiteY12" fmla="*/ 0 h 10000"/>
              <a:gd name="connsiteX13" fmla="*/ 4634 w 8665"/>
              <a:gd name="connsiteY13" fmla="*/ 313 h 10000"/>
              <a:gd name="connsiteX14" fmla="*/ 4634 w 8665"/>
              <a:gd name="connsiteY14" fmla="*/ 5772 h 10000"/>
              <a:gd name="connsiteX15" fmla="*/ 4667 w 8665"/>
              <a:gd name="connsiteY15" fmla="*/ 6085 h 10000"/>
              <a:gd name="connsiteX16" fmla="*/ 5088 w 8665"/>
              <a:gd name="connsiteY16" fmla="*/ 6085 h 10000"/>
              <a:gd name="connsiteX17" fmla="*/ 5121 w 8665"/>
              <a:gd name="connsiteY17" fmla="*/ 5772 h 10000"/>
              <a:gd name="connsiteX18" fmla="*/ 5121 w 8665"/>
              <a:gd name="connsiteY18" fmla="*/ 2293 h 10000"/>
              <a:gd name="connsiteX19" fmla="*/ 5154 w 8665"/>
              <a:gd name="connsiteY19" fmla="*/ 1980 h 10000"/>
              <a:gd name="connsiteX20" fmla="*/ 6089 w 8665"/>
              <a:gd name="connsiteY20" fmla="*/ 1980 h 10000"/>
              <a:gd name="connsiteX21" fmla="*/ 6122 w 8665"/>
              <a:gd name="connsiteY21" fmla="*/ 2293 h 10000"/>
              <a:gd name="connsiteX22" fmla="*/ 6122 w 8665"/>
              <a:gd name="connsiteY22" fmla="*/ 9687 h 10000"/>
              <a:gd name="connsiteX23" fmla="*/ 6155 w 8665"/>
              <a:gd name="connsiteY23" fmla="*/ 10000 h 10000"/>
              <a:gd name="connsiteX24" fmla="*/ 7200 w 8665"/>
              <a:gd name="connsiteY24" fmla="*/ 10000 h 10000"/>
              <a:gd name="connsiteX25" fmla="*/ 7233 w 8665"/>
              <a:gd name="connsiteY25" fmla="*/ 9687 h 10000"/>
              <a:gd name="connsiteX26" fmla="*/ 7233 w 8665"/>
              <a:gd name="connsiteY26" fmla="*/ 6298 h 10000"/>
              <a:gd name="connsiteX27" fmla="*/ 7266 w 8665"/>
              <a:gd name="connsiteY27" fmla="*/ 5984 h 10000"/>
              <a:gd name="connsiteX28" fmla="*/ 8665 w 8665"/>
              <a:gd name="connsiteY28" fmla="*/ 5984 h 10000"/>
              <a:gd name="connsiteX0" fmla="*/ 0 w 9962"/>
              <a:gd name="connsiteY0" fmla="*/ 8322 h 10000"/>
              <a:gd name="connsiteX1" fmla="*/ 0 w 9962"/>
              <a:gd name="connsiteY1" fmla="*/ 2942 h 10000"/>
              <a:gd name="connsiteX2" fmla="*/ 38 w 9962"/>
              <a:gd name="connsiteY2" fmla="*/ 2629 h 10000"/>
              <a:gd name="connsiteX3" fmla="*/ 1418 w 9962"/>
              <a:gd name="connsiteY3" fmla="*/ 2629 h 10000"/>
              <a:gd name="connsiteX4" fmla="*/ 1457 w 9962"/>
              <a:gd name="connsiteY4" fmla="*/ 2942 h 10000"/>
              <a:gd name="connsiteX5" fmla="*/ 1457 w 9962"/>
              <a:gd name="connsiteY5" fmla="*/ 8333 h 10000"/>
              <a:gd name="connsiteX6" fmla="*/ 1495 w 9962"/>
              <a:gd name="connsiteY6" fmla="*/ 8647 h 10000"/>
              <a:gd name="connsiteX7" fmla="*/ 3442 w 9962"/>
              <a:gd name="connsiteY7" fmla="*/ 8647 h 10000"/>
              <a:gd name="connsiteX8" fmla="*/ 3480 w 9962"/>
              <a:gd name="connsiteY8" fmla="*/ 8333 h 10000"/>
              <a:gd name="connsiteX9" fmla="*/ 3480 w 9962"/>
              <a:gd name="connsiteY9" fmla="*/ 313 h 10000"/>
              <a:gd name="connsiteX10" fmla="*/ 3518 w 9962"/>
              <a:gd name="connsiteY10" fmla="*/ 0 h 10000"/>
              <a:gd name="connsiteX11" fmla="*/ 5272 w 9962"/>
              <a:gd name="connsiteY11" fmla="*/ 0 h 10000"/>
              <a:gd name="connsiteX12" fmla="*/ 5310 w 9962"/>
              <a:gd name="connsiteY12" fmla="*/ 313 h 10000"/>
              <a:gd name="connsiteX13" fmla="*/ 5310 w 9962"/>
              <a:gd name="connsiteY13" fmla="*/ 5772 h 10000"/>
              <a:gd name="connsiteX14" fmla="*/ 5348 w 9962"/>
              <a:gd name="connsiteY14" fmla="*/ 6085 h 10000"/>
              <a:gd name="connsiteX15" fmla="*/ 5834 w 9962"/>
              <a:gd name="connsiteY15" fmla="*/ 6085 h 10000"/>
              <a:gd name="connsiteX16" fmla="*/ 5872 w 9962"/>
              <a:gd name="connsiteY16" fmla="*/ 5772 h 10000"/>
              <a:gd name="connsiteX17" fmla="*/ 5872 w 9962"/>
              <a:gd name="connsiteY17" fmla="*/ 2293 h 10000"/>
              <a:gd name="connsiteX18" fmla="*/ 5910 w 9962"/>
              <a:gd name="connsiteY18" fmla="*/ 1980 h 10000"/>
              <a:gd name="connsiteX19" fmla="*/ 6989 w 9962"/>
              <a:gd name="connsiteY19" fmla="*/ 1980 h 10000"/>
              <a:gd name="connsiteX20" fmla="*/ 7027 w 9962"/>
              <a:gd name="connsiteY20" fmla="*/ 2293 h 10000"/>
              <a:gd name="connsiteX21" fmla="*/ 7027 w 9962"/>
              <a:gd name="connsiteY21" fmla="*/ 9687 h 10000"/>
              <a:gd name="connsiteX22" fmla="*/ 7065 w 9962"/>
              <a:gd name="connsiteY22" fmla="*/ 10000 h 10000"/>
              <a:gd name="connsiteX23" fmla="*/ 8271 w 9962"/>
              <a:gd name="connsiteY23" fmla="*/ 10000 h 10000"/>
              <a:gd name="connsiteX24" fmla="*/ 8309 w 9962"/>
              <a:gd name="connsiteY24" fmla="*/ 9687 h 10000"/>
              <a:gd name="connsiteX25" fmla="*/ 8309 w 9962"/>
              <a:gd name="connsiteY25" fmla="*/ 6298 h 10000"/>
              <a:gd name="connsiteX26" fmla="*/ 8347 w 9962"/>
              <a:gd name="connsiteY26" fmla="*/ 5984 h 10000"/>
              <a:gd name="connsiteX27" fmla="*/ 9962 w 9962"/>
              <a:gd name="connsiteY27" fmla="*/ 5984 h 10000"/>
              <a:gd name="connsiteX0" fmla="*/ 0 w 10000"/>
              <a:gd name="connsiteY0" fmla="*/ 2942 h 10000"/>
              <a:gd name="connsiteX1" fmla="*/ 38 w 10000"/>
              <a:gd name="connsiteY1" fmla="*/ 2629 h 10000"/>
              <a:gd name="connsiteX2" fmla="*/ 1423 w 10000"/>
              <a:gd name="connsiteY2" fmla="*/ 2629 h 10000"/>
              <a:gd name="connsiteX3" fmla="*/ 1463 w 10000"/>
              <a:gd name="connsiteY3" fmla="*/ 2942 h 10000"/>
              <a:gd name="connsiteX4" fmla="*/ 1463 w 10000"/>
              <a:gd name="connsiteY4" fmla="*/ 8333 h 10000"/>
              <a:gd name="connsiteX5" fmla="*/ 1501 w 10000"/>
              <a:gd name="connsiteY5" fmla="*/ 8647 h 10000"/>
              <a:gd name="connsiteX6" fmla="*/ 3455 w 10000"/>
              <a:gd name="connsiteY6" fmla="*/ 8647 h 10000"/>
              <a:gd name="connsiteX7" fmla="*/ 3493 w 10000"/>
              <a:gd name="connsiteY7" fmla="*/ 8333 h 10000"/>
              <a:gd name="connsiteX8" fmla="*/ 3493 w 10000"/>
              <a:gd name="connsiteY8" fmla="*/ 313 h 10000"/>
              <a:gd name="connsiteX9" fmla="*/ 3531 w 10000"/>
              <a:gd name="connsiteY9" fmla="*/ 0 h 10000"/>
              <a:gd name="connsiteX10" fmla="*/ 5292 w 10000"/>
              <a:gd name="connsiteY10" fmla="*/ 0 h 10000"/>
              <a:gd name="connsiteX11" fmla="*/ 5330 w 10000"/>
              <a:gd name="connsiteY11" fmla="*/ 313 h 10000"/>
              <a:gd name="connsiteX12" fmla="*/ 5330 w 10000"/>
              <a:gd name="connsiteY12" fmla="*/ 5772 h 10000"/>
              <a:gd name="connsiteX13" fmla="*/ 5368 w 10000"/>
              <a:gd name="connsiteY13" fmla="*/ 6085 h 10000"/>
              <a:gd name="connsiteX14" fmla="*/ 5856 w 10000"/>
              <a:gd name="connsiteY14" fmla="*/ 6085 h 10000"/>
              <a:gd name="connsiteX15" fmla="*/ 5894 w 10000"/>
              <a:gd name="connsiteY15" fmla="*/ 5772 h 10000"/>
              <a:gd name="connsiteX16" fmla="*/ 5894 w 10000"/>
              <a:gd name="connsiteY16" fmla="*/ 2293 h 10000"/>
              <a:gd name="connsiteX17" fmla="*/ 5933 w 10000"/>
              <a:gd name="connsiteY17" fmla="*/ 1980 h 10000"/>
              <a:gd name="connsiteX18" fmla="*/ 7016 w 10000"/>
              <a:gd name="connsiteY18" fmla="*/ 1980 h 10000"/>
              <a:gd name="connsiteX19" fmla="*/ 7054 w 10000"/>
              <a:gd name="connsiteY19" fmla="*/ 2293 h 10000"/>
              <a:gd name="connsiteX20" fmla="*/ 7054 w 10000"/>
              <a:gd name="connsiteY20" fmla="*/ 9687 h 10000"/>
              <a:gd name="connsiteX21" fmla="*/ 7092 w 10000"/>
              <a:gd name="connsiteY21" fmla="*/ 10000 h 10000"/>
              <a:gd name="connsiteX22" fmla="*/ 8303 w 10000"/>
              <a:gd name="connsiteY22" fmla="*/ 10000 h 10000"/>
              <a:gd name="connsiteX23" fmla="*/ 8341 w 10000"/>
              <a:gd name="connsiteY23" fmla="*/ 9687 h 10000"/>
              <a:gd name="connsiteX24" fmla="*/ 8341 w 10000"/>
              <a:gd name="connsiteY24" fmla="*/ 6298 h 10000"/>
              <a:gd name="connsiteX25" fmla="*/ 8379 w 10000"/>
              <a:gd name="connsiteY25" fmla="*/ 5984 h 10000"/>
              <a:gd name="connsiteX26" fmla="*/ 10000 w 10000"/>
              <a:gd name="connsiteY26" fmla="*/ 5984 h 10000"/>
              <a:gd name="connsiteX0" fmla="*/ 0 w 9962"/>
              <a:gd name="connsiteY0" fmla="*/ 2629 h 10000"/>
              <a:gd name="connsiteX1" fmla="*/ 1385 w 9962"/>
              <a:gd name="connsiteY1" fmla="*/ 2629 h 10000"/>
              <a:gd name="connsiteX2" fmla="*/ 1425 w 9962"/>
              <a:gd name="connsiteY2" fmla="*/ 2942 h 10000"/>
              <a:gd name="connsiteX3" fmla="*/ 1425 w 9962"/>
              <a:gd name="connsiteY3" fmla="*/ 8333 h 10000"/>
              <a:gd name="connsiteX4" fmla="*/ 1463 w 9962"/>
              <a:gd name="connsiteY4" fmla="*/ 8647 h 10000"/>
              <a:gd name="connsiteX5" fmla="*/ 3417 w 9962"/>
              <a:gd name="connsiteY5" fmla="*/ 8647 h 10000"/>
              <a:gd name="connsiteX6" fmla="*/ 3455 w 9962"/>
              <a:gd name="connsiteY6" fmla="*/ 8333 h 10000"/>
              <a:gd name="connsiteX7" fmla="*/ 3455 w 9962"/>
              <a:gd name="connsiteY7" fmla="*/ 313 h 10000"/>
              <a:gd name="connsiteX8" fmla="*/ 3493 w 9962"/>
              <a:gd name="connsiteY8" fmla="*/ 0 h 10000"/>
              <a:gd name="connsiteX9" fmla="*/ 5254 w 9962"/>
              <a:gd name="connsiteY9" fmla="*/ 0 h 10000"/>
              <a:gd name="connsiteX10" fmla="*/ 5292 w 9962"/>
              <a:gd name="connsiteY10" fmla="*/ 313 h 10000"/>
              <a:gd name="connsiteX11" fmla="*/ 5292 w 9962"/>
              <a:gd name="connsiteY11" fmla="*/ 5772 h 10000"/>
              <a:gd name="connsiteX12" fmla="*/ 5330 w 9962"/>
              <a:gd name="connsiteY12" fmla="*/ 6085 h 10000"/>
              <a:gd name="connsiteX13" fmla="*/ 5818 w 9962"/>
              <a:gd name="connsiteY13" fmla="*/ 6085 h 10000"/>
              <a:gd name="connsiteX14" fmla="*/ 5856 w 9962"/>
              <a:gd name="connsiteY14" fmla="*/ 5772 h 10000"/>
              <a:gd name="connsiteX15" fmla="*/ 5856 w 9962"/>
              <a:gd name="connsiteY15" fmla="*/ 2293 h 10000"/>
              <a:gd name="connsiteX16" fmla="*/ 5895 w 9962"/>
              <a:gd name="connsiteY16" fmla="*/ 1980 h 10000"/>
              <a:gd name="connsiteX17" fmla="*/ 6978 w 9962"/>
              <a:gd name="connsiteY17" fmla="*/ 1980 h 10000"/>
              <a:gd name="connsiteX18" fmla="*/ 7016 w 9962"/>
              <a:gd name="connsiteY18" fmla="*/ 2293 h 10000"/>
              <a:gd name="connsiteX19" fmla="*/ 7016 w 9962"/>
              <a:gd name="connsiteY19" fmla="*/ 9687 h 10000"/>
              <a:gd name="connsiteX20" fmla="*/ 7054 w 9962"/>
              <a:gd name="connsiteY20" fmla="*/ 10000 h 10000"/>
              <a:gd name="connsiteX21" fmla="*/ 8265 w 9962"/>
              <a:gd name="connsiteY21" fmla="*/ 10000 h 10000"/>
              <a:gd name="connsiteX22" fmla="*/ 8303 w 9962"/>
              <a:gd name="connsiteY22" fmla="*/ 9687 h 10000"/>
              <a:gd name="connsiteX23" fmla="*/ 8303 w 9962"/>
              <a:gd name="connsiteY23" fmla="*/ 6298 h 10000"/>
              <a:gd name="connsiteX24" fmla="*/ 8341 w 9962"/>
              <a:gd name="connsiteY24" fmla="*/ 5984 h 10000"/>
              <a:gd name="connsiteX25" fmla="*/ 9962 w 9962"/>
              <a:gd name="connsiteY25" fmla="*/ 5984 h 10000"/>
              <a:gd name="connsiteX0" fmla="*/ 0 w 8610"/>
              <a:gd name="connsiteY0" fmla="*/ 2629 h 10000"/>
              <a:gd name="connsiteX1" fmla="*/ 40 w 8610"/>
              <a:gd name="connsiteY1" fmla="*/ 2942 h 10000"/>
              <a:gd name="connsiteX2" fmla="*/ 40 w 8610"/>
              <a:gd name="connsiteY2" fmla="*/ 8333 h 10000"/>
              <a:gd name="connsiteX3" fmla="*/ 79 w 8610"/>
              <a:gd name="connsiteY3" fmla="*/ 8647 h 10000"/>
              <a:gd name="connsiteX4" fmla="*/ 2040 w 8610"/>
              <a:gd name="connsiteY4" fmla="*/ 8647 h 10000"/>
              <a:gd name="connsiteX5" fmla="*/ 2078 w 8610"/>
              <a:gd name="connsiteY5" fmla="*/ 8333 h 10000"/>
              <a:gd name="connsiteX6" fmla="*/ 2078 w 8610"/>
              <a:gd name="connsiteY6" fmla="*/ 313 h 10000"/>
              <a:gd name="connsiteX7" fmla="*/ 2116 w 8610"/>
              <a:gd name="connsiteY7" fmla="*/ 0 h 10000"/>
              <a:gd name="connsiteX8" fmla="*/ 3884 w 8610"/>
              <a:gd name="connsiteY8" fmla="*/ 0 h 10000"/>
              <a:gd name="connsiteX9" fmla="*/ 3922 w 8610"/>
              <a:gd name="connsiteY9" fmla="*/ 313 h 10000"/>
              <a:gd name="connsiteX10" fmla="*/ 3922 w 8610"/>
              <a:gd name="connsiteY10" fmla="*/ 5772 h 10000"/>
              <a:gd name="connsiteX11" fmla="*/ 3960 w 8610"/>
              <a:gd name="connsiteY11" fmla="*/ 6085 h 10000"/>
              <a:gd name="connsiteX12" fmla="*/ 4450 w 8610"/>
              <a:gd name="connsiteY12" fmla="*/ 6085 h 10000"/>
              <a:gd name="connsiteX13" fmla="*/ 4488 w 8610"/>
              <a:gd name="connsiteY13" fmla="*/ 5772 h 10000"/>
              <a:gd name="connsiteX14" fmla="*/ 4488 w 8610"/>
              <a:gd name="connsiteY14" fmla="*/ 2293 h 10000"/>
              <a:gd name="connsiteX15" fmla="*/ 4527 w 8610"/>
              <a:gd name="connsiteY15" fmla="*/ 1980 h 10000"/>
              <a:gd name="connsiteX16" fmla="*/ 5615 w 8610"/>
              <a:gd name="connsiteY16" fmla="*/ 1980 h 10000"/>
              <a:gd name="connsiteX17" fmla="*/ 5653 w 8610"/>
              <a:gd name="connsiteY17" fmla="*/ 2293 h 10000"/>
              <a:gd name="connsiteX18" fmla="*/ 5653 w 8610"/>
              <a:gd name="connsiteY18" fmla="*/ 9687 h 10000"/>
              <a:gd name="connsiteX19" fmla="*/ 5691 w 8610"/>
              <a:gd name="connsiteY19" fmla="*/ 10000 h 10000"/>
              <a:gd name="connsiteX20" fmla="*/ 6907 w 8610"/>
              <a:gd name="connsiteY20" fmla="*/ 10000 h 10000"/>
              <a:gd name="connsiteX21" fmla="*/ 6945 w 8610"/>
              <a:gd name="connsiteY21" fmla="*/ 9687 h 10000"/>
              <a:gd name="connsiteX22" fmla="*/ 6945 w 8610"/>
              <a:gd name="connsiteY22" fmla="*/ 6298 h 10000"/>
              <a:gd name="connsiteX23" fmla="*/ 6983 w 8610"/>
              <a:gd name="connsiteY23" fmla="*/ 5984 h 10000"/>
              <a:gd name="connsiteX24" fmla="*/ 8610 w 8610"/>
              <a:gd name="connsiteY24" fmla="*/ 5984 h 10000"/>
              <a:gd name="connsiteX0" fmla="*/ 0 w 9954"/>
              <a:gd name="connsiteY0" fmla="*/ 2942 h 10000"/>
              <a:gd name="connsiteX1" fmla="*/ 0 w 9954"/>
              <a:gd name="connsiteY1" fmla="*/ 8333 h 10000"/>
              <a:gd name="connsiteX2" fmla="*/ 46 w 9954"/>
              <a:gd name="connsiteY2" fmla="*/ 8647 h 10000"/>
              <a:gd name="connsiteX3" fmla="*/ 2323 w 9954"/>
              <a:gd name="connsiteY3" fmla="*/ 8647 h 10000"/>
              <a:gd name="connsiteX4" fmla="*/ 2367 w 9954"/>
              <a:gd name="connsiteY4" fmla="*/ 8333 h 10000"/>
              <a:gd name="connsiteX5" fmla="*/ 2367 w 9954"/>
              <a:gd name="connsiteY5" fmla="*/ 313 h 10000"/>
              <a:gd name="connsiteX6" fmla="*/ 2412 w 9954"/>
              <a:gd name="connsiteY6" fmla="*/ 0 h 10000"/>
              <a:gd name="connsiteX7" fmla="*/ 4465 w 9954"/>
              <a:gd name="connsiteY7" fmla="*/ 0 h 10000"/>
              <a:gd name="connsiteX8" fmla="*/ 4509 w 9954"/>
              <a:gd name="connsiteY8" fmla="*/ 313 h 10000"/>
              <a:gd name="connsiteX9" fmla="*/ 4509 w 9954"/>
              <a:gd name="connsiteY9" fmla="*/ 5772 h 10000"/>
              <a:gd name="connsiteX10" fmla="*/ 4553 w 9954"/>
              <a:gd name="connsiteY10" fmla="*/ 6085 h 10000"/>
              <a:gd name="connsiteX11" fmla="*/ 5122 w 9954"/>
              <a:gd name="connsiteY11" fmla="*/ 6085 h 10000"/>
              <a:gd name="connsiteX12" fmla="*/ 5167 w 9954"/>
              <a:gd name="connsiteY12" fmla="*/ 5772 h 10000"/>
              <a:gd name="connsiteX13" fmla="*/ 5167 w 9954"/>
              <a:gd name="connsiteY13" fmla="*/ 2293 h 10000"/>
              <a:gd name="connsiteX14" fmla="*/ 5212 w 9954"/>
              <a:gd name="connsiteY14" fmla="*/ 1980 h 10000"/>
              <a:gd name="connsiteX15" fmla="*/ 6475 w 9954"/>
              <a:gd name="connsiteY15" fmla="*/ 1980 h 10000"/>
              <a:gd name="connsiteX16" fmla="*/ 6520 w 9954"/>
              <a:gd name="connsiteY16" fmla="*/ 2293 h 10000"/>
              <a:gd name="connsiteX17" fmla="*/ 6520 w 9954"/>
              <a:gd name="connsiteY17" fmla="*/ 9687 h 10000"/>
              <a:gd name="connsiteX18" fmla="*/ 6564 w 9954"/>
              <a:gd name="connsiteY18" fmla="*/ 10000 h 10000"/>
              <a:gd name="connsiteX19" fmla="*/ 7976 w 9954"/>
              <a:gd name="connsiteY19" fmla="*/ 10000 h 10000"/>
              <a:gd name="connsiteX20" fmla="*/ 8020 w 9954"/>
              <a:gd name="connsiteY20" fmla="*/ 9687 h 10000"/>
              <a:gd name="connsiteX21" fmla="*/ 8020 w 9954"/>
              <a:gd name="connsiteY21" fmla="*/ 6298 h 10000"/>
              <a:gd name="connsiteX22" fmla="*/ 8064 w 9954"/>
              <a:gd name="connsiteY22" fmla="*/ 5984 h 10000"/>
              <a:gd name="connsiteX23" fmla="*/ 9954 w 9954"/>
              <a:gd name="connsiteY23" fmla="*/ 5984 h 10000"/>
              <a:gd name="connsiteX0" fmla="*/ 0 w 10000"/>
              <a:gd name="connsiteY0" fmla="*/ 8333 h 10000"/>
              <a:gd name="connsiteX1" fmla="*/ 46 w 10000"/>
              <a:gd name="connsiteY1" fmla="*/ 8647 h 10000"/>
              <a:gd name="connsiteX2" fmla="*/ 2334 w 10000"/>
              <a:gd name="connsiteY2" fmla="*/ 8647 h 10000"/>
              <a:gd name="connsiteX3" fmla="*/ 2378 w 10000"/>
              <a:gd name="connsiteY3" fmla="*/ 8333 h 10000"/>
              <a:gd name="connsiteX4" fmla="*/ 2378 w 10000"/>
              <a:gd name="connsiteY4" fmla="*/ 313 h 10000"/>
              <a:gd name="connsiteX5" fmla="*/ 2423 w 10000"/>
              <a:gd name="connsiteY5" fmla="*/ 0 h 10000"/>
              <a:gd name="connsiteX6" fmla="*/ 4486 w 10000"/>
              <a:gd name="connsiteY6" fmla="*/ 0 h 10000"/>
              <a:gd name="connsiteX7" fmla="*/ 4530 w 10000"/>
              <a:gd name="connsiteY7" fmla="*/ 313 h 10000"/>
              <a:gd name="connsiteX8" fmla="*/ 4530 w 10000"/>
              <a:gd name="connsiteY8" fmla="*/ 5772 h 10000"/>
              <a:gd name="connsiteX9" fmla="*/ 4574 w 10000"/>
              <a:gd name="connsiteY9" fmla="*/ 6085 h 10000"/>
              <a:gd name="connsiteX10" fmla="*/ 5146 w 10000"/>
              <a:gd name="connsiteY10" fmla="*/ 6085 h 10000"/>
              <a:gd name="connsiteX11" fmla="*/ 5191 w 10000"/>
              <a:gd name="connsiteY11" fmla="*/ 5772 h 10000"/>
              <a:gd name="connsiteX12" fmla="*/ 5191 w 10000"/>
              <a:gd name="connsiteY12" fmla="*/ 2293 h 10000"/>
              <a:gd name="connsiteX13" fmla="*/ 5236 w 10000"/>
              <a:gd name="connsiteY13" fmla="*/ 1980 h 10000"/>
              <a:gd name="connsiteX14" fmla="*/ 6505 w 10000"/>
              <a:gd name="connsiteY14" fmla="*/ 1980 h 10000"/>
              <a:gd name="connsiteX15" fmla="*/ 6550 w 10000"/>
              <a:gd name="connsiteY15" fmla="*/ 2293 h 10000"/>
              <a:gd name="connsiteX16" fmla="*/ 6550 w 10000"/>
              <a:gd name="connsiteY16" fmla="*/ 9687 h 10000"/>
              <a:gd name="connsiteX17" fmla="*/ 6594 w 10000"/>
              <a:gd name="connsiteY17" fmla="*/ 10000 h 10000"/>
              <a:gd name="connsiteX18" fmla="*/ 8013 w 10000"/>
              <a:gd name="connsiteY18" fmla="*/ 10000 h 10000"/>
              <a:gd name="connsiteX19" fmla="*/ 8057 w 10000"/>
              <a:gd name="connsiteY19" fmla="*/ 9687 h 10000"/>
              <a:gd name="connsiteX20" fmla="*/ 8057 w 10000"/>
              <a:gd name="connsiteY20" fmla="*/ 6298 h 10000"/>
              <a:gd name="connsiteX21" fmla="*/ 8101 w 10000"/>
              <a:gd name="connsiteY21" fmla="*/ 5984 h 10000"/>
              <a:gd name="connsiteX22" fmla="*/ 10000 w 10000"/>
              <a:gd name="connsiteY22" fmla="*/ 5984 h 10000"/>
              <a:gd name="connsiteX0" fmla="*/ 0 w 8101"/>
              <a:gd name="connsiteY0" fmla="*/ 8333 h 10000"/>
              <a:gd name="connsiteX1" fmla="*/ 46 w 8101"/>
              <a:gd name="connsiteY1" fmla="*/ 8647 h 10000"/>
              <a:gd name="connsiteX2" fmla="*/ 2334 w 8101"/>
              <a:gd name="connsiteY2" fmla="*/ 8647 h 10000"/>
              <a:gd name="connsiteX3" fmla="*/ 2378 w 8101"/>
              <a:gd name="connsiteY3" fmla="*/ 8333 h 10000"/>
              <a:gd name="connsiteX4" fmla="*/ 2378 w 8101"/>
              <a:gd name="connsiteY4" fmla="*/ 313 h 10000"/>
              <a:gd name="connsiteX5" fmla="*/ 2423 w 8101"/>
              <a:gd name="connsiteY5" fmla="*/ 0 h 10000"/>
              <a:gd name="connsiteX6" fmla="*/ 4486 w 8101"/>
              <a:gd name="connsiteY6" fmla="*/ 0 h 10000"/>
              <a:gd name="connsiteX7" fmla="*/ 4530 w 8101"/>
              <a:gd name="connsiteY7" fmla="*/ 313 h 10000"/>
              <a:gd name="connsiteX8" fmla="*/ 4530 w 8101"/>
              <a:gd name="connsiteY8" fmla="*/ 5772 h 10000"/>
              <a:gd name="connsiteX9" fmla="*/ 4574 w 8101"/>
              <a:gd name="connsiteY9" fmla="*/ 6085 h 10000"/>
              <a:gd name="connsiteX10" fmla="*/ 5146 w 8101"/>
              <a:gd name="connsiteY10" fmla="*/ 6085 h 10000"/>
              <a:gd name="connsiteX11" fmla="*/ 5191 w 8101"/>
              <a:gd name="connsiteY11" fmla="*/ 5772 h 10000"/>
              <a:gd name="connsiteX12" fmla="*/ 5191 w 8101"/>
              <a:gd name="connsiteY12" fmla="*/ 2293 h 10000"/>
              <a:gd name="connsiteX13" fmla="*/ 5236 w 8101"/>
              <a:gd name="connsiteY13" fmla="*/ 1980 h 10000"/>
              <a:gd name="connsiteX14" fmla="*/ 6505 w 8101"/>
              <a:gd name="connsiteY14" fmla="*/ 1980 h 10000"/>
              <a:gd name="connsiteX15" fmla="*/ 6550 w 8101"/>
              <a:gd name="connsiteY15" fmla="*/ 2293 h 10000"/>
              <a:gd name="connsiteX16" fmla="*/ 6550 w 8101"/>
              <a:gd name="connsiteY16" fmla="*/ 9687 h 10000"/>
              <a:gd name="connsiteX17" fmla="*/ 6594 w 8101"/>
              <a:gd name="connsiteY17" fmla="*/ 10000 h 10000"/>
              <a:gd name="connsiteX18" fmla="*/ 8013 w 8101"/>
              <a:gd name="connsiteY18" fmla="*/ 10000 h 10000"/>
              <a:gd name="connsiteX19" fmla="*/ 8057 w 8101"/>
              <a:gd name="connsiteY19" fmla="*/ 9687 h 10000"/>
              <a:gd name="connsiteX20" fmla="*/ 8057 w 8101"/>
              <a:gd name="connsiteY20" fmla="*/ 6298 h 10000"/>
              <a:gd name="connsiteX21" fmla="*/ 8101 w 8101"/>
              <a:gd name="connsiteY21" fmla="*/ 5984 h 10000"/>
              <a:gd name="connsiteX0" fmla="*/ 0 w 9946"/>
              <a:gd name="connsiteY0" fmla="*/ 8333 h 10000"/>
              <a:gd name="connsiteX1" fmla="*/ 57 w 9946"/>
              <a:gd name="connsiteY1" fmla="*/ 8647 h 10000"/>
              <a:gd name="connsiteX2" fmla="*/ 2881 w 9946"/>
              <a:gd name="connsiteY2" fmla="*/ 8647 h 10000"/>
              <a:gd name="connsiteX3" fmla="*/ 2935 w 9946"/>
              <a:gd name="connsiteY3" fmla="*/ 8333 h 10000"/>
              <a:gd name="connsiteX4" fmla="*/ 2935 w 9946"/>
              <a:gd name="connsiteY4" fmla="*/ 313 h 10000"/>
              <a:gd name="connsiteX5" fmla="*/ 2991 w 9946"/>
              <a:gd name="connsiteY5" fmla="*/ 0 h 10000"/>
              <a:gd name="connsiteX6" fmla="*/ 5538 w 9946"/>
              <a:gd name="connsiteY6" fmla="*/ 0 h 10000"/>
              <a:gd name="connsiteX7" fmla="*/ 5592 w 9946"/>
              <a:gd name="connsiteY7" fmla="*/ 313 h 10000"/>
              <a:gd name="connsiteX8" fmla="*/ 5592 w 9946"/>
              <a:gd name="connsiteY8" fmla="*/ 5772 h 10000"/>
              <a:gd name="connsiteX9" fmla="*/ 5646 w 9946"/>
              <a:gd name="connsiteY9" fmla="*/ 6085 h 10000"/>
              <a:gd name="connsiteX10" fmla="*/ 6352 w 9946"/>
              <a:gd name="connsiteY10" fmla="*/ 6085 h 10000"/>
              <a:gd name="connsiteX11" fmla="*/ 6408 w 9946"/>
              <a:gd name="connsiteY11" fmla="*/ 5772 h 10000"/>
              <a:gd name="connsiteX12" fmla="*/ 6408 w 9946"/>
              <a:gd name="connsiteY12" fmla="*/ 2293 h 10000"/>
              <a:gd name="connsiteX13" fmla="*/ 6463 w 9946"/>
              <a:gd name="connsiteY13" fmla="*/ 1980 h 10000"/>
              <a:gd name="connsiteX14" fmla="*/ 8030 w 9946"/>
              <a:gd name="connsiteY14" fmla="*/ 1980 h 10000"/>
              <a:gd name="connsiteX15" fmla="*/ 8085 w 9946"/>
              <a:gd name="connsiteY15" fmla="*/ 2293 h 10000"/>
              <a:gd name="connsiteX16" fmla="*/ 8085 w 9946"/>
              <a:gd name="connsiteY16" fmla="*/ 9687 h 10000"/>
              <a:gd name="connsiteX17" fmla="*/ 8140 w 9946"/>
              <a:gd name="connsiteY17" fmla="*/ 10000 h 10000"/>
              <a:gd name="connsiteX18" fmla="*/ 9891 w 9946"/>
              <a:gd name="connsiteY18" fmla="*/ 10000 h 10000"/>
              <a:gd name="connsiteX19" fmla="*/ 9946 w 9946"/>
              <a:gd name="connsiteY19" fmla="*/ 9687 h 10000"/>
              <a:gd name="connsiteX20" fmla="*/ 9946 w 9946"/>
              <a:gd name="connsiteY20" fmla="*/ 6298 h 10000"/>
              <a:gd name="connsiteX0" fmla="*/ 0 w 10000"/>
              <a:gd name="connsiteY0" fmla="*/ 8333 h 10000"/>
              <a:gd name="connsiteX1" fmla="*/ 57 w 10000"/>
              <a:gd name="connsiteY1" fmla="*/ 8647 h 10000"/>
              <a:gd name="connsiteX2" fmla="*/ 2897 w 10000"/>
              <a:gd name="connsiteY2" fmla="*/ 8647 h 10000"/>
              <a:gd name="connsiteX3" fmla="*/ 2951 w 10000"/>
              <a:gd name="connsiteY3" fmla="*/ 8333 h 10000"/>
              <a:gd name="connsiteX4" fmla="*/ 2951 w 10000"/>
              <a:gd name="connsiteY4" fmla="*/ 313 h 10000"/>
              <a:gd name="connsiteX5" fmla="*/ 3007 w 10000"/>
              <a:gd name="connsiteY5" fmla="*/ 0 h 10000"/>
              <a:gd name="connsiteX6" fmla="*/ 5568 w 10000"/>
              <a:gd name="connsiteY6" fmla="*/ 0 h 10000"/>
              <a:gd name="connsiteX7" fmla="*/ 5622 w 10000"/>
              <a:gd name="connsiteY7" fmla="*/ 313 h 10000"/>
              <a:gd name="connsiteX8" fmla="*/ 5622 w 10000"/>
              <a:gd name="connsiteY8" fmla="*/ 5772 h 10000"/>
              <a:gd name="connsiteX9" fmla="*/ 5677 w 10000"/>
              <a:gd name="connsiteY9" fmla="*/ 6085 h 10000"/>
              <a:gd name="connsiteX10" fmla="*/ 6386 w 10000"/>
              <a:gd name="connsiteY10" fmla="*/ 6085 h 10000"/>
              <a:gd name="connsiteX11" fmla="*/ 6443 w 10000"/>
              <a:gd name="connsiteY11" fmla="*/ 5772 h 10000"/>
              <a:gd name="connsiteX12" fmla="*/ 6443 w 10000"/>
              <a:gd name="connsiteY12" fmla="*/ 2293 h 10000"/>
              <a:gd name="connsiteX13" fmla="*/ 6498 w 10000"/>
              <a:gd name="connsiteY13" fmla="*/ 1980 h 10000"/>
              <a:gd name="connsiteX14" fmla="*/ 8074 w 10000"/>
              <a:gd name="connsiteY14" fmla="*/ 1980 h 10000"/>
              <a:gd name="connsiteX15" fmla="*/ 8129 w 10000"/>
              <a:gd name="connsiteY15" fmla="*/ 2293 h 10000"/>
              <a:gd name="connsiteX16" fmla="*/ 8129 w 10000"/>
              <a:gd name="connsiteY16" fmla="*/ 9687 h 10000"/>
              <a:gd name="connsiteX17" fmla="*/ 8184 w 10000"/>
              <a:gd name="connsiteY17" fmla="*/ 10000 h 10000"/>
              <a:gd name="connsiteX18" fmla="*/ 9945 w 10000"/>
              <a:gd name="connsiteY18" fmla="*/ 10000 h 10000"/>
              <a:gd name="connsiteX19" fmla="*/ 10000 w 10000"/>
              <a:gd name="connsiteY19" fmla="*/ 9687 h 10000"/>
              <a:gd name="connsiteX0" fmla="*/ 0 w 9945"/>
              <a:gd name="connsiteY0" fmla="*/ 8333 h 10000"/>
              <a:gd name="connsiteX1" fmla="*/ 57 w 9945"/>
              <a:gd name="connsiteY1" fmla="*/ 8647 h 10000"/>
              <a:gd name="connsiteX2" fmla="*/ 2897 w 9945"/>
              <a:gd name="connsiteY2" fmla="*/ 8647 h 10000"/>
              <a:gd name="connsiteX3" fmla="*/ 2951 w 9945"/>
              <a:gd name="connsiteY3" fmla="*/ 8333 h 10000"/>
              <a:gd name="connsiteX4" fmla="*/ 2951 w 9945"/>
              <a:gd name="connsiteY4" fmla="*/ 313 h 10000"/>
              <a:gd name="connsiteX5" fmla="*/ 3007 w 9945"/>
              <a:gd name="connsiteY5" fmla="*/ 0 h 10000"/>
              <a:gd name="connsiteX6" fmla="*/ 5568 w 9945"/>
              <a:gd name="connsiteY6" fmla="*/ 0 h 10000"/>
              <a:gd name="connsiteX7" fmla="*/ 5622 w 9945"/>
              <a:gd name="connsiteY7" fmla="*/ 313 h 10000"/>
              <a:gd name="connsiteX8" fmla="*/ 5622 w 9945"/>
              <a:gd name="connsiteY8" fmla="*/ 5772 h 10000"/>
              <a:gd name="connsiteX9" fmla="*/ 5677 w 9945"/>
              <a:gd name="connsiteY9" fmla="*/ 6085 h 10000"/>
              <a:gd name="connsiteX10" fmla="*/ 6386 w 9945"/>
              <a:gd name="connsiteY10" fmla="*/ 6085 h 10000"/>
              <a:gd name="connsiteX11" fmla="*/ 6443 w 9945"/>
              <a:gd name="connsiteY11" fmla="*/ 5772 h 10000"/>
              <a:gd name="connsiteX12" fmla="*/ 6443 w 9945"/>
              <a:gd name="connsiteY12" fmla="*/ 2293 h 10000"/>
              <a:gd name="connsiteX13" fmla="*/ 6498 w 9945"/>
              <a:gd name="connsiteY13" fmla="*/ 1980 h 10000"/>
              <a:gd name="connsiteX14" fmla="*/ 8074 w 9945"/>
              <a:gd name="connsiteY14" fmla="*/ 1980 h 10000"/>
              <a:gd name="connsiteX15" fmla="*/ 8129 w 9945"/>
              <a:gd name="connsiteY15" fmla="*/ 2293 h 10000"/>
              <a:gd name="connsiteX16" fmla="*/ 8129 w 9945"/>
              <a:gd name="connsiteY16" fmla="*/ 9687 h 10000"/>
              <a:gd name="connsiteX17" fmla="*/ 8184 w 9945"/>
              <a:gd name="connsiteY17" fmla="*/ 10000 h 10000"/>
              <a:gd name="connsiteX18" fmla="*/ 9945 w 9945"/>
              <a:gd name="connsiteY18" fmla="*/ 10000 h 10000"/>
              <a:gd name="connsiteX0" fmla="*/ 0 w 8229"/>
              <a:gd name="connsiteY0" fmla="*/ 8333 h 10000"/>
              <a:gd name="connsiteX1" fmla="*/ 57 w 8229"/>
              <a:gd name="connsiteY1" fmla="*/ 8647 h 10000"/>
              <a:gd name="connsiteX2" fmla="*/ 2913 w 8229"/>
              <a:gd name="connsiteY2" fmla="*/ 8647 h 10000"/>
              <a:gd name="connsiteX3" fmla="*/ 2967 w 8229"/>
              <a:gd name="connsiteY3" fmla="*/ 8333 h 10000"/>
              <a:gd name="connsiteX4" fmla="*/ 2967 w 8229"/>
              <a:gd name="connsiteY4" fmla="*/ 313 h 10000"/>
              <a:gd name="connsiteX5" fmla="*/ 3024 w 8229"/>
              <a:gd name="connsiteY5" fmla="*/ 0 h 10000"/>
              <a:gd name="connsiteX6" fmla="*/ 5599 w 8229"/>
              <a:gd name="connsiteY6" fmla="*/ 0 h 10000"/>
              <a:gd name="connsiteX7" fmla="*/ 5653 w 8229"/>
              <a:gd name="connsiteY7" fmla="*/ 313 h 10000"/>
              <a:gd name="connsiteX8" fmla="*/ 5653 w 8229"/>
              <a:gd name="connsiteY8" fmla="*/ 5772 h 10000"/>
              <a:gd name="connsiteX9" fmla="*/ 5708 w 8229"/>
              <a:gd name="connsiteY9" fmla="*/ 6085 h 10000"/>
              <a:gd name="connsiteX10" fmla="*/ 6421 w 8229"/>
              <a:gd name="connsiteY10" fmla="*/ 6085 h 10000"/>
              <a:gd name="connsiteX11" fmla="*/ 6479 w 8229"/>
              <a:gd name="connsiteY11" fmla="*/ 5772 h 10000"/>
              <a:gd name="connsiteX12" fmla="*/ 6479 w 8229"/>
              <a:gd name="connsiteY12" fmla="*/ 2293 h 10000"/>
              <a:gd name="connsiteX13" fmla="*/ 6534 w 8229"/>
              <a:gd name="connsiteY13" fmla="*/ 1980 h 10000"/>
              <a:gd name="connsiteX14" fmla="*/ 8119 w 8229"/>
              <a:gd name="connsiteY14" fmla="*/ 1980 h 10000"/>
              <a:gd name="connsiteX15" fmla="*/ 8174 w 8229"/>
              <a:gd name="connsiteY15" fmla="*/ 2293 h 10000"/>
              <a:gd name="connsiteX16" fmla="*/ 8174 w 8229"/>
              <a:gd name="connsiteY16" fmla="*/ 9687 h 10000"/>
              <a:gd name="connsiteX17" fmla="*/ 8229 w 8229"/>
              <a:gd name="connsiteY17" fmla="*/ 10000 h 10000"/>
              <a:gd name="connsiteX0" fmla="*/ 0 w 9933"/>
              <a:gd name="connsiteY0" fmla="*/ 8333 h 9687"/>
              <a:gd name="connsiteX1" fmla="*/ 69 w 9933"/>
              <a:gd name="connsiteY1" fmla="*/ 8647 h 9687"/>
              <a:gd name="connsiteX2" fmla="*/ 3540 w 9933"/>
              <a:gd name="connsiteY2" fmla="*/ 8647 h 9687"/>
              <a:gd name="connsiteX3" fmla="*/ 3606 w 9933"/>
              <a:gd name="connsiteY3" fmla="*/ 8333 h 9687"/>
              <a:gd name="connsiteX4" fmla="*/ 3606 w 9933"/>
              <a:gd name="connsiteY4" fmla="*/ 313 h 9687"/>
              <a:gd name="connsiteX5" fmla="*/ 3675 w 9933"/>
              <a:gd name="connsiteY5" fmla="*/ 0 h 9687"/>
              <a:gd name="connsiteX6" fmla="*/ 6804 w 9933"/>
              <a:gd name="connsiteY6" fmla="*/ 0 h 9687"/>
              <a:gd name="connsiteX7" fmla="*/ 6870 w 9933"/>
              <a:gd name="connsiteY7" fmla="*/ 313 h 9687"/>
              <a:gd name="connsiteX8" fmla="*/ 6870 w 9933"/>
              <a:gd name="connsiteY8" fmla="*/ 5772 h 9687"/>
              <a:gd name="connsiteX9" fmla="*/ 6936 w 9933"/>
              <a:gd name="connsiteY9" fmla="*/ 6085 h 9687"/>
              <a:gd name="connsiteX10" fmla="*/ 7803 w 9933"/>
              <a:gd name="connsiteY10" fmla="*/ 6085 h 9687"/>
              <a:gd name="connsiteX11" fmla="*/ 7873 w 9933"/>
              <a:gd name="connsiteY11" fmla="*/ 5772 h 9687"/>
              <a:gd name="connsiteX12" fmla="*/ 7873 w 9933"/>
              <a:gd name="connsiteY12" fmla="*/ 2293 h 9687"/>
              <a:gd name="connsiteX13" fmla="*/ 7940 w 9933"/>
              <a:gd name="connsiteY13" fmla="*/ 1980 h 9687"/>
              <a:gd name="connsiteX14" fmla="*/ 9866 w 9933"/>
              <a:gd name="connsiteY14" fmla="*/ 1980 h 9687"/>
              <a:gd name="connsiteX15" fmla="*/ 9933 w 9933"/>
              <a:gd name="connsiteY15" fmla="*/ 2293 h 9687"/>
              <a:gd name="connsiteX16" fmla="*/ 9933 w 9933"/>
              <a:gd name="connsiteY16" fmla="*/ 9687 h 9687"/>
              <a:gd name="connsiteX0" fmla="*/ 0 w 10000"/>
              <a:gd name="connsiteY0" fmla="*/ 8602 h 8926"/>
              <a:gd name="connsiteX1" fmla="*/ 69 w 10000"/>
              <a:gd name="connsiteY1" fmla="*/ 8926 h 8926"/>
              <a:gd name="connsiteX2" fmla="*/ 3564 w 10000"/>
              <a:gd name="connsiteY2" fmla="*/ 8926 h 8926"/>
              <a:gd name="connsiteX3" fmla="*/ 3630 w 10000"/>
              <a:gd name="connsiteY3" fmla="*/ 8602 h 8926"/>
              <a:gd name="connsiteX4" fmla="*/ 3630 w 10000"/>
              <a:gd name="connsiteY4" fmla="*/ 323 h 8926"/>
              <a:gd name="connsiteX5" fmla="*/ 3700 w 10000"/>
              <a:gd name="connsiteY5" fmla="*/ 0 h 8926"/>
              <a:gd name="connsiteX6" fmla="*/ 6850 w 10000"/>
              <a:gd name="connsiteY6" fmla="*/ 0 h 8926"/>
              <a:gd name="connsiteX7" fmla="*/ 6916 w 10000"/>
              <a:gd name="connsiteY7" fmla="*/ 323 h 8926"/>
              <a:gd name="connsiteX8" fmla="*/ 6916 w 10000"/>
              <a:gd name="connsiteY8" fmla="*/ 5959 h 8926"/>
              <a:gd name="connsiteX9" fmla="*/ 6983 w 10000"/>
              <a:gd name="connsiteY9" fmla="*/ 6282 h 8926"/>
              <a:gd name="connsiteX10" fmla="*/ 7856 w 10000"/>
              <a:gd name="connsiteY10" fmla="*/ 6282 h 8926"/>
              <a:gd name="connsiteX11" fmla="*/ 7926 w 10000"/>
              <a:gd name="connsiteY11" fmla="*/ 5959 h 8926"/>
              <a:gd name="connsiteX12" fmla="*/ 7926 w 10000"/>
              <a:gd name="connsiteY12" fmla="*/ 2367 h 8926"/>
              <a:gd name="connsiteX13" fmla="*/ 7994 w 10000"/>
              <a:gd name="connsiteY13" fmla="*/ 2044 h 8926"/>
              <a:gd name="connsiteX14" fmla="*/ 9933 w 10000"/>
              <a:gd name="connsiteY14" fmla="*/ 2044 h 8926"/>
              <a:gd name="connsiteX15" fmla="*/ 10000 w 10000"/>
              <a:gd name="connsiteY15" fmla="*/ 2367 h 8926"/>
              <a:gd name="connsiteX0" fmla="*/ 0 w 10000"/>
              <a:gd name="connsiteY0" fmla="*/ 9637 h 10000"/>
              <a:gd name="connsiteX1" fmla="*/ 3564 w 10000"/>
              <a:gd name="connsiteY1" fmla="*/ 10000 h 10000"/>
              <a:gd name="connsiteX2" fmla="*/ 3630 w 10000"/>
              <a:gd name="connsiteY2" fmla="*/ 9637 h 10000"/>
              <a:gd name="connsiteX3" fmla="*/ 3630 w 10000"/>
              <a:gd name="connsiteY3" fmla="*/ 362 h 10000"/>
              <a:gd name="connsiteX4" fmla="*/ 3700 w 10000"/>
              <a:gd name="connsiteY4" fmla="*/ 0 h 10000"/>
              <a:gd name="connsiteX5" fmla="*/ 6850 w 10000"/>
              <a:gd name="connsiteY5" fmla="*/ 0 h 10000"/>
              <a:gd name="connsiteX6" fmla="*/ 6916 w 10000"/>
              <a:gd name="connsiteY6" fmla="*/ 362 h 10000"/>
              <a:gd name="connsiteX7" fmla="*/ 6916 w 10000"/>
              <a:gd name="connsiteY7" fmla="*/ 6676 h 10000"/>
              <a:gd name="connsiteX8" fmla="*/ 6983 w 10000"/>
              <a:gd name="connsiteY8" fmla="*/ 7038 h 10000"/>
              <a:gd name="connsiteX9" fmla="*/ 7856 w 10000"/>
              <a:gd name="connsiteY9" fmla="*/ 7038 h 10000"/>
              <a:gd name="connsiteX10" fmla="*/ 7926 w 10000"/>
              <a:gd name="connsiteY10" fmla="*/ 6676 h 10000"/>
              <a:gd name="connsiteX11" fmla="*/ 7926 w 10000"/>
              <a:gd name="connsiteY11" fmla="*/ 2652 h 10000"/>
              <a:gd name="connsiteX12" fmla="*/ 7994 w 10000"/>
              <a:gd name="connsiteY12" fmla="*/ 2290 h 10000"/>
              <a:gd name="connsiteX13" fmla="*/ 9933 w 10000"/>
              <a:gd name="connsiteY13" fmla="*/ 2290 h 10000"/>
              <a:gd name="connsiteX14" fmla="*/ 10000 w 10000"/>
              <a:gd name="connsiteY14" fmla="*/ 2652 h 10000"/>
              <a:gd name="connsiteX0" fmla="*/ 0 w 9777"/>
              <a:gd name="connsiteY0" fmla="*/ 10089 h 10109"/>
              <a:gd name="connsiteX1" fmla="*/ 3341 w 9777"/>
              <a:gd name="connsiteY1" fmla="*/ 10000 h 10109"/>
              <a:gd name="connsiteX2" fmla="*/ 3407 w 9777"/>
              <a:gd name="connsiteY2" fmla="*/ 9637 h 10109"/>
              <a:gd name="connsiteX3" fmla="*/ 3407 w 9777"/>
              <a:gd name="connsiteY3" fmla="*/ 362 h 10109"/>
              <a:gd name="connsiteX4" fmla="*/ 3477 w 9777"/>
              <a:gd name="connsiteY4" fmla="*/ 0 h 10109"/>
              <a:gd name="connsiteX5" fmla="*/ 6627 w 9777"/>
              <a:gd name="connsiteY5" fmla="*/ 0 h 10109"/>
              <a:gd name="connsiteX6" fmla="*/ 6693 w 9777"/>
              <a:gd name="connsiteY6" fmla="*/ 362 h 10109"/>
              <a:gd name="connsiteX7" fmla="*/ 6693 w 9777"/>
              <a:gd name="connsiteY7" fmla="*/ 6676 h 10109"/>
              <a:gd name="connsiteX8" fmla="*/ 6760 w 9777"/>
              <a:gd name="connsiteY8" fmla="*/ 7038 h 10109"/>
              <a:gd name="connsiteX9" fmla="*/ 7633 w 9777"/>
              <a:gd name="connsiteY9" fmla="*/ 7038 h 10109"/>
              <a:gd name="connsiteX10" fmla="*/ 7703 w 9777"/>
              <a:gd name="connsiteY10" fmla="*/ 6676 h 10109"/>
              <a:gd name="connsiteX11" fmla="*/ 7703 w 9777"/>
              <a:gd name="connsiteY11" fmla="*/ 2652 h 10109"/>
              <a:gd name="connsiteX12" fmla="*/ 7771 w 9777"/>
              <a:gd name="connsiteY12" fmla="*/ 2290 h 10109"/>
              <a:gd name="connsiteX13" fmla="*/ 9710 w 9777"/>
              <a:gd name="connsiteY13" fmla="*/ 2290 h 10109"/>
              <a:gd name="connsiteX14" fmla="*/ 9777 w 9777"/>
              <a:gd name="connsiteY14" fmla="*/ 2652 h 10109"/>
              <a:gd name="connsiteX0" fmla="*/ 0 w 10000"/>
              <a:gd name="connsiteY0" fmla="*/ 9855 h 9901"/>
              <a:gd name="connsiteX1" fmla="*/ 3417 w 10000"/>
              <a:gd name="connsiteY1" fmla="*/ 9892 h 9901"/>
              <a:gd name="connsiteX2" fmla="*/ 3485 w 10000"/>
              <a:gd name="connsiteY2" fmla="*/ 9533 h 9901"/>
              <a:gd name="connsiteX3" fmla="*/ 3485 w 10000"/>
              <a:gd name="connsiteY3" fmla="*/ 358 h 9901"/>
              <a:gd name="connsiteX4" fmla="*/ 3556 w 10000"/>
              <a:gd name="connsiteY4" fmla="*/ 0 h 9901"/>
              <a:gd name="connsiteX5" fmla="*/ 6778 w 10000"/>
              <a:gd name="connsiteY5" fmla="*/ 0 h 9901"/>
              <a:gd name="connsiteX6" fmla="*/ 6846 w 10000"/>
              <a:gd name="connsiteY6" fmla="*/ 358 h 9901"/>
              <a:gd name="connsiteX7" fmla="*/ 6846 w 10000"/>
              <a:gd name="connsiteY7" fmla="*/ 6604 h 9901"/>
              <a:gd name="connsiteX8" fmla="*/ 6914 w 10000"/>
              <a:gd name="connsiteY8" fmla="*/ 6962 h 9901"/>
              <a:gd name="connsiteX9" fmla="*/ 7807 w 10000"/>
              <a:gd name="connsiteY9" fmla="*/ 6962 h 9901"/>
              <a:gd name="connsiteX10" fmla="*/ 7879 w 10000"/>
              <a:gd name="connsiteY10" fmla="*/ 6604 h 9901"/>
              <a:gd name="connsiteX11" fmla="*/ 7879 w 10000"/>
              <a:gd name="connsiteY11" fmla="*/ 2623 h 9901"/>
              <a:gd name="connsiteX12" fmla="*/ 7948 w 10000"/>
              <a:gd name="connsiteY12" fmla="*/ 2265 h 9901"/>
              <a:gd name="connsiteX13" fmla="*/ 9931 w 10000"/>
              <a:gd name="connsiteY13" fmla="*/ 2265 h 9901"/>
              <a:gd name="connsiteX14" fmla="*/ 10000 w 10000"/>
              <a:gd name="connsiteY14" fmla="*/ 2623 h 9901"/>
              <a:gd name="connsiteX0" fmla="*/ 0 w 10000"/>
              <a:gd name="connsiteY0" fmla="*/ 9954 h 10007"/>
              <a:gd name="connsiteX1" fmla="*/ 3417 w 10000"/>
              <a:gd name="connsiteY1" fmla="*/ 9991 h 10007"/>
              <a:gd name="connsiteX2" fmla="*/ 3485 w 10000"/>
              <a:gd name="connsiteY2" fmla="*/ 9628 h 10007"/>
              <a:gd name="connsiteX3" fmla="*/ 3485 w 10000"/>
              <a:gd name="connsiteY3" fmla="*/ 362 h 10007"/>
              <a:gd name="connsiteX4" fmla="*/ 3556 w 10000"/>
              <a:gd name="connsiteY4" fmla="*/ 0 h 10007"/>
              <a:gd name="connsiteX5" fmla="*/ 6778 w 10000"/>
              <a:gd name="connsiteY5" fmla="*/ 0 h 10007"/>
              <a:gd name="connsiteX6" fmla="*/ 6846 w 10000"/>
              <a:gd name="connsiteY6" fmla="*/ 362 h 10007"/>
              <a:gd name="connsiteX7" fmla="*/ 6846 w 10000"/>
              <a:gd name="connsiteY7" fmla="*/ 6670 h 10007"/>
              <a:gd name="connsiteX8" fmla="*/ 6914 w 10000"/>
              <a:gd name="connsiteY8" fmla="*/ 7032 h 10007"/>
              <a:gd name="connsiteX9" fmla="*/ 7807 w 10000"/>
              <a:gd name="connsiteY9" fmla="*/ 7032 h 10007"/>
              <a:gd name="connsiteX10" fmla="*/ 7879 w 10000"/>
              <a:gd name="connsiteY10" fmla="*/ 6670 h 10007"/>
              <a:gd name="connsiteX11" fmla="*/ 7879 w 10000"/>
              <a:gd name="connsiteY11" fmla="*/ 2649 h 10007"/>
              <a:gd name="connsiteX12" fmla="*/ 7948 w 10000"/>
              <a:gd name="connsiteY12" fmla="*/ 2288 h 10007"/>
              <a:gd name="connsiteX13" fmla="*/ 9931 w 10000"/>
              <a:gd name="connsiteY13" fmla="*/ 2288 h 10007"/>
              <a:gd name="connsiteX14" fmla="*/ 10000 w 10000"/>
              <a:gd name="connsiteY14" fmla="*/ 2649 h 10007"/>
              <a:gd name="connsiteX0" fmla="*/ 0 w 10000"/>
              <a:gd name="connsiteY0" fmla="*/ 9954 h 10038"/>
              <a:gd name="connsiteX1" fmla="*/ 3417 w 10000"/>
              <a:gd name="connsiteY1" fmla="*/ 9991 h 10038"/>
              <a:gd name="connsiteX2" fmla="*/ 3485 w 10000"/>
              <a:gd name="connsiteY2" fmla="*/ 9628 h 10038"/>
              <a:gd name="connsiteX3" fmla="*/ 3485 w 10000"/>
              <a:gd name="connsiteY3" fmla="*/ 362 h 10038"/>
              <a:gd name="connsiteX4" fmla="*/ 3556 w 10000"/>
              <a:gd name="connsiteY4" fmla="*/ 0 h 10038"/>
              <a:gd name="connsiteX5" fmla="*/ 6778 w 10000"/>
              <a:gd name="connsiteY5" fmla="*/ 0 h 10038"/>
              <a:gd name="connsiteX6" fmla="*/ 6846 w 10000"/>
              <a:gd name="connsiteY6" fmla="*/ 362 h 10038"/>
              <a:gd name="connsiteX7" fmla="*/ 6846 w 10000"/>
              <a:gd name="connsiteY7" fmla="*/ 6670 h 10038"/>
              <a:gd name="connsiteX8" fmla="*/ 6914 w 10000"/>
              <a:gd name="connsiteY8" fmla="*/ 7032 h 10038"/>
              <a:gd name="connsiteX9" fmla="*/ 7807 w 10000"/>
              <a:gd name="connsiteY9" fmla="*/ 7032 h 10038"/>
              <a:gd name="connsiteX10" fmla="*/ 7879 w 10000"/>
              <a:gd name="connsiteY10" fmla="*/ 6670 h 10038"/>
              <a:gd name="connsiteX11" fmla="*/ 7879 w 10000"/>
              <a:gd name="connsiteY11" fmla="*/ 2649 h 10038"/>
              <a:gd name="connsiteX12" fmla="*/ 7948 w 10000"/>
              <a:gd name="connsiteY12" fmla="*/ 2288 h 10038"/>
              <a:gd name="connsiteX13" fmla="*/ 9931 w 10000"/>
              <a:gd name="connsiteY13" fmla="*/ 2288 h 10038"/>
              <a:gd name="connsiteX14" fmla="*/ 10000 w 10000"/>
              <a:gd name="connsiteY14" fmla="*/ 2649 h 10038"/>
              <a:gd name="connsiteX0" fmla="*/ 0 w 10000"/>
              <a:gd name="connsiteY0" fmla="*/ 9954 h 10007"/>
              <a:gd name="connsiteX1" fmla="*/ 3417 w 10000"/>
              <a:gd name="connsiteY1" fmla="*/ 9991 h 10007"/>
              <a:gd name="connsiteX2" fmla="*/ 3485 w 10000"/>
              <a:gd name="connsiteY2" fmla="*/ 9628 h 10007"/>
              <a:gd name="connsiteX3" fmla="*/ 3485 w 10000"/>
              <a:gd name="connsiteY3" fmla="*/ 362 h 10007"/>
              <a:gd name="connsiteX4" fmla="*/ 3556 w 10000"/>
              <a:gd name="connsiteY4" fmla="*/ 0 h 10007"/>
              <a:gd name="connsiteX5" fmla="*/ 6778 w 10000"/>
              <a:gd name="connsiteY5" fmla="*/ 0 h 10007"/>
              <a:gd name="connsiteX6" fmla="*/ 6846 w 10000"/>
              <a:gd name="connsiteY6" fmla="*/ 362 h 10007"/>
              <a:gd name="connsiteX7" fmla="*/ 6846 w 10000"/>
              <a:gd name="connsiteY7" fmla="*/ 6670 h 10007"/>
              <a:gd name="connsiteX8" fmla="*/ 6914 w 10000"/>
              <a:gd name="connsiteY8" fmla="*/ 7032 h 10007"/>
              <a:gd name="connsiteX9" fmla="*/ 7807 w 10000"/>
              <a:gd name="connsiteY9" fmla="*/ 7032 h 10007"/>
              <a:gd name="connsiteX10" fmla="*/ 7879 w 10000"/>
              <a:gd name="connsiteY10" fmla="*/ 6670 h 10007"/>
              <a:gd name="connsiteX11" fmla="*/ 7879 w 10000"/>
              <a:gd name="connsiteY11" fmla="*/ 2649 h 10007"/>
              <a:gd name="connsiteX12" fmla="*/ 7948 w 10000"/>
              <a:gd name="connsiteY12" fmla="*/ 2288 h 10007"/>
              <a:gd name="connsiteX13" fmla="*/ 9931 w 10000"/>
              <a:gd name="connsiteY13" fmla="*/ 2288 h 10007"/>
              <a:gd name="connsiteX14" fmla="*/ 10000 w 10000"/>
              <a:gd name="connsiteY14" fmla="*/ 2649 h 10007"/>
              <a:gd name="connsiteX0" fmla="*/ 0 w 10000"/>
              <a:gd name="connsiteY0" fmla="*/ 9972 h 10018"/>
              <a:gd name="connsiteX1" fmla="*/ 3417 w 10000"/>
              <a:gd name="connsiteY1" fmla="*/ 9991 h 10018"/>
              <a:gd name="connsiteX2" fmla="*/ 3485 w 10000"/>
              <a:gd name="connsiteY2" fmla="*/ 9628 h 10018"/>
              <a:gd name="connsiteX3" fmla="*/ 3485 w 10000"/>
              <a:gd name="connsiteY3" fmla="*/ 362 h 10018"/>
              <a:gd name="connsiteX4" fmla="*/ 3556 w 10000"/>
              <a:gd name="connsiteY4" fmla="*/ 0 h 10018"/>
              <a:gd name="connsiteX5" fmla="*/ 6778 w 10000"/>
              <a:gd name="connsiteY5" fmla="*/ 0 h 10018"/>
              <a:gd name="connsiteX6" fmla="*/ 6846 w 10000"/>
              <a:gd name="connsiteY6" fmla="*/ 362 h 10018"/>
              <a:gd name="connsiteX7" fmla="*/ 6846 w 10000"/>
              <a:gd name="connsiteY7" fmla="*/ 6670 h 10018"/>
              <a:gd name="connsiteX8" fmla="*/ 6914 w 10000"/>
              <a:gd name="connsiteY8" fmla="*/ 7032 h 10018"/>
              <a:gd name="connsiteX9" fmla="*/ 7807 w 10000"/>
              <a:gd name="connsiteY9" fmla="*/ 7032 h 10018"/>
              <a:gd name="connsiteX10" fmla="*/ 7879 w 10000"/>
              <a:gd name="connsiteY10" fmla="*/ 6670 h 10018"/>
              <a:gd name="connsiteX11" fmla="*/ 7879 w 10000"/>
              <a:gd name="connsiteY11" fmla="*/ 2649 h 10018"/>
              <a:gd name="connsiteX12" fmla="*/ 7948 w 10000"/>
              <a:gd name="connsiteY12" fmla="*/ 2288 h 10018"/>
              <a:gd name="connsiteX13" fmla="*/ 9931 w 10000"/>
              <a:gd name="connsiteY13" fmla="*/ 2288 h 10018"/>
              <a:gd name="connsiteX14" fmla="*/ 10000 w 10000"/>
              <a:gd name="connsiteY14" fmla="*/ 2649 h 10018"/>
              <a:gd name="connsiteX0" fmla="*/ 0 w 10000"/>
              <a:gd name="connsiteY0" fmla="*/ 9972 h 9991"/>
              <a:gd name="connsiteX1" fmla="*/ 3417 w 10000"/>
              <a:gd name="connsiteY1" fmla="*/ 9991 h 9991"/>
              <a:gd name="connsiteX2" fmla="*/ 3485 w 10000"/>
              <a:gd name="connsiteY2" fmla="*/ 9628 h 9991"/>
              <a:gd name="connsiteX3" fmla="*/ 3485 w 10000"/>
              <a:gd name="connsiteY3" fmla="*/ 362 h 9991"/>
              <a:gd name="connsiteX4" fmla="*/ 3556 w 10000"/>
              <a:gd name="connsiteY4" fmla="*/ 0 h 9991"/>
              <a:gd name="connsiteX5" fmla="*/ 6778 w 10000"/>
              <a:gd name="connsiteY5" fmla="*/ 0 h 9991"/>
              <a:gd name="connsiteX6" fmla="*/ 6846 w 10000"/>
              <a:gd name="connsiteY6" fmla="*/ 362 h 9991"/>
              <a:gd name="connsiteX7" fmla="*/ 6846 w 10000"/>
              <a:gd name="connsiteY7" fmla="*/ 6670 h 9991"/>
              <a:gd name="connsiteX8" fmla="*/ 6914 w 10000"/>
              <a:gd name="connsiteY8" fmla="*/ 7032 h 9991"/>
              <a:gd name="connsiteX9" fmla="*/ 7807 w 10000"/>
              <a:gd name="connsiteY9" fmla="*/ 7032 h 9991"/>
              <a:gd name="connsiteX10" fmla="*/ 7879 w 10000"/>
              <a:gd name="connsiteY10" fmla="*/ 6670 h 9991"/>
              <a:gd name="connsiteX11" fmla="*/ 7879 w 10000"/>
              <a:gd name="connsiteY11" fmla="*/ 2649 h 9991"/>
              <a:gd name="connsiteX12" fmla="*/ 7948 w 10000"/>
              <a:gd name="connsiteY12" fmla="*/ 2288 h 9991"/>
              <a:gd name="connsiteX13" fmla="*/ 9931 w 10000"/>
              <a:gd name="connsiteY13" fmla="*/ 2288 h 9991"/>
              <a:gd name="connsiteX14" fmla="*/ 10000 w 10000"/>
              <a:gd name="connsiteY14" fmla="*/ 2649 h 9991"/>
              <a:gd name="connsiteX0" fmla="*/ 0 w 10000"/>
              <a:gd name="connsiteY0" fmla="*/ 10008 h 10015"/>
              <a:gd name="connsiteX1" fmla="*/ 3417 w 10000"/>
              <a:gd name="connsiteY1" fmla="*/ 10000 h 10015"/>
              <a:gd name="connsiteX2" fmla="*/ 3485 w 10000"/>
              <a:gd name="connsiteY2" fmla="*/ 9637 h 10015"/>
              <a:gd name="connsiteX3" fmla="*/ 3485 w 10000"/>
              <a:gd name="connsiteY3" fmla="*/ 362 h 10015"/>
              <a:gd name="connsiteX4" fmla="*/ 3556 w 10000"/>
              <a:gd name="connsiteY4" fmla="*/ 0 h 10015"/>
              <a:gd name="connsiteX5" fmla="*/ 6778 w 10000"/>
              <a:gd name="connsiteY5" fmla="*/ 0 h 10015"/>
              <a:gd name="connsiteX6" fmla="*/ 6846 w 10000"/>
              <a:gd name="connsiteY6" fmla="*/ 362 h 10015"/>
              <a:gd name="connsiteX7" fmla="*/ 6846 w 10000"/>
              <a:gd name="connsiteY7" fmla="*/ 6676 h 10015"/>
              <a:gd name="connsiteX8" fmla="*/ 6914 w 10000"/>
              <a:gd name="connsiteY8" fmla="*/ 7038 h 10015"/>
              <a:gd name="connsiteX9" fmla="*/ 7807 w 10000"/>
              <a:gd name="connsiteY9" fmla="*/ 7038 h 10015"/>
              <a:gd name="connsiteX10" fmla="*/ 7879 w 10000"/>
              <a:gd name="connsiteY10" fmla="*/ 6676 h 10015"/>
              <a:gd name="connsiteX11" fmla="*/ 7879 w 10000"/>
              <a:gd name="connsiteY11" fmla="*/ 2651 h 10015"/>
              <a:gd name="connsiteX12" fmla="*/ 7948 w 10000"/>
              <a:gd name="connsiteY12" fmla="*/ 2290 h 10015"/>
              <a:gd name="connsiteX13" fmla="*/ 9931 w 10000"/>
              <a:gd name="connsiteY13" fmla="*/ 2290 h 10015"/>
              <a:gd name="connsiteX14" fmla="*/ 10000 w 10000"/>
              <a:gd name="connsiteY14" fmla="*/ 2651 h 10015"/>
              <a:gd name="connsiteX0" fmla="*/ 0 w 10000"/>
              <a:gd name="connsiteY0" fmla="*/ 10008 h 10008"/>
              <a:gd name="connsiteX1" fmla="*/ 3417 w 10000"/>
              <a:gd name="connsiteY1" fmla="*/ 10000 h 10008"/>
              <a:gd name="connsiteX2" fmla="*/ 3485 w 10000"/>
              <a:gd name="connsiteY2" fmla="*/ 9637 h 10008"/>
              <a:gd name="connsiteX3" fmla="*/ 3485 w 10000"/>
              <a:gd name="connsiteY3" fmla="*/ 362 h 10008"/>
              <a:gd name="connsiteX4" fmla="*/ 3556 w 10000"/>
              <a:gd name="connsiteY4" fmla="*/ 0 h 10008"/>
              <a:gd name="connsiteX5" fmla="*/ 6778 w 10000"/>
              <a:gd name="connsiteY5" fmla="*/ 0 h 10008"/>
              <a:gd name="connsiteX6" fmla="*/ 6846 w 10000"/>
              <a:gd name="connsiteY6" fmla="*/ 362 h 10008"/>
              <a:gd name="connsiteX7" fmla="*/ 6846 w 10000"/>
              <a:gd name="connsiteY7" fmla="*/ 6676 h 10008"/>
              <a:gd name="connsiteX8" fmla="*/ 6914 w 10000"/>
              <a:gd name="connsiteY8" fmla="*/ 7038 h 10008"/>
              <a:gd name="connsiteX9" fmla="*/ 7807 w 10000"/>
              <a:gd name="connsiteY9" fmla="*/ 7038 h 10008"/>
              <a:gd name="connsiteX10" fmla="*/ 7879 w 10000"/>
              <a:gd name="connsiteY10" fmla="*/ 6676 h 10008"/>
              <a:gd name="connsiteX11" fmla="*/ 7879 w 10000"/>
              <a:gd name="connsiteY11" fmla="*/ 2651 h 10008"/>
              <a:gd name="connsiteX12" fmla="*/ 7948 w 10000"/>
              <a:gd name="connsiteY12" fmla="*/ 2290 h 10008"/>
              <a:gd name="connsiteX13" fmla="*/ 9931 w 10000"/>
              <a:gd name="connsiteY13" fmla="*/ 2290 h 10008"/>
              <a:gd name="connsiteX14" fmla="*/ 10000 w 10000"/>
              <a:gd name="connsiteY14" fmla="*/ 2651 h 10008"/>
              <a:gd name="connsiteX0" fmla="*/ 0 w 10000"/>
              <a:gd name="connsiteY0" fmla="*/ 10008 h 10008"/>
              <a:gd name="connsiteX1" fmla="*/ 3417 w 10000"/>
              <a:gd name="connsiteY1" fmla="*/ 10000 h 10008"/>
              <a:gd name="connsiteX2" fmla="*/ 3485 w 10000"/>
              <a:gd name="connsiteY2" fmla="*/ 9637 h 10008"/>
              <a:gd name="connsiteX3" fmla="*/ 3485 w 10000"/>
              <a:gd name="connsiteY3" fmla="*/ 362 h 10008"/>
              <a:gd name="connsiteX4" fmla="*/ 3556 w 10000"/>
              <a:gd name="connsiteY4" fmla="*/ 0 h 10008"/>
              <a:gd name="connsiteX5" fmla="*/ 6778 w 10000"/>
              <a:gd name="connsiteY5" fmla="*/ 0 h 10008"/>
              <a:gd name="connsiteX6" fmla="*/ 6846 w 10000"/>
              <a:gd name="connsiteY6" fmla="*/ 362 h 10008"/>
              <a:gd name="connsiteX7" fmla="*/ 6846 w 10000"/>
              <a:gd name="connsiteY7" fmla="*/ 6676 h 10008"/>
              <a:gd name="connsiteX8" fmla="*/ 6914 w 10000"/>
              <a:gd name="connsiteY8" fmla="*/ 7038 h 10008"/>
              <a:gd name="connsiteX9" fmla="*/ 7807 w 10000"/>
              <a:gd name="connsiteY9" fmla="*/ 7038 h 10008"/>
              <a:gd name="connsiteX10" fmla="*/ 7879 w 10000"/>
              <a:gd name="connsiteY10" fmla="*/ 6676 h 10008"/>
              <a:gd name="connsiteX11" fmla="*/ 7879 w 10000"/>
              <a:gd name="connsiteY11" fmla="*/ 2651 h 10008"/>
              <a:gd name="connsiteX12" fmla="*/ 7948 w 10000"/>
              <a:gd name="connsiteY12" fmla="*/ 2290 h 10008"/>
              <a:gd name="connsiteX13" fmla="*/ 10000 w 10000"/>
              <a:gd name="connsiteY13" fmla="*/ 2651 h 10008"/>
              <a:gd name="connsiteX0" fmla="*/ 0 w 9969"/>
              <a:gd name="connsiteY0" fmla="*/ 10008 h 10008"/>
              <a:gd name="connsiteX1" fmla="*/ 3417 w 9969"/>
              <a:gd name="connsiteY1" fmla="*/ 10000 h 10008"/>
              <a:gd name="connsiteX2" fmla="*/ 3485 w 9969"/>
              <a:gd name="connsiteY2" fmla="*/ 9637 h 10008"/>
              <a:gd name="connsiteX3" fmla="*/ 3485 w 9969"/>
              <a:gd name="connsiteY3" fmla="*/ 362 h 10008"/>
              <a:gd name="connsiteX4" fmla="*/ 3556 w 9969"/>
              <a:gd name="connsiteY4" fmla="*/ 0 h 10008"/>
              <a:gd name="connsiteX5" fmla="*/ 6778 w 9969"/>
              <a:gd name="connsiteY5" fmla="*/ 0 h 10008"/>
              <a:gd name="connsiteX6" fmla="*/ 6846 w 9969"/>
              <a:gd name="connsiteY6" fmla="*/ 362 h 10008"/>
              <a:gd name="connsiteX7" fmla="*/ 6846 w 9969"/>
              <a:gd name="connsiteY7" fmla="*/ 6676 h 10008"/>
              <a:gd name="connsiteX8" fmla="*/ 6914 w 9969"/>
              <a:gd name="connsiteY8" fmla="*/ 7038 h 10008"/>
              <a:gd name="connsiteX9" fmla="*/ 7807 w 9969"/>
              <a:gd name="connsiteY9" fmla="*/ 7038 h 10008"/>
              <a:gd name="connsiteX10" fmla="*/ 7879 w 9969"/>
              <a:gd name="connsiteY10" fmla="*/ 6676 h 10008"/>
              <a:gd name="connsiteX11" fmla="*/ 7879 w 9969"/>
              <a:gd name="connsiteY11" fmla="*/ 2651 h 10008"/>
              <a:gd name="connsiteX12" fmla="*/ 7948 w 9969"/>
              <a:gd name="connsiteY12" fmla="*/ 2290 h 10008"/>
              <a:gd name="connsiteX13" fmla="*/ 9969 w 9969"/>
              <a:gd name="connsiteY13" fmla="*/ 2271 h 10008"/>
              <a:gd name="connsiteX0" fmla="*/ 0 w 9995"/>
              <a:gd name="connsiteY0" fmla="*/ 10000 h 10000"/>
              <a:gd name="connsiteX1" fmla="*/ 3428 w 9995"/>
              <a:gd name="connsiteY1" fmla="*/ 9992 h 10000"/>
              <a:gd name="connsiteX2" fmla="*/ 3496 w 9995"/>
              <a:gd name="connsiteY2" fmla="*/ 9629 h 10000"/>
              <a:gd name="connsiteX3" fmla="*/ 3496 w 9995"/>
              <a:gd name="connsiteY3" fmla="*/ 362 h 10000"/>
              <a:gd name="connsiteX4" fmla="*/ 3567 w 9995"/>
              <a:gd name="connsiteY4" fmla="*/ 0 h 10000"/>
              <a:gd name="connsiteX5" fmla="*/ 6799 w 9995"/>
              <a:gd name="connsiteY5" fmla="*/ 0 h 10000"/>
              <a:gd name="connsiteX6" fmla="*/ 6867 w 9995"/>
              <a:gd name="connsiteY6" fmla="*/ 362 h 10000"/>
              <a:gd name="connsiteX7" fmla="*/ 6867 w 9995"/>
              <a:gd name="connsiteY7" fmla="*/ 6671 h 10000"/>
              <a:gd name="connsiteX8" fmla="*/ 6936 w 9995"/>
              <a:gd name="connsiteY8" fmla="*/ 7032 h 10000"/>
              <a:gd name="connsiteX9" fmla="*/ 7831 w 9995"/>
              <a:gd name="connsiteY9" fmla="*/ 7032 h 10000"/>
              <a:gd name="connsiteX10" fmla="*/ 7904 w 9995"/>
              <a:gd name="connsiteY10" fmla="*/ 6671 h 10000"/>
              <a:gd name="connsiteX11" fmla="*/ 7904 w 9995"/>
              <a:gd name="connsiteY11" fmla="*/ 2649 h 10000"/>
              <a:gd name="connsiteX12" fmla="*/ 7973 w 9995"/>
              <a:gd name="connsiteY12" fmla="*/ 2288 h 10000"/>
              <a:gd name="connsiteX13" fmla="*/ 9995 w 9995"/>
              <a:gd name="connsiteY13" fmla="*/ 2377 h 10000"/>
              <a:gd name="connsiteX0" fmla="*/ 0 w 10000"/>
              <a:gd name="connsiteY0" fmla="*/ 10000 h 10000"/>
              <a:gd name="connsiteX1" fmla="*/ 3430 w 10000"/>
              <a:gd name="connsiteY1" fmla="*/ 9992 h 10000"/>
              <a:gd name="connsiteX2" fmla="*/ 3498 w 10000"/>
              <a:gd name="connsiteY2" fmla="*/ 9629 h 10000"/>
              <a:gd name="connsiteX3" fmla="*/ 3498 w 10000"/>
              <a:gd name="connsiteY3" fmla="*/ 362 h 10000"/>
              <a:gd name="connsiteX4" fmla="*/ 3569 w 10000"/>
              <a:gd name="connsiteY4" fmla="*/ 0 h 10000"/>
              <a:gd name="connsiteX5" fmla="*/ 6802 w 10000"/>
              <a:gd name="connsiteY5" fmla="*/ 0 h 10000"/>
              <a:gd name="connsiteX6" fmla="*/ 6870 w 10000"/>
              <a:gd name="connsiteY6" fmla="*/ 362 h 10000"/>
              <a:gd name="connsiteX7" fmla="*/ 6870 w 10000"/>
              <a:gd name="connsiteY7" fmla="*/ 6671 h 10000"/>
              <a:gd name="connsiteX8" fmla="*/ 6939 w 10000"/>
              <a:gd name="connsiteY8" fmla="*/ 7032 h 10000"/>
              <a:gd name="connsiteX9" fmla="*/ 7835 w 10000"/>
              <a:gd name="connsiteY9" fmla="*/ 7032 h 10000"/>
              <a:gd name="connsiteX10" fmla="*/ 7908 w 10000"/>
              <a:gd name="connsiteY10" fmla="*/ 6671 h 10000"/>
              <a:gd name="connsiteX11" fmla="*/ 7908 w 10000"/>
              <a:gd name="connsiteY11" fmla="*/ 2649 h 10000"/>
              <a:gd name="connsiteX12" fmla="*/ 7977 w 10000"/>
              <a:gd name="connsiteY12" fmla="*/ 2288 h 10000"/>
              <a:gd name="connsiteX13" fmla="*/ 10000 w 10000"/>
              <a:gd name="connsiteY13" fmla="*/ 2296 h 10000"/>
              <a:gd name="connsiteX0" fmla="*/ 0 w 10049"/>
              <a:gd name="connsiteY0" fmla="*/ 10000 h 10000"/>
              <a:gd name="connsiteX1" fmla="*/ 3479 w 10049"/>
              <a:gd name="connsiteY1" fmla="*/ 9992 h 10000"/>
              <a:gd name="connsiteX2" fmla="*/ 3547 w 10049"/>
              <a:gd name="connsiteY2" fmla="*/ 9629 h 10000"/>
              <a:gd name="connsiteX3" fmla="*/ 3547 w 10049"/>
              <a:gd name="connsiteY3" fmla="*/ 362 h 10000"/>
              <a:gd name="connsiteX4" fmla="*/ 3618 w 10049"/>
              <a:gd name="connsiteY4" fmla="*/ 0 h 10000"/>
              <a:gd name="connsiteX5" fmla="*/ 6851 w 10049"/>
              <a:gd name="connsiteY5" fmla="*/ 0 h 10000"/>
              <a:gd name="connsiteX6" fmla="*/ 6919 w 10049"/>
              <a:gd name="connsiteY6" fmla="*/ 362 h 10000"/>
              <a:gd name="connsiteX7" fmla="*/ 6919 w 10049"/>
              <a:gd name="connsiteY7" fmla="*/ 6671 h 10000"/>
              <a:gd name="connsiteX8" fmla="*/ 6988 w 10049"/>
              <a:gd name="connsiteY8" fmla="*/ 7032 h 10000"/>
              <a:gd name="connsiteX9" fmla="*/ 7884 w 10049"/>
              <a:gd name="connsiteY9" fmla="*/ 7032 h 10000"/>
              <a:gd name="connsiteX10" fmla="*/ 7957 w 10049"/>
              <a:gd name="connsiteY10" fmla="*/ 6671 h 10000"/>
              <a:gd name="connsiteX11" fmla="*/ 7957 w 10049"/>
              <a:gd name="connsiteY11" fmla="*/ 2649 h 10000"/>
              <a:gd name="connsiteX12" fmla="*/ 8026 w 10049"/>
              <a:gd name="connsiteY12" fmla="*/ 2288 h 10000"/>
              <a:gd name="connsiteX13" fmla="*/ 10049 w 10049"/>
              <a:gd name="connsiteY13" fmla="*/ 2296 h 10000"/>
              <a:gd name="connsiteX0" fmla="*/ 0 w 10007"/>
              <a:gd name="connsiteY0" fmla="*/ 10000 h 10000"/>
              <a:gd name="connsiteX1" fmla="*/ 3437 w 10007"/>
              <a:gd name="connsiteY1" fmla="*/ 9992 h 10000"/>
              <a:gd name="connsiteX2" fmla="*/ 3505 w 10007"/>
              <a:gd name="connsiteY2" fmla="*/ 9629 h 10000"/>
              <a:gd name="connsiteX3" fmla="*/ 3505 w 10007"/>
              <a:gd name="connsiteY3" fmla="*/ 362 h 10000"/>
              <a:gd name="connsiteX4" fmla="*/ 3576 w 10007"/>
              <a:gd name="connsiteY4" fmla="*/ 0 h 10000"/>
              <a:gd name="connsiteX5" fmla="*/ 6809 w 10007"/>
              <a:gd name="connsiteY5" fmla="*/ 0 h 10000"/>
              <a:gd name="connsiteX6" fmla="*/ 6877 w 10007"/>
              <a:gd name="connsiteY6" fmla="*/ 362 h 10000"/>
              <a:gd name="connsiteX7" fmla="*/ 6877 w 10007"/>
              <a:gd name="connsiteY7" fmla="*/ 6671 h 10000"/>
              <a:gd name="connsiteX8" fmla="*/ 6946 w 10007"/>
              <a:gd name="connsiteY8" fmla="*/ 7032 h 10000"/>
              <a:gd name="connsiteX9" fmla="*/ 7842 w 10007"/>
              <a:gd name="connsiteY9" fmla="*/ 7032 h 10000"/>
              <a:gd name="connsiteX10" fmla="*/ 7915 w 10007"/>
              <a:gd name="connsiteY10" fmla="*/ 6671 h 10000"/>
              <a:gd name="connsiteX11" fmla="*/ 7915 w 10007"/>
              <a:gd name="connsiteY11" fmla="*/ 2649 h 10000"/>
              <a:gd name="connsiteX12" fmla="*/ 7984 w 10007"/>
              <a:gd name="connsiteY12" fmla="*/ 2288 h 10000"/>
              <a:gd name="connsiteX13" fmla="*/ 10007 w 10007"/>
              <a:gd name="connsiteY13" fmla="*/ 2296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007" h="10000">
                <a:moveTo>
                  <a:pt x="0" y="10000"/>
                </a:moveTo>
                <a:lnTo>
                  <a:pt x="3437" y="9992"/>
                </a:lnTo>
                <a:cubicBezTo>
                  <a:pt x="3474" y="9992"/>
                  <a:pt x="3505" y="9824"/>
                  <a:pt x="3505" y="9629"/>
                </a:cubicBezTo>
                <a:lnTo>
                  <a:pt x="3505" y="362"/>
                </a:lnTo>
                <a:cubicBezTo>
                  <a:pt x="3505" y="168"/>
                  <a:pt x="3536" y="0"/>
                  <a:pt x="3576" y="0"/>
                </a:cubicBezTo>
                <a:lnTo>
                  <a:pt x="6809" y="0"/>
                </a:lnTo>
                <a:cubicBezTo>
                  <a:pt x="6845" y="0"/>
                  <a:pt x="6877" y="168"/>
                  <a:pt x="6877" y="362"/>
                </a:cubicBezTo>
                <a:lnTo>
                  <a:pt x="6877" y="6671"/>
                </a:lnTo>
                <a:cubicBezTo>
                  <a:pt x="6877" y="6865"/>
                  <a:pt x="6906" y="7032"/>
                  <a:pt x="6946" y="7032"/>
                </a:cubicBezTo>
                <a:lnTo>
                  <a:pt x="7842" y="7032"/>
                </a:lnTo>
                <a:cubicBezTo>
                  <a:pt x="7883" y="7032"/>
                  <a:pt x="7915" y="6865"/>
                  <a:pt x="7915" y="6671"/>
                </a:cubicBezTo>
                <a:lnTo>
                  <a:pt x="7915" y="2649"/>
                </a:lnTo>
                <a:cubicBezTo>
                  <a:pt x="7915" y="2443"/>
                  <a:pt x="7943" y="2288"/>
                  <a:pt x="7984" y="2288"/>
                </a:cubicBezTo>
                <a:lnTo>
                  <a:pt x="10007" y="2296"/>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 name="Freeform 8"/>
          <p:cNvSpPr>
            <a:spLocks/>
          </p:cNvSpPr>
          <p:nvPr/>
        </p:nvSpPr>
        <p:spPr bwMode="gray">
          <a:xfrm>
            <a:off x="-10278" y="5966252"/>
            <a:ext cx="9157459" cy="323466"/>
          </a:xfrm>
          <a:custGeom>
            <a:avLst/>
            <a:gdLst>
              <a:gd name="T0" fmla="*/ 0 w 8480"/>
              <a:gd name="T1" fmla="*/ 0 h 144"/>
              <a:gd name="T2" fmla="*/ 776 w 8480"/>
              <a:gd name="T3" fmla="*/ 0 h 144"/>
              <a:gd name="T4" fmla="*/ 804 w 8480"/>
              <a:gd name="T5" fmla="*/ 28 h 144"/>
              <a:gd name="T6" fmla="*/ 804 w 8480"/>
              <a:gd name="T7" fmla="*/ 114 h 144"/>
              <a:gd name="T8" fmla="*/ 831 w 8480"/>
              <a:gd name="T9" fmla="*/ 142 h 144"/>
              <a:gd name="T10" fmla="*/ 2854 w 8480"/>
              <a:gd name="T11" fmla="*/ 142 h 144"/>
              <a:gd name="T12" fmla="*/ 2882 w 8480"/>
              <a:gd name="T13" fmla="*/ 114 h 144"/>
              <a:gd name="T14" fmla="*/ 2882 w 8480"/>
              <a:gd name="T15" fmla="*/ 28 h 144"/>
              <a:gd name="T16" fmla="*/ 2910 w 8480"/>
              <a:gd name="T17" fmla="*/ 0 h 144"/>
              <a:gd name="T18" fmla="*/ 6767 w 8480"/>
              <a:gd name="T19" fmla="*/ 0 h 144"/>
              <a:gd name="T20" fmla="*/ 6795 w 8480"/>
              <a:gd name="T21" fmla="*/ 28 h 144"/>
              <a:gd name="T22" fmla="*/ 6795 w 8480"/>
              <a:gd name="T23" fmla="*/ 116 h 144"/>
              <a:gd name="T24" fmla="*/ 6823 w 8480"/>
              <a:gd name="T25" fmla="*/ 144 h 144"/>
              <a:gd name="T26" fmla="*/ 8480 w 8480"/>
              <a:gd name="T27" fmla="*/ 144 h 144"/>
              <a:gd name="connsiteX0" fmla="*/ 0 w 9085"/>
              <a:gd name="connsiteY0" fmla="*/ 0 h 10000"/>
              <a:gd name="connsiteX1" fmla="*/ 33 w 9085"/>
              <a:gd name="connsiteY1" fmla="*/ 1944 h 10000"/>
              <a:gd name="connsiteX2" fmla="*/ 33 w 9085"/>
              <a:gd name="connsiteY2" fmla="*/ 7917 h 10000"/>
              <a:gd name="connsiteX3" fmla="*/ 65 w 9085"/>
              <a:gd name="connsiteY3" fmla="*/ 9861 h 10000"/>
              <a:gd name="connsiteX4" fmla="*/ 2451 w 9085"/>
              <a:gd name="connsiteY4" fmla="*/ 9861 h 10000"/>
              <a:gd name="connsiteX5" fmla="*/ 2484 w 9085"/>
              <a:gd name="connsiteY5" fmla="*/ 7917 h 10000"/>
              <a:gd name="connsiteX6" fmla="*/ 2484 w 9085"/>
              <a:gd name="connsiteY6" fmla="*/ 1944 h 10000"/>
              <a:gd name="connsiteX7" fmla="*/ 2517 w 9085"/>
              <a:gd name="connsiteY7" fmla="*/ 0 h 10000"/>
              <a:gd name="connsiteX8" fmla="*/ 7065 w 9085"/>
              <a:gd name="connsiteY8" fmla="*/ 0 h 10000"/>
              <a:gd name="connsiteX9" fmla="*/ 7098 w 9085"/>
              <a:gd name="connsiteY9" fmla="*/ 1944 h 10000"/>
              <a:gd name="connsiteX10" fmla="*/ 7098 w 9085"/>
              <a:gd name="connsiteY10" fmla="*/ 8056 h 10000"/>
              <a:gd name="connsiteX11" fmla="*/ 7131 w 9085"/>
              <a:gd name="connsiteY11" fmla="*/ 10000 h 10000"/>
              <a:gd name="connsiteX12" fmla="*/ 9085 w 9085"/>
              <a:gd name="connsiteY12" fmla="*/ 10000 h 10000"/>
              <a:gd name="connsiteX0" fmla="*/ 0 w 9964"/>
              <a:gd name="connsiteY0" fmla="*/ 1944 h 10000"/>
              <a:gd name="connsiteX1" fmla="*/ 0 w 9964"/>
              <a:gd name="connsiteY1" fmla="*/ 7917 h 10000"/>
              <a:gd name="connsiteX2" fmla="*/ 36 w 9964"/>
              <a:gd name="connsiteY2" fmla="*/ 9861 h 10000"/>
              <a:gd name="connsiteX3" fmla="*/ 2662 w 9964"/>
              <a:gd name="connsiteY3" fmla="*/ 9861 h 10000"/>
              <a:gd name="connsiteX4" fmla="*/ 2698 w 9964"/>
              <a:gd name="connsiteY4" fmla="*/ 7917 h 10000"/>
              <a:gd name="connsiteX5" fmla="*/ 2698 w 9964"/>
              <a:gd name="connsiteY5" fmla="*/ 1944 h 10000"/>
              <a:gd name="connsiteX6" fmla="*/ 2735 w 9964"/>
              <a:gd name="connsiteY6" fmla="*/ 0 h 10000"/>
              <a:gd name="connsiteX7" fmla="*/ 7741 w 9964"/>
              <a:gd name="connsiteY7" fmla="*/ 0 h 10000"/>
              <a:gd name="connsiteX8" fmla="*/ 7777 w 9964"/>
              <a:gd name="connsiteY8" fmla="*/ 1944 h 10000"/>
              <a:gd name="connsiteX9" fmla="*/ 7777 w 9964"/>
              <a:gd name="connsiteY9" fmla="*/ 8056 h 10000"/>
              <a:gd name="connsiteX10" fmla="*/ 7813 w 9964"/>
              <a:gd name="connsiteY10" fmla="*/ 10000 h 10000"/>
              <a:gd name="connsiteX11" fmla="*/ 9964 w 9964"/>
              <a:gd name="connsiteY11" fmla="*/ 10000 h 10000"/>
              <a:gd name="connsiteX0" fmla="*/ 0 w 10000"/>
              <a:gd name="connsiteY0" fmla="*/ 7917 h 10000"/>
              <a:gd name="connsiteX1" fmla="*/ 36 w 10000"/>
              <a:gd name="connsiteY1" fmla="*/ 9861 h 10000"/>
              <a:gd name="connsiteX2" fmla="*/ 2672 w 10000"/>
              <a:gd name="connsiteY2" fmla="*/ 9861 h 10000"/>
              <a:gd name="connsiteX3" fmla="*/ 2708 w 10000"/>
              <a:gd name="connsiteY3" fmla="*/ 7917 h 10000"/>
              <a:gd name="connsiteX4" fmla="*/ 2708 w 10000"/>
              <a:gd name="connsiteY4" fmla="*/ 1944 h 10000"/>
              <a:gd name="connsiteX5" fmla="*/ 2745 w 10000"/>
              <a:gd name="connsiteY5" fmla="*/ 0 h 10000"/>
              <a:gd name="connsiteX6" fmla="*/ 7769 w 10000"/>
              <a:gd name="connsiteY6" fmla="*/ 0 h 10000"/>
              <a:gd name="connsiteX7" fmla="*/ 7805 w 10000"/>
              <a:gd name="connsiteY7" fmla="*/ 1944 h 10000"/>
              <a:gd name="connsiteX8" fmla="*/ 7805 w 10000"/>
              <a:gd name="connsiteY8" fmla="*/ 8056 h 10000"/>
              <a:gd name="connsiteX9" fmla="*/ 7841 w 10000"/>
              <a:gd name="connsiteY9" fmla="*/ 10000 h 10000"/>
              <a:gd name="connsiteX10" fmla="*/ 10000 w 10000"/>
              <a:gd name="connsiteY10" fmla="*/ 10000 h 10000"/>
              <a:gd name="connsiteX0" fmla="*/ 0 w 9964"/>
              <a:gd name="connsiteY0" fmla="*/ 9861 h 10000"/>
              <a:gd name="connsiteX1" fmla="*/ 2636 w 9964"/>
              <a:gd name="connsiteY1" fmla="*/ 9861 h 10000"/>
              <a:gd name="connsiteX2" fmla="*/ 2672 w 9964"/>
              <a:gd name="connsiteY2" fmla="*/ 7917 h 10000"/>
              <a:gd name="connsiteX3" fmla="*/ 2672 w 9964"/>
              <a:gd name="connsiteY3" fmla="*/ 1944 h 10000"/>
              <a:gd name="connsiteX4" fmla="*/ 2709 w 9964"/>
              <a:gd name="connsiteY4" fmla="*/ 0 h 10000"/>
              <a:gd name="connsiteX5" fmla="*/ 7733 w 9964"/>
              <a:gd name="connsiteY5" fmla="*/ 0 h 10000"/>
              <a:gd name="connsiteX6" fmla="*/ 7769 w 9964"/>
              <a:gd name="connsiteY6" fmla="*/ 1944 h 10000"/>
              <a:gd name="connsiteX7" fmla="*/ 7769 w 9964"/>
              <a:gd name="connsiteY7" fmla="*/ 8056 h 10000"/>
              <a:gd name="connsiteX8" fmla="*/ 7805 w 9964"/>
              <a:gd name="connsiteY8" fmla="*/ 10000 h 10000"/>
              <a:gd name="connsiteX9" fmla="*/ 9964 w 9964"/>
              <a:gd name="connsiteY9" fmla="*/ 10000 h 10000"/>
              <a:gd name="connsiteX0" fmla="*/ 0 w 7833"/>
              <a:gd name="connsiteY0" fmla="*/ 9861 h 10000"/>
              <a:gd name="connsiteX1" fmla="*/ 2646 w 7833"/>
              <a:gd name="connsiteY1" fmla="*/ 9861 h 10000"/>
              <a:gd name="connsiteX2" fmla="*/ 2682 w 7833"/>
              <a:gd name="connsiteY2" fmla="*/ 7917 h 10000"/>
              <a:gd name="connsiteX3" fmla="*/ 2682 w 7833"/>
              <a:gd name="connsiteY3" fmla="*/ 1944 h 10000"/>
              <a:gd name="connsiteX4" fmla="*/ 2719 w 7833"/>
              <a:gd name="connsiteY4" fmla="*/ 0 h 10000"/>
              <a:gd name="connsiteX5" fmla="*/ 7761 w 7833"/>
              <a:gd name="connsiteY5" fmla="*/ 0 h 10000"/>
              <a:gd name="connsiteX6" fmla="*/ 7797 w 7833"/>
              <a:gd name="connsiteY6" fmla="*/ 1944 h 10000"/>
              <a:gd name="connsiteX7" fmla="*/ 7797 w 7833"/>
              <a:gd name="connsiteY7" fmla="*/ 8056 h 10000"/>
              <a:gd name="connsiteX8" fmla="*/ 7833 w 7833"/>
              <a:gd name="connsiteY8" fmla="*/ 10000 h 10000"/>
              <a:gd name="connsiteX0" fmla="*/ 0 w 9954"/>
              <a:gd name="connsiteY0" fmla="*/ 9861 h 9861"/>
              <a:gd name="connsiteX1" fmla="*/ 3378 w 9954"/>
              <a:gd name="connsiteY1" fmla="*/ 9861 h 9861"/>
              <a:gd name="connsiteX2" fmla="*/ 3424 w 9954"/>
              <a:gd name="connsiteY2" fmla="*/ 7917 h 9861"/>
              <a:gd name="connsiteX3" fmla="*/ 3424 w 9954"/>
              <a:gd name="connsiteY3" fmla="*/ 1944 h 9861"/>
              <a:gd name="connsiteX4" fmla="*/ 3471 w 9954"/>
              <a:gd name="connsiteY4" fmla="*/ 0 h 9861"/>
              <a:gd name="connsiteX5" fmla="*/ 9908 w 9954"/>
              <a:gd name="connsiteY5" fmla="*/ 0 h 9861"/>
              <a:gd name="connsiteX6" fmla="*/ 9954 w 9954"/>
              <a:gd name="connsiteY6" fmla="*/ 1944 h 9861"/>
              <a:gd name="connsiteX7" fmla="*/ 9954 w 9954"/>
              <a:gd name="connsiteY7" fmla="*/ 8056 h 9861"/>
              <a:gd name="connsiteX0" fmla="*/ 0 w 10000"/>
              <a:gd name="connsiteY0" fmla="*/ 10000 h 10000"/>
              <a:gd name="connsiteX1" fmla="*/ 3394 w 10000"/>
              <a:gd name="connsiteY1" fmla="*/ 10000 h 10000"/>
              <a:gd name="connsiteX2" fmla="*/ 3440 w 10000"/>
              <a:gd name="connsiteY2" fmla="*/ 8029 h 10000"/>
              <a:gd name="connsiteX3" fmla="*/ 3440 w 10000"/>
              <a:gd name="connsiteY3" fmla="*/ 1971 h 10000"/>
              <a:gd name="connsiteX4" fmla="*/ 3487 w 10000"/>
              <a:gd name="connsiteY4" fmla="*/ 0 h 10000"/>
              <a:gd name="connsiteX5" fmla="*/ 9954 w 10000"/>
              <a:gd name="connsiteY5" fmla="*/ 0 h 10000"/>
              <a:gd name="connsiteX6" fmla="*/ 10000 w 10000"/>
              <a:gd name="connsiteY6" fmla="*/ 1971 h 10000"/>
              <a:gd name="connsiteX0" fmla="*/ 0 w 7965"/>
              <a:gd name="connsiteY0" fmla="*/ 9803 h 10000"/>
              <a:gd name="connsiteX1" fmla="*/ 1359 w 7965"/>
              <a:gd name="connsiteY1" fmla="*/ 10000 h 10000"/>
              <a:gd name="connsiteX2" fmla="*/ 1405 w 7965"/>
              <a:gd name="connsiteY2" fmla="*/ 8029 h 10000"/>
              <a:gd name="connsiteX3" fmla="*/ 1405 w 7965"/>
              <a:gd name="connsiteY3" fmla="*/ 1971 h 10000"/>
              <a:gd name="connsiteX4" fmla="*/ 1452 w 7965"/>
              <a:gd name="connsiteY4" fmla="*/ 0 h 10000"/>
              <a:gd name="connsiteX5" fmla="*/ 7919 w 7965"/>
              <a:gd name="connsiteY5" fmla="*/ 0 h 10000"/>
              <a:gd name="connsiteX6" fmla="*/ 7965 w 7965"/>
              <a:gd name="connsiteY6" fmla="*/ 1971 h 10000"/>
              <a:gd name="connsiteX0" fmla="*/ 0 w 10000"/>
              <a:gd name="connsiteY0" fmla="*/ 9803 h 10000"/>
              <a:gd name="connsiteX1" fmla="*/ 1706 w 10000"/>
              <a:gd name="connsiteY1" fmla="*/ 10000 h 10000"/>
              <a:gd name="connsiteX2" fmla="*/ 1764 w 10000"/>
              <a:gd name="connsiteY2" fmla="*/ 8029 h 10000"/>
              <a:gd name="connsiteX3" fmla="*/ 1764 w 10000"/>
              <a:gd name="connsiteY3" fmla="*/ 1971 h 10000"/>
              <a:gd name="connsiteX4" fmla="*/ 1823 w 10000"/>
              <a:gd name="connsiteY4" fmla="*/ 0 h 10000"/>
              <a:gd name="connsiteX5" fmla="*/ 9942 w 10000"/>
              <a:gd name="connsiteY5" fmla="*/ 0 h 10000"/>
              <a:gd name="connsiteX6" fmla="*/ 10000 w 10000"/>
              <a:gd name="connsiteY6" fmla="*/ 1971 h 10000"/>
              <a:gd name="connsiteX0" fmla="*/ 0 w 9295"/>
              <a:gd name="connsiteY0" fmla="*/ 9803 h 10000"/>
              <a:gd name="connsiteX1" fmla="*/ 1001 w 9295"/>
              <a:gd name="connsiteY1" fmla="*/ 10000 h 10000"/>
              <a:gd name="connsiteX2" fmla="*/ 1059 w 9295"/>
              <a:gd name="connsiteY2" fmla="*/ 8029 h 10000"/>
              <a:gd name="connsiteX3" fmla="*/ 1059 w 9295"/>
              <a:gd name="connsiteY3" fmla="*/ 1971 h 10000"/>
              <a:gd name="connsiteX4" fmla="*/ 1118 w 9295"/>
              <a:gd name="connsiteY4" fmla="*/ 0 h 10000"/>
              <a:gd name="connsiteX5" fmla="*/ 9237 w 9295"/>
              <a:gd name="connsiteY5" fmla="*/ 0 h 10000"/>
              <a:gd name="connsiteX6" fmla="*/ 9295 w 9295"/>
              <a:gd name="connsiteY6" fmla="*/ 1971 h 10000"/>
              <a:gd name="connsiteX0" fmla="*/ 0 w 10000"/>
              <a:gd name="connsiteY0" fmla="*/ 10246 h 10246"/>
              <a:gd name="connsiteX1" fmla="*/ 1077 w 10000"/>
              <a:gd name="connsiteY1" fmla="*/ 10000 h 10246"/>
              <a:gd name="connsiteX2" fmla="*/ 1139 w 10000"/>
              <a:gd name="connsiteY2" fmla="*/ 8029 h 10246"/>
              <a:gd name="connsiteX3" fmla="*/ 1139 w 10000"/>
              <a:gd name="connsiteY3" fmla="*/ 1971 h 10246"/>
              <a:gd name="connsiteX4" fmla="*/ 1203 w 10000"/>
              <a:gd name="connsiteY4" fmla="*/ 0 h 10246"/>
              <a:gd name="connsiteX5" fmla="*/ 9938 w 10000"/>
              <a:gd name="connsiteY5" fmla="*/ 0 h 10246"/>
              <a:gd name="connsiteX6" fmla="*/ 10000 w 10000"/>
              <a:gd name="connsiteY6" fmla="*/ 1971 h 10246"/>
              <a:gd name="connsiteX0" fmla="*/ 0 w 10000"/>
              <a:gd name="connsiteY0" fmla="*/ 9951 h 10000"/>
              <a:gd name="connsiteX1" fmla="*/ 1077 w 10000"/>
              <a:gd name="connsiteY1" fmla="*/ 10000 h 10000"/>
              <a:gd name="connsiteX2" fmla="*/ 1139 w 10000"/>
              <a:gd name="connsiteY2" fmla="*/ 8029 h 10000"/>
              <a:gd name="connsiteX3" fmla="*/ 1139 w 10000"/>
              <a:gd name="connsiteY3" fmla="*/ 1971 h 10000"/>
              <a:gd name="connsiteX4" fmla="*/ 1203 w 10000"/>
              <a:gd name="connsiteY4" fmla="*/ 0 h 10000"/>
              <a:gd name="connsiteX5" fmla="*/ 9938 w 10000"/>
              <a:gd name="connsiteY5" fmla="*/ 0 h 10000"/>
              <a:gd name="connsiteX6" fmla="*/ 10000 w 10000"/>
              <a:gd name="connsiteY6" fmla="*/ 1971 h 10000"/>
              <a:gd name="connsiteX0" fmla="*/ 0 w 10000"/>
              <a:gd name="connsiteY0" fmla="*/ 9951 h 10000"/>
              <a:gd name="connsiteX1" fmla="*/ 1077 w 10000"/>
              <a:gd name="connsiteY1" fmla="*/ 10000 h 10000"/>
              <a:gd name="connsiteX2" fmla="*/ 1139 w 10000"/>
              <a:gd name="connsiteY2" fmla="*/ 8029 h 10000"/>
              <a:gd name="connsiteX3" fmla="*/ 1139 w 10000"/>
              <a:gd name="connsiteY3" fmla="*/ 1971 h 10000"/>
              <a:gd name="connsiteX4" fmla="*/ 1203 w 10000"/>
              <a:gd name="connsiteY4" fmla="*/ 0 h 10000"/>
              <a:gd name="connsiteX5" fmla="*/ 10000 w 10000"/>
              <a:gd name="connsiteY5" fmla="*/ 1971 h 10000"/>
              <a:gd name="connsiteX0" fmla="*/ 0 w 8215"/>
              <a:gd name="connsiteY0" fmla="*/ 12209 h 12258"/>
              <a:gd name="connsiteX1" fmla="*/ 1077 w 8215"/>
              <a:gd name="connsiteY1" fmla="*/ 12258 h 12258"/>
              <a:gd name="connsiteX2" fmla="*/ 1139 w 8215"/>
              <a:gd name="connsiteY2" fmla="*/ 10287 h 12258"/>
              <a:gd name="connsiteX3" fmla="*/ 1139 w 8215"/>
              <a:gd name="connsiteY3" fmla="*/ 4229 h 12258"/>
              <a:gd name="connsiteX4" fmla="*/ 1203 w 8215"/>
              <a:gd name="connsiteY4" fmla="*/ 2258 h 12258"/>
              <a:gd name="connsiteX5" fmla="*/ 8215 w 8215"/>
              <a:gd name="connsiteY5" fmla="*/ 0 h 12258"/>
              <a:gd name="connsiteX0" fmla="*/ 0 w 10000"/>
              <a:gd name="connsiteY0" fmla="*/ 8195 h 8235"/>
              <a:gd name="connsiteX1" fmla="*/ 1311 w 10000"/>
              <a:gd name="connsiteY1" fmla="*/ 8235 h 8235"/>
              <a:gd name="connsiteX2" fmla="*/ 1386 w 10000"/>
              <a:gd name="connsiteY2" fmla="*/ 6627 h 8235"/>
              <a:gd name="connsiteX3" fmla="*/ 1386 w 10000"/>
              <a:gd name="connsiteY3" fmla="*/ 1685 h 8235"/>
              <a:gd name="connsiteX4" fmla="*/ 1464 w 10000"/>
              <a:gd name="connsiteY4" fmla="*/ 77 h 8235"/>
              <a:gd name="connsiteX5" fmla="*/ 10000 w 10000"/>
              <a:gd name="connsiteY5" fmla="*/ 0 h 8235"/>
              <a:gd name="connsiteX0" fmla="*/ 0 w 10000"/>
              <a:gd name="connsiteY0" fmla="*/ 9951 h 10000"/>
              <a:gd name="connsiteX1" fmla="*/ 1311 w 10000"/>
              <a:gd name="connsiteY1" fmla="*/ 10000 h 10000"/>
              <a:gd name="connsiteX2" fmla="*/ 1386 w 10000"/>
              <a:gd name="connsiteY2" fmla="*/ 8047 h 10000"/>
              <a:gd name="connsiteX3" fmla="*/ 1386 w 10000"/>
              <a:gd name="connsiteY3" fmla="*/ 2046 h 10000"/>
              <a:gd name="connsiteX4" fmla="*/ 1464 w 10000"/>
              <a:gd name="connsiteY4" fmla="*/ 94 h 10000"/>
              <a:gd name="connsiteX5" fmla="*/ 10000 w 10000"/>
              <a:gd name="connsiteY5" fmla="*/ 0 h 10000"/>
              <a:gd name="connsiteX0" fmla="*/ 0 w 9993"/>
              <a:gd name="connsiteY0" fmla="*/ 9857 h 9906"/>
              <a:gd name="connsiteX1" fmla="*/ 1311 w 9993"/>
              <a:gd name="connsiteY1" fmla="*/ 9906 h 9906"/>
              <a:gd name="connsiteX2" fmla="*/ 1386 w 9993"/>
              <a:gd name="connsiteY2" fmla="*/ 7953 h 9906"/>
              <a:gd name="connsiteX3" fmla="*/ 1386 w 9993"/>
              <a:gd name="connsiteY3" fmla="*/ 1952 h 9906"/>
              <a:gd name="connsiteX4" fmla="*/ 1464 w 9993"/>
              <a:gd name="connsiteY4" fmla="*/ 0 h 9906"/>
              <a:gd name="connsiteX5" fmla="*/ 9993 w 9993"/>
              <a:gd name="connsiteY5" fmla="*/ 101 h 9906"/>
              <a:gd name="connsiteX0" fmla="*/ 0 w 10007"/>
              <a:gd name="connsiteY0" fmla="*/ 10439 h 10488"/>
              <a:gd name="connsiteX1" fmla="*/ 1312 w 10007"/>
              <a:gd name="connsiteY1" fmla="*/ 10488 h 10488"/>
              <a:gd name="connsiteX2" fmla="*/ 1387 w 10007"/>
              <a:gd name="connsiteY2" fmla="*/ 8516 h 10488"/>
              <a:gd name="connsiteX3" fmla="*/ 1387 w 10007"/>
              <a:gd name="connsiteY3" fmla="*/ 2459 h 10488"/>
              <a:gd name="connsiteX4" fmla="*/ 1465 w 10007"/>
              <a:gd name="connsiteY4" fmla="*/ 488 h 10488"/>
              <a:gd name="connsiteX5" fmla="*/ 10007 w 10007"/>
              <a:gd name="connsiteY5" fmla="*/ 0 h 10488"/>
              <a:gd name="connsiteX0" fmla="*/ 0 w 10007"/>
              <a:gd name="connsiteY0" fmla="*/ 9951 h 10000"/>
              <a:gd name="connsiteX1" fmla="*/ 1312 w 10007"/>
              <a:gd name="connsiteY1" fmla="*/ 10000 h 10000"/>
              <a:gd name="connsiteX2" fmla="*/ 1387 w 10007"/>
              <a:gd name="connsiteY2" fmla="*/ 8028 h 10000"/>
              <a:gd name="connsiteX3" fmla="*/ 1387 w 10007"/>
              <a:gd name="connsiteY3" fmla="*/ 1971 h 10000"/>
              <a:gd name="connsiteX4" fmla="*/ 1465 w 10007"/>
              <a:gd name="connsiteY4" fmla="*/ 0 h 10000"/>
              <a:gd name="connsiteX5" fmla="*/ 10007 w 10007"/>
              <a:gd name="connsiteY5" fmla="*/ 496 h 10000"/>
              <a:gd name="connsiteX0" fmla="*/ 0 w 10007"/>
              <a:gd name="connsiteY0" fmla="*/ 9951 h 10000"/>
              <a:gd name="connsiteX1" fmla="*/ 1312 w 10007"/>
              <a:gd name="connsiteY1" fmla="*/ 10000 h 10000"/>
              <a:gd name="connsiteX2" fmla="*/ 1387 w 10007"/>
              <a:gd name="connsiteY2" fmla="*/ 8028 h 10000"/>
              <a:gd name="connsiteX3" fmla="*/ 1387 w 10007"/>
              <a:gd name="connsiteY3" fmla="*/ 1971 h 10000"/>
              <a:gd name="connsiteX4" fmla="*/ 1465 w 10007"/>
              <a:gd name="connsiteY4" fmla="*/ 0 h 10000"/>
              <a:gd name="connsiteX5" fmla="*/ 10007 w 10007"/>
              <a:gd name="connsiteY5" fmla="*/ 1480 h 10000"/>
              <a:gd name="connsiteX0" fmla="*/ 0 w 10007"/>
              <a:gd name="connsiteY0" fmla="*/ 9951 h 10000"/>
              <a:gd name="connsiteX1" fmla="*/ 1312 w 10007"/>
              <a:gd name="connsiteY1" fmla="*/ 10000 h 10000"/>
              <a:gd name="connsiteX2" fmla="*/ 1387 w 10007"/>
              <a:gd name="connsiteY2" fmla="*/ 8028 h 10000"/>
              <a:gd name="connsiteX3" fmla="*/ 1387 w 10007"/>
              <a:gd name="connsiteY3" fmla="*/ 1971 h 10000"/>
              <a:gd name="connsiteX4" fmla="*/ 1465 w 10007"/>
              <a:gd name="connsiteY4" fmla="*/ 0 h 10000"/>
              <a:gd name="connsiteX5" fmla="*/ 10007 w 10007"/>
              <a:gd name="connsiteY5" fmla="*/ 496 h 10000"/>
              <a:gd name="connsiteX0" fmla="*/ 0 w 10021"/>
              <a:gd name="connsiteY0" fmla="*/ 10045 h 10094"/>
              <a:gd name="connsiteX1" fmla="*/ 1312 w 10021"/>
              <a:gd name="connsiteY1" fmla="*/ 10094 h 10094"/>
              <a:gd name="connsiteX2" fmla="*/ 1387 w 10021"/>
              <a:gd name="connsiteY2" fmla="*/ 8122 h 10094"/>
              <a:gd name="connsiteX3" fmla="*/ 1387 w 10021"/>
              <a:gd name="connsiteY3" fmla="*/ 2065 h 10094"/>
              <a:gd name="connsiteX4" fmla="*/ 1465 w 10021"/>
              <a:gd name="connsiteY4" fmla="*/ 94 h 10094"/>
              <a:gd name="connsiteX5" fmla="*/ 10021 w 10021"/>
              <a:gd name="connsiteY5" fmla="*/ 0 h 10094"/>
              <a:gd name="connsiteX0" fmla="*/ 0 w 10021"/>
              <a:gd name="connsiteY0" fmla="*/ 10438 h 10487"/>
              <a:gd name="connsiteX1" fmla="*/ 1312 w 10021"/>
              <a:gd name="connsiteY1" fmla="*/ 10487 h 10487"/>
              <a:gd name="connsiteX2" fmla="*/ 1387 w 10021"/>
              <a:gd name="connsiteY2" fmla="*/ 8515 h 10487"/>
              <a:gd name="connsiteX3" fmla="*/ 1387 w 10021"/>
              <a:gd name="connsiteY3" fmla="*/ 2458 h 10487"/>
              <a:gd name="connsiteX4" fmla="*/ 1465 w 10021"/>
              <a:gd name="connsiteY4" fmla="*/ 487 h 10487"/>
              <a:gd name="connsiteX5" fmla="*/ 10021 w 10021"/>
              <a:gd name="connsiteY5" fmla="*/ 0 h 10487"/>
              <a:gd name="connsiteX0" fmla="*/ 0 w 10021"/>
              <a:gd name="connsiteY0" fmla="*/ 9951 h 10000"/>
              <a:gd name="connsiteX1" fmla="*/ 1312 w 10021"/>
              <a:gd name="connsiteY1" fmla="*/ 10000 h 10000"/>
              <a:gd name="connsiteX2" fmla="*/ 1387 w 10021"/>
              <a:gd name="connsiteY2" fmla="*/ 8028 h 10000"/>
              <a:gd name="connsiteX3" fmla="*/ 1387 w 10021"/>
              <a:gd name="connsiteY3" fmla="*/ 1971 h 10000"/>
              <a:gd name="connsiteX4" fmla="*/ 1465 w 10021"/>
              <a:gd name="connsiteY4" fmla="*/ 0 h 10000"/>
              <a:gd name="connsiteX5" fmla="*/ 10021 w 10021"/>
              <a:gd name="connsiteY5" fmla="*/ 300 h 10000"/>
              <a:gd name="connsiteX0" fmla="*/ 0 w 10021"/>
              <a:gd name="connsiteY0" fmla="*/ 10241 h 10290"/>
              <a:gd name="connsiteX1" fmla="*/ 1312 w 10021"/>
              <a:gd name="connsiteY1" fmla="*/ 10290 h 10290"/>
              <a:gd name="connsiteX2" fmla="*/ 1387 w 10021"/>
              <a:gd name="connsiteY2" fmla="*/ 8318 h 10290"/>
              <a:gd name="connsiteX3" fmla="*/ 1387 w 10021"/>
              <a:gd name="connsiteY3" fmla="*/ 2261 h 10290"/>
              <a:gd name="connsiteX4" fmla="*/ 1465 w 10021"/>
              <a:gd name="connsiteY4" fmla="*/ 290 h 10290"/>
              <a:gd name="connsiteX5" fmla="*/ 10021 w 10021"/>
              <a:gd name="connsiteY5" fmla="*/ 0 h 10290"/>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217"/>
              <a:gd name="connsiteX1" fmla="*/ 1312 w 10018"/>
              <a:gd name="connsiteY1" fmla="*/ 10217 h 10217"/>
              <a:gd name="connsiteX2" fmla="*/ 1387 w 10018"/>
              <a:gd name="connsiteY2" fmla="*/ 8097 h 10217"/>
              <a:gd name="connsiteX3" fmla="*/ 1387 w 10018"/>
              <a:gd name="connsiteY3" fmla="*/ 2040 h 10217"/>
              <a:gd name="connsiteX4" fmla="*/ 1465 w 10018"/>
              <a:gd name="connsiteY4" fmla="*/ 69 h 10217"/>
              <a:gd name="connsiteX5" fmla="*/ 10018 w 10018"/>
              <a:gd name="connsiteY5" fmla="*/ 0 h 10217"/>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12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12 w 10018"/>
              <a:gd name="connsiteY1" fmla="*/ 9921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309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69"/>
              <a:gd name="connsiteX1" fmla="*/ 1309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09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9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9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304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04 w 10018"/>
              <a:gd name="connsiteY1" fmla="*/ 9921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142"/>
              <a:gd name="connsiteX1" fmla="*/ 1304 w 10018"/>
              <a:gd name="connsiteY1" fmla="*/ 10142 h 10142"/>
              <a:gd name="connsiteX2" fmla="*/ 1387 w 10018"/>
              <a:gd name="connsiteY2" fmla="*/ 8097 h 10142"/>
              <a:gd name="connsiteX3" fmla="*/ 1387 w 10018"/>
              <a:gd name="connsiteY3" fmla="*/ 2040 h 10142"/>
              <a:gd name="connsiteX4" fmla="*/ 1465 w 10018"/>
              <a:gd name="connsiteY4" fmla="*/ 69 h 10142"/>
              <a:gd name="connsiteX5" fmla="*/ 10018 w 10018"/>
              <a:gd name="connsiteY5" fmla="*/ 0 h 10142"/>
              <a:gd name="connsiteX0" fmla="*/ 0 w 10018"/>
              <a:gd name="connsiteY0" fmla="*/ 10020 h 10142"/>
              <a:gd name="connsiteX1" fmla="*/ 1309 w 10018"/>
              <a:gd name="connsiteY1" fmla="*/ 10142 h 10142"/>
              <a:gd name="connsiteX2" fmla="*/ 1387 w 10018"/>
              <a:gd name="connsiteY2" fmla="*/ 8097 h 10142"/>
              <a:gd name="connsiteX3" fmla="*/ 1387 w 10018"/>
              <a:gd name="connsiteY3" fmla="*/ 2040 h 10142"/>
              <a:gd name="connsiteX4" fmla="*/ 1465 w 10018"/>
              <a:gd name="connsiteY4" fmla="*/ 69 h 10142"/>
              <a:gd name="connsiteX5" fmla="*/ 10018 w 10018"/>
              <a:gd name="connsiteY5" fmla="*/ 0 h 10142"/>
              <a:gd name="connsiteX0" fmla="*/ 0 w 10018"/>
              <a:gd name="connsiteY0" fmla="*/ 10020 h 10020"/>
              <a:gd name="connsiteX1" fmla="*/ 1309 w 10018"/>
              <a:gd name="connsiteY1" fmla="*/ 9921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298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290"/>
              <a:gd name="connsiteX1" fmla="*/ 1301 w 10018"/>
              <a:gd name="connsiteY1" fmla="*/ 10290 h 10290"/>
              <a:gd name="connsiteX2" fmla="*/ 1387 w 10018"/>
              <a:gd name="connsiteY2" fmla="*/ 8097 h 10290"/>
              <a:gd name="connsiteX3" fmla="*/ 1387 w 10018"/>
              <a:gd name="connsiteY3" fmla="*/ 2040 h 10290"/>
              <a:gd name="connsiteX4" fmla="*/ 1465 w 10018"/>
              <a:gd name="connsiteY4" fmla="*/ 69 h 10290"/>
              <a:gd name="connsiteX5" fmla="*/ 10018 w 10018"/>
              <a:gd name="connsiteY5" fmla="*/ 0 h 10290"/>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301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73"/>
              <a:gd name="connsiteX1" fmla="*/ 1301 w 10018"/>
              <a:gd name="connsiteY1" fmla="*/ 10069 h 10073"/>
              <a:gd name="connsiteX2" fmla="*/ 1387 w 10018"/>
              <a:gd name="connsiteY2" fmla="*/ 8097 h 10073"/>
              <a:gd name="connsiteX3" fmla="*/ 1387 w 10018"/>
              <a:gd name="connsiteY3" fmla="*/ 2040 h 10073"/>
              <a:gd name="connsiteX4" fmla="*/ 1465 w 10018"/>
              <a:gd name="connsiteY4" fmla="*/ 69 h 10073"/>
              <a:gd name="connsiteX5" fmla="*/ 10018 w 10018"/>
              <a:gd name="connsiteY5" fmla="*/ 0 h 10073"/>
              <a:gd name="connsiteX0" fmla="*/ 70 w 10088"/>
              <a:gd name="connsiteY0" fmla="*/ 10020 h 10069"/>
              <a:gd name="connsiteX1" fmla="*/ 1371 w 10088"/>
              <a:gd name="connsiteY1" fmla="*/ 10069 h 10069"/>
              <a:gd name="connsiteX2" fmla="*/ 1457 w 10088"/>
              <a:gd name="connsiteY2" fmla="*/ 8097 h 10069"/>
              <a:gd name="connsiteX3" fmla="*/ 1457 w 10088"/>
              <a:gd name="connsiteY3" fmla="*/ 2040 h 10069"/>
              <a:gd name="connsiteX4" fmla="*/ 1535 w 10088"/>
              <a:gd name="connsiteY4" fmla="*/ 69 h 10069"/>
              <a:gd name="connsiteX5" fmla="*/ 10088 w 10088"/>
              <a:gd name="connsiteY5" fmla="*/ 0 h 10069"/>
              <a:gd name="connsiteX0" fmla="*/ 46 w 10064"/>
              <a:gd name="connsiteY0" fmla="*/ 10020 h 10230"/>
              <a:gd name="connsiteX1" fmla="*/ 1347 w 10064"/>
              <a:gd name="connsiteY1" fmla="*/ 10069 h 10230"/>
              <a:gd name="connsiteX2" fmla="*/ 1433 w 10064"/>
              <a:gd name="connsiteY2" fmla="*/ 8097 h 10230"/>
              <a:gd name="connsiteX3" fmla="*/ 1433 w 10064"/>
              <a:gd name="connsiteY3" fmla="*/ 2040 h 10230"/>
              <a:gd name="connsiteX4" fmla="*/ 1511 w 10064"/>
              <a:gd name="connsiteY4" fmla="*/ 69 h 10230"/>
              <a:gd name="connsiteX5" fmla="*/ 10064 w 10064"/>
              <a:gd name="connsiteY5" fmla="*/ 0 h 10230"/>
              <a:gd name="connsiteX0" fmla="*/ 50 w 10068"/>
              <a:gd name="connsiteY0" fmla="*/ 10020 h 10133"/>
              <a:gd name="connsiteX1" fmla="*/ 1351 w 10068"/>
              <a:gd name="connsiteY1" fmla="*/ 10069 h 10133"/>
              <a:gd name="connsiteX2" fmla="*/ 1437 w 10068"/>
              <a:gd name="connsiteY2" fmla="*/ 8097 h 10133"/>
              <a:gd name="connsiteX3" fmla="*/ 1437 w 10068"/>
              <a:gd name="connsiteY3" fmla="*/ 2040 h 10133"/>
              <a:gd name="connsiteX4" fmla="*/ 1515 w 10068"/>
              <a:gd name="connsiteY4" fmla="*/ 69 h 10133"/>
              <a:gd name="connsiteX5" fmla="*/ 10068 w 10068"/>
              <a:gd name="connsiteY5" fmla="*/ 0 h 10133"/>
              <a:gd name="connsiteX0" fmla="*/ 0 w 10018"/>
              <a:gd name="connsiteY0" fmla="*/ 10020 h 10073"/>
              <a:gd name="connsiteX1" fmla="*/ 1301 w 10018"/>
              <a:gd name="connsiteY1" fmla="*/ 10069 h 10073"/>
              <a:gd name="connsiteX2" fmla="*/ 1387 w 10018"/>
              <a:gd name="connsiteY2" fmla="*/ 8097 h 10073"/>
              <a:gd name="connsiteX3" fmla="*/ 1387 w 10018"/>
              <a:gd name="connsiteY3" fmla="*/ 2040 h 10073"/>
              <a:gd name="connsiteX4" fmla="*/ 1465 w 10018"/>
              <a:gd name="connsiteY4" fmla="*/ 69 h 10073"/>
              <a:gd name="connsiteX5" fmla="*/ 10018 w 10018"/>
              <a:gd name="connsiteY5" fmla="*/ 0 h 10073"/>
              <a:gd name="connsiteX0" fmla="*/ 0 w 10018"/>
              <a:gd name="connsiteY0" fmla="*/ 10020 h 10073"/>
              <a:gd name="connsiteX1" fmla="*/ 1301 w 10018"/>
              <a:gd name="connsiteY1" fmla="*/ 10069 h 10073"/>
              <a:gd name="connsiteX2" fmla="*/ 1387 w 10018"/>
              <a:gd name="connsiteY2" fmla="*/ 8097 h 10073"/>
              <a:gd name="connsiteX3" fmla="*/ 1387 w 10018"/>
              <a:gd name="connsiteY3" fmla="*/ 2040 h 10073"/>
              <a:gd name="connsiteX4" fmla="*/ 1465 w 10018"/>
              <a:gd name="connsiteY4" fmla="*/ 69 h 10073"/>
              <a:gd name="connsiteX5" fmla="*/ 10018 w 10018"/>
              <a:gd name="connsiteY5" fmla="*/ 0 h 10073"/>
              <a:gd name="connsiteX0" fmla="*/ 3 w 10021"/>
              <a:gd name="connsiteY0" fmla="*/ 10020 h 10069"/>
              <a:gd name="connsiteX1" fmla="*/ 1304 w 10021"/>
              <a:gd name="connsiteY1" fmla="*/ 10069 h 10069"/>
              <a:gd name="connsiteX2" fmla="*/ 1390 w 10021"/>
              <a:gd name="connsiteY2" fmla="*/ 8097 h 10069"/>
              <a:gd name="connsiteX3" fmla="*/ 1390 w 10021"/>
              <a:gd name="connsiteY3" fmla="*/ 2040 h 10069"/>
              <a:gd name="connsiteX4" fmla="*/ 1468 w 10021"/>
              <a:gd name="connsiteY4" fmla="*/ 69 h 10069"/>
              <a:gd name="connsiteX5" fmla="*/ 10021 w 10021"/>
              <a:gd name="connsiteY5" fmla="*/ 0 h 10069"/>
              <a:gd name="connsiteX0" fmla="*/ 3 w 10021"/>
              <a:gd name="connsiteY0" fmla="*/ 10020 h 10217"/>
              <a:gd name="connsiteX1" fmla="*/ 1304 w 10021"/>
              <a:gd name="connsiteY1" fmla="*/ 10217 h 10217"/>
              <a:gd name="connsiteX2" fmla="*/ 1390 w 10021"/>
              <a:gd name="connsiteY2" fmla="*/ 8097 h 10217"/>
              <a:gd name="connsiteX3" fmla="*/ 1390 w 10021"/>
              <a:gd name="connsiteY3" fmla="*/ 2040 h 10217"/>
              <a:gd name="connsiteX4" fmla="*/ 1468 w 10021"/>
              <a:gd name="connsiteY4" fmla="*/ 69 h 10217"/>
              <a:gd name="connsiteX5" fmla="*/ 10021 w 10021"/>
              <a:gd name="connsiteY5" fmla="*/ 0 h 10217"/>
              <a:gd name="connsiteX0" fmla="*/ 3 w 10021"/>
              <a:gd name="connsiteY0" fmla="*/ 10020 h 10020"/>
              <a:gd name="connsiteX1" fmla="*/ 1304 w 10021"/>
              <a:gd name="connsiteY1" fmla="*/ 9996 h 10020"/>
              <a:gd name="connsiteX2" fmla="*/ 1390 w 10021"/>
              <a:gd name="connsiteY2" fmla="*/ 8097 h 10020"/>
              <a:gd name="connsiteX3" fmla="*/ 1390 w 10021"/>
              <a:gd name="connsiteY3" fmla="*/ 2040 h 10020"/>
              <a:gd name="connsiteX4" fmla="*/ 1468 w 10021"/>
              <a:gd name="connsiteY4" fmla="*/ 69 h 10020"/>
              <a:gd name="connsiteX5" fmla="*/ 10021 w 10021"/>
              <a:gd name="connsiteY5" fmla="*/ 0 h 10020"/>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4"/>
              <a:gd name="connsiteX1" fmla="*/ 1301 w 10018"/>
              <a:gd name="connsiteY1" fmla="*/ 9996 h 10064"/>
              <a:gd name="connsiteX2" fmla="*/ 1387 w 10018"/>
              <a:gd name="connsiteY2" fmla="*/ 8097 h 10064"/>
              <a:gd name="connsiteX3" fmla="*/ 1387 w 10018"/>
              <a:gd name="connsiteY3" fmla="*/ 2040 h 10064"/>
              <a:gd name="connsiteX4" fmla="*/ 1465 w 10018"/>
              <a:gd name="connsiteY4" fmla="*/ 69 h 10064"/>
              <a:gd name="connsiteX5" fmla="*/ 10018 w 10018"/>
              <a:gd name="connsiteY5" fmla="*/ 0 h 10064"/>
              <a:gd name="connsiteX0" fmla="*/ 0 w 10018"/>
              <a:gd name="connsiteY0" fmla="*/ 10020 h 10047"/>
              <a:gd name="connsiteX1" fmla="*/ 1301 w 10018"/>
              <a:gd name="connsiteY1" fmla="*/ 9996 h 10047"/>
              <a:gd name="connsiteX2" fmla="*/ 1387 w 10018"/>
              <a:gd name="connsiteY2" fmla="*/ 8097 h 10047"/>
              <a:gd name="connsiteX3" fmla="*/ 1387 w 10018"/>
              <a:gd name="connsiteY3" fmla="*/ 2040 h 10047"/>
              <a:gd name="connsiteX4" fmla="*/ 1465 w 10018"/>
              <a:gd name="connsiteY4" fmla="*/ 69 h 10047"/>
              <a:gd name="connsiteX5" fmla="*/ 10018 w 10018"/>
              <a:gd name="connsiteY5" fmla="*/ 0 h 10047"/>
              <a:gd name="connsiteX0" fmla="*/ 0 w 10018"/>
              <a:gd name="connsiteY0" fmla="*/ 10020 h 10047"/>
              <a:gd name="connsiteX1" fmla="*/ 1301 w 10018"/>
              <a:gd name="connsiteY1" fmla="*/ 9996 h 10047"/>
              <a:gd name="connsiteX2" fmla="*/ 1387 w 10018"/>
              <a:gd name="connsiteY2" fmla="*/ 8097 h 10047"/>
              <a:gd name="connsiteX3" fmla="*/ 1387 w 10018"/>
              <a:gd name="connsiteY3" fmla="*/ 2040 h 10047"/>
              <a:gd name="connsiteX4" fmla="*/ 1465 w 10018"/>
              <a:gd name="connsiteY4" fmla="*/ 69 h 10047"/>
              <a:gd name="connsiteX5" fmla="*/ 10018 w 10018"/>
              <a:gd name="connsiteY5" fmla="*/ 0 h 10047"/>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8"/>
              <a:gd name="connsiteX1" fmla="*/ 1301 w 10018"/>
              <a:gd name="connsiteY1" fmla="*/ 9996 h 10068"/>
              <a:gd name="connsiteX2" fmla="*/ 1387 w 10018"/>
              <a:gd name="connsiteY2" fmla="*/ 8097 h 10068"/>
              <a:gd name="connsiteX3" fmla="*/ 1387 w 10018"/>
              <a:gd name="connsiteY3" fmla="*/ 2040 h 10068"/>
              <a:gd name="connsiteX4" fmla="*/ 1465 w 10018"/>
              <a:gd name="connsiteY4" fmla="*/ 69 h 10068"/>
              <a:gd name="connsiteX5" fmla="*/ 10018 w 10018"/>
              <a:gd name="connsiteY5" fmla="*/ 0 h 10068"/>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8" h="10020">
                <a:moveTo>
                  <a:pt x="0" y="10020"/>
                </a:moveTo>
                <a:cubicBezTo>
                  <a:pt x="522" y="10020"/>
                  <a:pt x="1266" y="9996"/>
                  <a:pt x="1301" y="9996"/>
                </a:cubicBezTo>
                <a:cubicBezTo>
                  <a:pt x="1344" y="9996"/>
                  <a:pt x="1387" y="9224"/>
                  <a:pt x="1387" y="8097"/>
                </a:cubicBezTo>
                <a:lnTo>
                  <a:pt x="1387" y="2040"/>
                </a:lnTo>
                <a:cubicBezTo>
                  <a:pt x="1387" y="913"/>
                  <a:pt x="1424" y="69"/>
                  <a:pt x="1465" y="69"/>
                </a:cubicBezTo>
                <a:lnTo>
                  <a:pt x="10018" y="0"/>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76558663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6" name="Rubrik 1"/>
          <p:cNvSpPr>
            <a:spLocks noGrp="1"/>
          </p:cNvSpPr>
          <p:nvPr>
            <p:ph type="title"/>
          </p:nvPr>
        </p:nvSpPr>
        <p:spPr>
          <a:xfrm>
            <a:off x="1308620" y="332656"/>
            <a:ext cx="7511852" cy="668338"/>
          </a:xfrm>
        </p:spPr>
        <p:txBody>
          <a:bodyPr/>
          <a:lstStyle/>
          <a:p>
            <a:r>
              <a:rPr lang="en-US" dirty="0"/>
              <a:t>Click to edit Master title style</a:t>
            </a:r>
            <a:endParaRPr lang="en-GB" dirty="0"/>
          </a:p>
        </p:txBody>
      </p:sp>
      <p:sp>
        <p:nvSpPr>
          <p:cNvPr id="7" name="Platshållare för innehåll 2"/>
          <p:cNvSpPr>
            <a:spLocks noGrp="1"/>
          </p:cNvSpPr>
          <p:nvPr>
            <p:ph idx="1"/>
          </p:nvPr>
        </p:nvSpPr>
        <p:spPr>
          <a:xfrm>
            <a:off x="323528" y="1340768"/>
            <a:ext cx="8496944" cy="4320257"/>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Platshållare för datum 3"/>
          <p:cNvSpPr>
            <a:spLocks noGrp="1"/>
          </p:cNvSpPr>
          <p:nvPr>
            <p:ph type="dt" sz="half" idx="10"/>
          </p:nvPr>
        </p:nvSpPr>
        <p:spPr>
          <a:xfrm>
            <a:off x="5580112" y="6288509"/>
            <a:ext cx="2133600" cy="365125"/>
          </a:xfrm>
        </p:spPr>
        <p:txBody>
          <a:bodyPr/>
          <a:lstStyle>
            <a:lvl1pPr>
              <a:defRPr sz="1100"/>
            </a:lvl1pPr>
          </a:lstStyle>
          <a:p>
            <a:r>
              <a:rPr lang="sv-SE"/>
              <a:t>2016-11-20</a:t>
            </a:r>
          </a:p>
        </p:txBody>
      </p:sp>
      <p:sp>
        <p:nvSpPr>
          <p:cNvPr id="9" name="Platshållare för bildnummer 5"/>
          <p:cNvSpPr>
            <a:spLocks noGrp="1"/>
          </p:cNvSpPr>
          <p:nvPr>
            <p:ph type="sldNum" sz="quarter" idx="12"/>
          </p:nvPr>
        </p:nvSpPr>
        <p:spPr>
          <a:xfrm>
            <a:off x="8172399" y="6301410"/>
            <a:ext cx="531863" cy="365125"/>
          </a:xfrm>
        </p:spPr>
        <p:txBody>
          <a:bodyPr/>
          <a:lstStyle>
            <a:lvl1pPr>
              <a:defRPr sz="1100"/>
            </a:lvl1pPr>
          </a:lstStyle>
          <a:p>
            <a:fld id="{227F0B53-9592-4779-891F-997228E46E01}" type="slidenum">
              <a:rPr lang="sv-SE" smtClean="0"/>
              <a:t>‹#›</a:t>
            </a:fld>
            <a:endParaRPr lang="sv-SE"/>
          </a:p>
        </p:txBody>
      </p:sp>
      <p:sp>
        <p:nvSpPr>
          <p:cNvPr id="10"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bg1"/>
                </a:solidFill>
              </a:defRPr>
            </a:lvl1pPr>
          </a:lstStyle>
          <a:p>
            <a:r>
              <a:rPr lang="sv-SE"/>
              <a:t>OpenIPSL Tutorial</a:t>
            </a:r>
          </a:p>
        </p:txBody>
      </p:sp>
    </p:spTree>
    <p:extLst>
      <p:ext uri="{BB962C8B-B14F-4D97-AF65-F5344CB8AC3E}">
        <p14:creationId xmlns:p14="http://schemas.microsoft.com/office/powerpoint/2010/main" val="312982207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ext and image">
    <p:spTree>
      <p:nvGrpSpPr>
        <p:cNvPr id="1" name=""/>
        <p:cNvGrpSpPr/>
        <p:nvPr/>
      </p:nvGrpSpPr>
      <p:grpSpPr>
        <a:xfrm>
          <a:off x="0" y="0"/>
          <a:ext cx="0" cy="0"/>
          <a:chOff x="0" y="0"/>
          <a:chExt cx="0" cy="0"/>
        </a:xfrm>
      </p:grpSpPr>
      <p:sp>
        <p:nvSpPr>
          <p:cNvPr id="3" name="Platshållare för innehåll 2"/>
          <p:cNvSpPr>
            <a:spLocks noGrp="1"/>
          </p:cNvSpPr>
          <p:nvPr>
            <p:ph idx="1"/>
          </p:nvPr>
        </p:nvSpPr>
        <p:spPr>
          <a:xfrm>
            <a:off x="323528" y="1340768"/>
            <a:ext cx="4608512" cy="4320257"/>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Platshållare för bild 8"/>
          <p:cNvSpPr>
            <a:spLocks noGrp="1"/>
          </p:cNvSpPr>
          <p:nvPr>
            <p:ph type="pic" sz="quarter" idx="13"/>
          </p:nvPr>
        </p:nvSpPr>
        <p:spPr>
          <a:xfrm>
            <a:off x="5226050" y="1340768"/>
            <a:ext cx="3328988" cy="4320257"/>
          </a:xfrm>
        </p:spPr>
        <p:txBody>
          <a:bodyPr/>
          <a:lstStyle/>
          <a:p>
            <a:r>
              <a:rPr lang="en-US" dirty="0"/>
              <a:t>Click icon to add picture</a:t>
            </a:r>
            <a:endParaRPr lang="en-GB" dirty="0"/>
          </a:p>
        </p:txBody>
      </p:sp>
      <p:sp>
        <p:nvSpPr>
          <p:cNvPr id="8" name="Rubrik 1"/>
          <p:cNvSpPr>
            <a:spLocks noGrp="1"/>
          </p:cNvSpPr>
          <p:nvPr>
            <p:ph type="title"/>
          </p:nvPr>
        </p:nvSpPr>
        <p:spPr>
          <a:xfrm>
            <a:off x="1331640" y="332656"/>
            <a:ext cx="7223398" cy="668338"/>
          </a:xfrm>
        </p:spPr>
        <p:txBody>
          <a:bodyPr/>
          <a:lstStyle/>
          <a:p>
            <a:r>
              <a:rPr lang="en-US" dirty="0"/>
              <a:t>Click to edit Master title style</a:t>
            </a:r>
            <a:endParaRPr lang="en-GB" dirty="0"/>
          </a:p>
        </p:txBody>
      </p:sp>
      <p:sp>
        <p:nvSpPr>
          <p:cNvPr id="10" name="Platshållare för datum 3"/>
          <p:cNvSpPr>
            <a:spLocks noGrp="1"/>
          </p:cNvSpPr>
          <p:nvPr>
            <p:ph type="dt" sz="half" idx="10"/>
          </p:nvPr>
        </p:nvSpPr>
        <p:spPr>
          <a:xfrm>
            <a:off x="5580112" y="6288509"/>
            <a:ext cx="2133600" cy="365125"/>
          </a:xfrm>
        </p:spPr>
        <p:txBody>
          <a:bodyPr/>
          <a:lstStyle>
            <a:lvl1pPr>
              <a:defRPr sz="1100"/>
            </a:lvl1pPr>
          </a:lstStyle>
          <a:p>
            <a:r>
              <a:rPr lang="sv-SE"/>
              <a:t>2016-11-20</a:t>
            </a:r>
          </a:p>
        </p:txBody>
      </p:sp>
      <p:sp>
        <p:nvSpPr>
          <p:cNvPr id="11" name="Platshållare för bildnummer 5"/>
          <p:cNvSpPr>
            <a:spLocks noGrp="1"/>
          </p:cNvSpPr>
          <p:nvPr>
            <p:ph type="sldNum" sz="quarter" idx="12"/>
          </p:nvPr>
        </p:nvSpPr>
        <p:spPr>
          <a:xfrm>
            <a:off x="8172399" y="6301410"/>
            <a:ext cx="531863" cy="365125"/>
          </a:xfrm>
        </p:spPr>
        <p:txBody>
          <a:bodyPr/>
          <a:lstStyle>
            <a:lvl1pPr>
              <a:defRPr sz="1100"/>
            </a:lvl1pPr>
          </a:lstStyle>
          <a:p>
            <a:fld id="{227F0B53-9592-4779-891F-997228E46E01}" type="slidenum">
              <a:rPr lang="sv-SE" smtClean="0"/>
              <a:t>‹#›</a:t>
            </a:fld>
            <a:endParaRPr lang="sv-SE"/>
          </a:p>
        </p:txBody>
      </p:sp>
      <p:sp>
        <p:nvSpPr>
          <p:cNvPr id="12"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bg1"/>
                </a:solidFill>
              </a:defRPr>
            </a:lvl1pPr>
          </a:lstStyle>
          <a:p>
            <a:r>
              <a:rPr lang="sv-SE"/>
              <a:t>OpenIPSL Tutorial</a:t>
            </a:r>
          </a:p>
        </p:txBody>
      </p:sp>
    </p:spTree>
    <p:extLst>
      <p:ext uri="{BB962C8B-B14F-4D97-AF65-F5344CB8AC3E}">
        <p14:creationId xmlns:p14="http://schemas.microsoft.com/office/powerpoint/2010/main" val="267770830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ext and graph">
    <p:spTree>
      <p:nvGrpSpPr>
        <p:cNvPr id="1" name=""/>
        <p:cNvGrpSpPr/>
        <p:nvPr/>
      </p:nvGrpSpPr>
      <p:grpSpPr>
        <a:xfrm>
          <a:off x="0" y="0"/>
          <a:ext cx="0" cy="0"/>
          <a:chOff x="0" y="0"/>
          <a:chExt cx="0" cy="0"/>
        </a:xfrm>
      </p:grpSpPr>
      <p:sp>
        <p:nvSpPr>
          <p:cNvPr id="3" name="Platshållare för innehåll 2"/>
          <p:cNvSpPr>
            <a:spLocks noGrp="1"/>
          </p:cNvSpPr>
          <p:nvPr>
            <p:ph idx="1"/>
          </p:nvPr>
        </p:nvSpPr>
        <p:spPr>
          <a:xfrm>
            <a:off x="395536" y="1582740"/>
            <a:ext cx="4564992" cy="407828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Platshållare för diagram 7"/>
          <p:cNvSpPr>
            <a:spLocks noGrp="1"/>
          </p:cNvSpPr>
          <p:nvPr>
            <p:ph type="chart" sz="quarter" idx="13"/>
          </p:nvPr>
        </p:nvSpPr>
        <p:spPr>
          <a:xfrm>
            <a:off x="5226050" y="1582740"/>
            <a:ext cx="3328988" cy="4078286"/>
          </a:xfrm>
        </p:spPr>
        <p:txBody>
          <a:bodyPr>
            <a:normAutofit/>
          </a:bodyPr>
          <a:lstStyle>
            <a:lvl1pPr>
              <a:defRPr sz="1400"/>
            </a:lvl1pPr>
          </a:lstStyle>
          <a:p>
            <a:r>
              <a:rPr lang="en-US"/>
              <a:t>Click icon to add chart</a:t>
            </a:r>
            <a:endParaRPr lang="en-GB"/>
          </a:p>
        </p:txBody>
      </p:sp>
      <p:sp>
        <p:nvSpPr>
          <p:cNvPr id="9" name="Rubrik 1"/>
          <p:cNvSpPr>
            <a:spLocks noGrp="1"/>
          </p:cNvSpPr>
          <p:nvPr>
            <p:ph type="title"/>
          </p:nvPr>
        </p:nvSpPr>
        <p:spPr>
          <a:xfrm>
            <a:off x="1619250" y="332656"/>
            <a:ext cx="6935788" cy="668338"/>
          </a:xfrm>
        </p:spPr>
        <p:txBody>
          <a:bodyPr/>
          <a:lstStyle/>
          <a:p>
            <a:r>
              <a:rPr lang="en-US"/>
              <a:t>Click to edit Master title style</a:t>
            </a:r>
            <a:endParaRPr lang="en-GB" dirty="0"/>
          </a:p>
        </p:txBody>
      </p:sp>
      <p:sp>
        <p:nvSpPr>
          <p:cNvPr id="10" name="Platshållare för datum 3"/>
          <p:cNvSpPr>
            <a:spLocks noGrp="1"/>
          </p:cNvSpPr>
          <p:nvPr>
            <p:ph type="dt" sz="half" idx="10"/>
          </p:nvPr>
        </p:nvSpPr>
        <p:spPr>
          <a:xfrm>
            <a:off x="5580112" y="6288509"/>
            <a:ext cx="2133600" cy="365125"/>
          </a:xfrm>
        </p:spPr>
        <p:txBody>
          <a:bodyPr/>
          <a:lstStyle>
            <a:lvl1pPr>
              <a:defRPr sz="1100"/>
            </a:lvl1pPr>
          </a:lstStyle>
          <a:p>
            <a:r>
              <a:rPr lang="sv-SE"/>
              <a:t>2016-11-20</a:t>
            </a:r>
          </a:p>
        </p:txBody>
      </p:sp>
      <p:sp>
        <p:nvSpPr>
          <p:cNvPr id="11" name="Platshållare för bildnummer 5"/>
          <p:cNvSpPr>
            <a:spLocks noGrp="1"/>
          </p:cNvSpPr>
          <p:nvPr>
            <p:ph type="sldNum" sz="quarter" idx="12"/>
          </p:nvPr>
        </p:nvSpPr>
        <p:spPr>
          <a:xfrm>
            <a:off x="8172399" y="6301410"/>
            <a:ext cx="531863" cy="365125"/>
          </a:xfrm>
        </p:spPr>
        <p:txBody>
          <a:bodyPr/>
          <a:lstStyle>
            <a:lvl1pPr>
              <a:defRPr sz="1100"/>
            </a:lvl1pPr>
          </a:lstStyle>
          <a:p>
            <a:fld id="{227F0B53-9592-4779-891F-997228E46E01}" type="slidenum">
              <a:rPr lang="sv-SE" smtClean="0"/>
              <a:t>‹#›</a:t>
            </a:fld>
            <a:endParaRPr lang="sv-SE"/>
          </a:p>
        </p:txBody>
      </p:sp>
      <p:sp>
        <p:nvSpPr>
          <p:cNvPr id="12"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bg1"/>
                </a:solidFill>
              </a:defRPr>
            </a:lvl1pPr>
          </a:lstStyle>
          <a:p>
            <a:r>
              <a:rPr lang="sv-SE"/>
              <a:t>OpenIPSL Tutorial</a:t>
            </a:r>
          </a:p>
        </p:txBody>
      </p:sp>
    </p:spTree>
    <p:extLst>
      <p:ext uri="{BB962C8B-B14F-4D97-AF65-F5344CB8AC3E}">
        <p14:creationId xmlns:p14="http://schemas.microsoft.com/office/powerpoint/2010/main" val="232454959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wo images">
    <p:spTree>
      <p:nvGrpSpPr>
        <p:cNvPr id="1" name=""/>
        <p:cNvGrpSpPr/>
        <p:nvPr/>
      </p:nvGrpSpPr>
      <p:grpSpPr>
        <a:xfrm>
          <a:off x="0" y="0"/>
          <a:ext cx="0" cy="0"/>
          <a:chOff x="0" y="0"/>
          <a:chExt cx="0" cy="0"/>
        </a:xfrm>
      </p:grpSpPr>
      <p:sp>
        <p:nvSpPr>
          <p:cNvPr id="9" name="Platshållare för bild 8"/>
          <p:cNvSpPr>
            <a:spLocks noGrp="1"/>
          </p:cNvSpPr>
          <p:nvPr>
            <p:ph type="pic" sz="quarter" idx="13"/>
          </p:nvPr>
        </p:nvSpPr>
        <p:spPr>
          <a:xfrm>
            <a:off x="5226050" y="1582739"/>
            <a:ext cx="3328988" cy="4078286"/>
          </a:xfrm>
        </p:spPr>
        <p:txBody>
          <a:bodyPr/>
          <a:lstStyle/>
          <a:p>
            <a:r>
              <a:rPr lang="en-US"/>
              <a:t>Click icon to add picture</a:t>
            </a:r>
            <a:endParaRPr lang="en-GB" dirty="0"/>
          </a:p>
        </p:txBody>
      </p:sp>
      <p:sp>
        <p:nvSpPr>
          <p:cNvPr id="8" name="Platshållare för bild 8"/>
          <p:cNvSpPr>
            <a:spLocks noGrp="1"/>
          </p:cNvSpPr>
          <p:nvPr>
            <p:ph type="pic" sz="quarter" idx="14"/>
          </p:nvPr>
        </p:nvSpPr>
        <p:spPr>
          <a:xfrm>
            <a:off x="1619250" y="1582739"/>
            <a:ext cx="3328988" cy="4078286"/>
          </a:xfrm>
        </p:spPr>
        <p:txBody>
          <a:bodyPr/>
          <a:lstStyle/>
          <a:p>
            <a:r>
              <a:rPr lang="en-US"/>
              <a:t>Click icon to add picture</a:t>
            </a:r>
            <a:endParaRPr lang="en-GB" dirty="0"/>
          </a:p>
        </p:txBody>
      </p:sp>
      <p:sp>
        <p:nvSpPr>
          <p:cNvPr id="10" name="Rubrik 1"/>
          <p:cNvSpPr>
            <a:spLocks noGrp="1"/>
          </p:cNvSpPr>
          <p:nvPr>
            <p:ph type="title"/>
          </p:nvPr>
        </p:nvSpPr>
        <p:spPr>
          <a:xfrm>
            <a:off x="1619250" y="332656"/>
            <a:ext cx="6935788" cy="668338"/>
          </a:xfrm>
        </p:spPr>
        <p:txBody>
          <a:bodyPr/>
          <a:lstStyle/>
          <a:p>
            <a:r>
              <a:rPr lang="en-US"/>
              <a:t>Click to edit Master title style</a:t>
            </a:r>
            <a:endParaRPr lang="en-GB" dirty="0"/>
          </a:p>
        </p:txBody>
      </p:sp>
      <p:sp>
        <p:nvSpPr>
          <p:cNvPr id="11" name="Platshållare för datum 3"/>
          <p:cNvSpPr>
            <a:spLocks noGrp="1"/>
          </p:cNvSpPr>
          <p:nvPr>
            <p:ph type="dt" sz="half" idx="10"/>
          </p:nvPr>
        </p:nvSpPr>
        <p:spPr>
          <a:xfrm>
            <a:off x="5580112" y="6288509"/>
            <a:ext cx="2133600" cy="365125"/>
          </a:xfrm>
        </p:spPr>
        <p:txBody>
          <a:bodyPr/>
          <a:lstStyle>
            <a:lvl1pPr>
              <a:defRPr sz="1100"/>
            </a:lvl1pPr>
          </a:lstStyle>
          <a:p>
            <a:r>
              <a:rPr lang="sv-SE"/>
              <a:t>2016-11-20</a:t>
            </a:r>
          </a:p>
        </p:txBody>
      </p:sp>
      <p:sp>
        <p:nvSpPr>
          <p:cNvPr id="12" name="Platshållare för bildnummer 5"/>
          <p:cNvSpPr>
            <a:spLocks noGrp="1"/>
          </p:cNvSpPr>
          <p:nvPr>
            <p:ph type="sldNum" sz="quarter" idx="12"/>
          </p:nvPr>
        </p:nvSpPr>
        <p:spPr>
          <a:xfrm>
            <a:off x="8172399" y="6301410"/>
            <a:ext cx="531863" cy="365125"/>
          </a:xfrm>
        </p:spPr>
        <p:txBody>
          <a:bodyPr/>
          <a:lstStyle>
            <a:lvl1pPr>
              <a:defRPr sz="1100"/>
            </a:lvl1pPr>
          </a:lstStyle>
          <a:p>
            <a:fld id="{227F0B53-9592-4779-891F-997228E46E01}" type="slidenum">
              <a:rPr lang="sv-SE" smtClean="0"/>
              <a:t>‹#›</a:t>
            </a:fld>
            <a:endParaRPr lang="sv-SE"/>
          </a:p>
        </p:txBody>
      </p:sp>
      <p:sp>
        <p:nvSpPr>
          <p:cNvPr id="13"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bg1"/>
                </a:solidFill>
              </a:defRPr>
            </a:lvl1pPr>
          </a:lstStyle>
          <a:p>
            <a:r>
              <a:rPr lang="sv-SE"/>
              <a:t>OpenIPSL Tutorial</a:t>
            </a:r>
          </a:p>
        </p:txBody>
      </p:sp>
    </p:spTree>
    <p:extLst>
      <p:ext uri="{BB962C8B-B14F-4D97-AF65-F5344CB8AC3E}">
        <p14:creationId xmlns:p14="http://schemas.microsoft.com/office/powerpoint/2010/main" val="25294034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Chapter slide">
    <p:spTree>
      <p:nvGrpSpPr>
        <p:cNvPr id="1" name=""/>
        <p:cNvGrpSpPr/>
        <p:nvPr/>
      </p:nvGrpSpPr>
      <p:grpSpPr>
        <a:xfrm>
          <a:off x="0" y="0"/>
          <a:ext cx="0" cy="0"/>
          <a:chOff x="0" y="0"/>
          <a:chExt cx="0" cy="0"/>
        </a:xfrm>
      </p:grpSpPr>
      <p:sp>
        <p:nvSpPr>
          <p:cNvPr id="8" name="Platshållare för bild 7"/>
          <p:cNvSpPr>
            <a:spLocks noGrp="1"/>
          </p:cNvSpPr>
          <p:nvPr>
            <p:ph type="pic" sz="quarter" idx="13"/>
          </p:nvPr>
        </p:nvSpPr>
        <p:spPr>
          <a:xfrm>
            <a:off x="-10639" y="1582739"/>
            <a:ext cx="9208426" cy="4713858"/>
          </a:xfrm>
          <a:custGeom>
            <a:avLst/>
            <a:gdLst>
              <a:gd name="connsiteX0" fmla="*/ 708568 w 9144000"/>
              <a:gd name="connsiteY0" fmla="*/ 0 h 4251325"/>
              <a:gd name="connsiteX1" fmla="*/ 9144000 w 9144000"/>
              <a:gd name="connsiteY1" fmla="*/ 0 h 4251325"/>
              <a:gd name="connsiteX2" fmla="*/ 9144000 w 9144000"/>
              <a:gd name="connsiteY2" fmla="*/ 0 h 4251325"/>
              <a:gd name="connsiteX3" fmla="*/ 9144000 w 9144000"/>
              <a:gd name="connsiteY3" fmla="*/ 3542757 h 4251325"/>
              <a:gd name="connsiteX4" fmla="*/ 8435432 w 9144000"/>
              <a:gd name="connsiteY4" fmla="*/ 4251325 h 4251325"/>
              <a:gd name="connsiteX5" fmla="*/ 0 w 9144000"/>
              <a:gd name="connsiteY5" fmla="*/ 4251325 h 4251325"/>
              <a:gd name="connsiteX6" fmla="*/ 0 w 9144000"/>
              <a:gd name="connsiteY6" fmla="*/ 4251325 h 4251325"/>
              <a:gd name="connsiteX7" fmla="*/ 0 w 9144000"/>
              <a:gd name="connsiteY7" fmla="*/ 708568 h 4251325"/>
              <a:gd name="connsiteX8" fmla="*/ 708568 w 9144000"/>
              <a:gd name="connsiteY8" fmla="*/ 0 h 4251325"/>
              <a:gd name="connsiteX0" fmla="*/ 180030 w 9301262"/>
              <a:gd name="connsiteY0" fmla="*/ 0 h 4260850"/>
              <a:gd name="connsiteX1" fmla="*/ 9301262 w 9301262"/>
              <a:gd name="connsiteY1" fmla="*/ 9525 h 4260850"/>
              <a:gd name="connsiteX2" fmla="*/ 9301262 w 9301262"/>
              <a:gd name="connsiteY2" fmla="*/ 9525 h 4260850"/>
              <a:gd name="connsiteX3" fmla="*/ 9301262 w 9301262"/>
              <a:gd name="connsiteY3" fmla="*/ 3552282 h 4260850"/>
              <a:gd name="connsiteX4" fmla="*/ 8592694 w 9301262"/>
              <a:gd name="connsiteY4" fmla="*/ 4260850 h 4260850"/>
              <a:gd name="connsiteX5" fmla="*/ 157262 w 9301262"/>
              <a:gd name="connsiteY5" fmla="*/ 4260850 h 4260850"/>
              <a:gd name="connsiteX6" fmla="*/ 157262 w 9301262"/>
              <a:gd name="connsiteY6" fmla="*/ 4260850 h 4260850"/>
              <a:gd name="connsiteX7" fmla="*/ 157262 w 9301262"/>
              <a:gd name="connsiteY7" fmla="*/ 718093 h 4260850"/>
              <a:gd name="connsiteX8" fmla="*/ 180030 w 9301262"/>
              <a:gd name="connsiteY8" fmla="*/ 0 h 4260850"/>
              <a:gd name="connsiteX0" fmla="*/ 23406 w 9144638"/>
              <a:gd name="connsiteY0" fmla="*/ 0 h 4260850"/>
              <a:gd name="connsiteX1" fmla="*/ 9144638 w 9144638"/>
              <a:gd name="connsiteY1" fmla="*/ 9525 h 4260850"/>
              <a:gd name="connsiteX2" fmla="*/ 9144638 w 9144638"/>
              <a:gd name="connsiteY2" fmla="*/ 9525 h 4260850"/>
              <a:gd name="connsiteX3" fmla="*/ 9144638 w 9144638"/>
              <a:gd name="connsiteY3" fmla="*/ 3552282 h 4260850"/>
              <a:gd name="connsiteX4" fmla="*/ 8436070 w 9144638"/>
              <a:gd name="connsiteY4" fmla="*/ 4260850 h 4260850"/>
              <a:gd name="connsiteX5" fmla="*/ 638 w 9144638"/>
              <a:gd name="connsiteY5" fmla="*/ 4260850 h 4260850"/>
              <a:gd name="connsiteX6" fmla="*/ 638 w 9144638"/>
              <a:gd name="connsiteY6" fmla="*/ 4260850 h 4260850"/>
              <a:gd name="connsiteX7" fmla="*/ 638 w 9144638"/>
              <a:gd name="connsiteY7" fmla="*/ 718093 h 4260850"/>
              <a:gd name="connsiteX8" fmla="*/ 23406 w 9144638"/>
              <a:gd name="connsiteY8" fmla="*/ 0 h 4260850"/>
              <a:gd name="connsiteX0" fmla="*/ 11705 w 9161512"/>
              <a:gd name="connsiteY0" fmla="*/ 9525 h 4251325"/>
              <a:gd name="connsiteX1" fmla="*/ 9161512 w 9161512"/>
              <a:gd name="connsiteY1" fmla="*/ 0 h 4251325"/>
              <a:gd name="connsiteX2" fmla="*/ 9161512 w 9161512"/>
              <a:gd name="connsiteY2" fmla="*/ 0 h 4251325"/>
              <a:gd name="connsiteX3" fmla="*/ 9161512 w 9161512"/>
              <a:gd name="connsiteY3" fmla="*/ 3542757 h 4251325"/>
              <a:gd name="connsiteX4" fmla="*/ 8452944 w 9161512"/>
              <a:gd name="connsiteY4" fmla="*/ 4251325 h 4251325"/>
              <a:gd name="connsiteX5" fmla="*/ 17512 w 9161512"/>
              <a:gd name="connsiteY5" fmla="*/ 4251325 h 4251325"/>
              <a:gd name="connsiteX6" fmla="*/ 17512 w 9161512"/>
              <a:gd name="connsiteY6" fmla="*/ 4251325 h 4251325"/>
              <a:gd name="connsiteX7" fmla="*/ 17512 w 9161512"/>
              <a:gd name="connsiteY7" fmla="*/ 708568 h 4251325"/>
              <a:gd name="connsiteX8" fmla="*/ 11705 w 9161512"/>
              <a:gd name="connsiteY8" fmla="*/ 9525 h 4251325"/>
              <a:gd name="connsiteX0" fmla="*/ 69 w 9149876"/>
              <a:gd name="connsiteY0" fmla="*/ 9525 h 4251325"/>
              <a:gd name="connsiteX1" fmla="*/ 9149876 w 9149876"/>
              <a:gd name="connsiteY1" fmla="*/ 0 h 4251325"/>
              <a:gd name="connsiteX2" fmla="*/ 9149876 w 9149876"/>
              <a:gd name="connsiteY2" fmla="*/ 0 h 4251325"/>
              <a:gd name="connsiteX3" fmla="*/ 9149876 w 9149876"/>
              <a:gd name="connsiteY3" fmla="*/ 3542757 h 4251325"/>
              <a:gd name="connsiteX4" fmla="*/ 8441308 w 9149876"/>
              <a:gd name="connsiteY4" fmla="*/ 4251325 h 4251325"/>
              <a:gd name="connsiteX5" fmla="*/ 5876 w 9149876"/>
              <a:gd name="connsiteY5" fmla="*/ 4251325 h 4251325"/>
              <a:gd name="connsiteX6" fmla="*/ 5876 w 9149876"/>
              <a:gd name="connsiteY6" fmla="*/ 4251325 h 4251325"/>
              <a:gd name="connsiteX7" fmla="*/ 5876 w 9149876"/>
              <a:gd name="connsiteY7" fmla="*/ 708568 h 4251325"/>
              <a:gd name="connsiteX8" fmla="*/ 69 w 9149876"/>
              <a:gd name="connsiteY8" fmla="*/ 9525 h 4251325"/>
              <a:gd name="connsiteX0" fmla="*/ 69 w 9149876"/>
              <a:gd name="connsiteY0" fmla="*/ 9525 h 4251325"/>
              <a:gd name="connsiteX1" fmla="*/ 9149876 w 9149876"/>
              <a:gd name="connsiteY1" fmla="*/ 0 h 4251325"/>
              <a:gd name="connsiteX2" fmla="*/ 9149876 w 9149876"/>
              <a:gd name="connsiteY2" fmla="*/ 0 h 4251325"/>
              <a:gd name="connsiteX3" fmla="*/ 9149876 w 9149876"/>
              <a:gd name="connsiteY3" fmla="*/ 3542757 h 4251325"/>
              <a:gd name="connsiteX4" fmla="*/ 1316608 w 9149876"/>
              <a:gd name="connsiteY4" fmla="*/ 3946525 h 4251325"/>
              <a:gd name="connsiteX5" fmla="*/ 5876 w 9149876"/>
              <a:gd name="connsiteY5" fmla="*/ 4251325 h 4251325"/>
              <a:gd name="connsiteX6" fmla="*/ 5876 w 9149876"/>
              <a:gd name="connsiteY6" fmla="*/ 4251325 h 4251325"/>
              <a:gd name="connsiteX7" fmla="*/ 5876 w 9149876"/>
              <a:gd name="connsiteY7" fmla="*/ 708568 h 4251325"/>
              <a:gd name="connsiteX8" fmla="*/ 69 w 9149876"/>
              <a:gd name="connsiteY8" fmla="*/ 9525 h 4251325"/>
              <a:gd name="connsiteX0" fmla="*/ 69 w 9149876"/>
              <a:gd name="connsiteY0" fmla="*/ 9525 h 4257675"/>
              <a:gd name="connsiteX1" fmla="*/ 9149876 w 9149876"/>
              <a:gd name="connsiteY1" fmla="*/ 0 h 4257675"/>
              <a:gd name="connsiteX2" fmla="*/ 9149876 w 9149876"/>
              <a:gd name="connsiteY2" fmla="*/ 0 h 4257675"/>
              <a:gd name="connsiteX3" fmla="*/ 9149876 w 9149876"/>
              <a:gd name="connsiteY3" fmla="*/ 3542757 h 4257675"/>
              <a:gd name="connsiteX4" fmla="*/ 1316608 w 9149876"/>
              <a:gd name="connsiteY4" fmla="*/ 3946525 h 4257675"/>
              <a:gd name="connsiteX5" fmla="*/ 1177451 w 9149876"/>
              <a:gd name="connsiteY5" fmla="*/ 4257675 h 4257675"/>
              <a:gd name="connsiteX6" fmla="*/ 5876 w 9149876"/>
              <a:gd name="connsiteY6" fmla="*/ 4251325 h 4257675"/>
              <a:gd name="connsiteX7" fmla="*/ 5876 w 9149876"/>
              <a:gd name="connsiteY7" fmla="*/ 4251325 h 4257675"/>
              <a:gd name="connsiteX8" fmla="*/ 5876 w 9149876"/>
              <a:gd name="connsiteY8" fmla="*/ 708568 h 4257675"/>
              <a:gd name="connsiteX9" fmla="*/ 69 w 9149876"/>
              <a:gd name="connsiteY9" fmla="*/ 9525 h 4257675"/>
              <a:gd name="connsiteX0" fmla="*/ 69 w 9149876"/>
              <a:gd name="connsiteY0" fmla="*/ 9525 h 4257675"/>
              <a:gd name="connsiteX1" fmla="*/ 9149876 w 9149876"/>
              <a:gd name="connsiteY1" fmla="*/ 0 h 4257675"/>
              <a:gd name="connsiteX2" fmla="*/ 9149876 w 9149876"/>
              <a:gd name="connsiteY2" fmla="*/ 0 h 4257675"/>
              <a:gd name="connsiteX3" fmla="*/ 9149876 w 9149876"/>
              <a:gd name="connsiteY3" fmla="*/ 3895182 h 4257675"/>
              <a:gd name="connsiteX4" fmla="*/ 1316608 w 9149876"/>
              <a:gd name="connsiteY4" fmla="*/ 3946525 h 4257675"/>
              <a:gd name="connsiteX5" fmla="*/ 1177451 w 9149876"/>
              <a:gd name="connsiteY5" fmla="*/ 4257675 h 4257675"/>
              <a:gd name="connsiteX6" fmla="*/ 5876 w 9149876"/>
              <a:gd name="connsiteY6" fmla="*/ 4251325 h 4257675"/>
              <a:gd name="connsiteX7" fmla="*/ 5876 w 9149876"/>
              <a:gd name="connsiteY7" fmla="*/ 4251325 h 4257675"/>
              <a:gd name="connsiteX8" fmla="*/ 5876 w 9149876"/>
              <a:gd name="connsiteY8" fmla="*/ 708568 h 4257675"/>
              <a:gd name="connsiteX9" fmla="*/ 69 w 9149876"/>
              <a:gd name="connsiteY9" fmla="*/ 9525 h 4257675"/>
              <a:gd name="connsiteX0" fmla="*/ 69 w 9149876"/>
              <a:gd name="connsiteY0" fmla="*/ 9525 h 4257675"/>
              <a:gd name="connsiteX1" fmla="*/ 9149876 w 9149876"/>
              <a:gd name="connsiteY1" fmla="*/ 0 h 4257675"/>
              <a:gd name="connsiteX2" fmla="*/ 9149876 w 9149876"/>
              <a:gd name="connsiteY2" fmla="*/ 0 h 4257675"/>
              <a:gd name="connsiteX3" fmla="*/ 9149876 w 9149876"/>
              <a:gd name="connsiteY3" fmla="*/ 3895182 h 4257675"/>
              <a:gd name="connsiteX4" fmla="*/ 1316608 w 9149876"/>
              <a:gd name="connsiteY4" fmla="*/ 3946525 h 4257675"/>
              <a:gd name="connsiteX5" fmla="*/ 1177451 w 9149876"/>
              <a:gd name="connsiteY5" fmla="*/ 4257675 h 4257675"/>
              <a:gd name="connsiteX6" fmla="*/ 5876 w 9149876"/>
              <a:gd name="connsiteY6" fmla="*/ 4251325 h 4257675"/>
              <a:gd name="connsiteX7" fmla="*/ 5876 w 9149876"/>
              <a:gd name="connsiteY7" fmla="*/ 4251325 h 4257675"/>
              <a:gd name="connsiteX8" fmla="*/ 5876 w 9149876"/>
              <a:gd name="connsiteY8" fmla="*/ 708568 h 4257675"/>
              <a:gd name="connsiteX9" fmla="*/ 69 w 9149876"/>
              <a:gd name="connsiteY9" fmla="*/ 9525 h 4257675"/>
              <a:gd name="connsiteX0" fmla="*/ 69 w 9149876"/>
              <a:gd name="connsiteY0" fmla="*/ 9525 h 4257675"/>
              <a:gd name="connsiteX1" fmla="*/ 9149876 w 9149876"/>
              <a:gd name="connsiteY1" fmla="*/ 0 h 4257675"/>
              <a:gd name="connsiteX2" fmla="*/ 9149876 w 9149876"/>
              <a:gd name="connsiteY2" fmla="*/ 0 h 4257675"/>
              <a:gd name="connsiteX3" fmla="*/ 9149876 w 9149876"/>
              <a:gd name="connsiteY3" fmla="*/ 3923757 h 4257675"/>
              <a:gd name="connsiteX4" fmla="*/ 1316608 w 9149876"/>
              <a:gd name="connsiteY4" fmla="*/ 3946525 h 4257675"/>
              <a:gd name="connsiteX5" fmla="*/ 1177451 w 9149876"/>
              <a:gd name="connsiteY5" fmla="*/ 4257675 h 4257675"/>
              <a:gd name="connsiteX6" fmla="*/ 5876 w 9149876"/>
              <a:gd name="connsiteY6" fmla="*/ 4251325 h 4257675"/>
              <a:gd name="connsiteX7" fmla="*/ 5876 w 9149876"/>
              <a:gd name="connsiteY7" fmla="*/ 4251325 h 4257675"/>
              <a:gd name="connsiteX8" fmla="*/ 5876 w 9149876"/>
              <a:gd name="connsiteY8" fmla="*/ 708568 h 4257675"/>
              <a:gd name="connsiteX9" fmla="*/ 69 w 9149876"/>
              <a:gd name="connsiteY9" fmla="*/ 9525 h 4257675"/>
              <a:gd name="connsiteX0" fmla="*/ 69 w 9149876"/>
              <a:gd name="connsiteY0" fmla="*/ 9525 h 4257675"/>
              <a:gd name="connsiteX1" fmla="*/ 9149876 w 9149876"/>
              <a:gd name="connsiteY1" fmla="*/ 0 h 4257675"/>
              <a:gd name="connsiteX2" fmla="*/ 9149876 w 9149876"/>
              <a:gd name="connsiteY2" fmla="*/ 0 h 4257675"/>
              <a:gd name="connsiteX3" fmla="*/ 9149876 w 9149876"/>
              <a:gd name="connsiteY3" fmla="*/ 3923757 h 4257675"/>
              <a:gd name="connsiteX4" fmla="*/ 1316608 w 9149876"/>
              <a:gd name="connsiteY4" fmla="*/ 3946525 h 4257675"/>
              <a:gd name="connsiteX5" fmla="*/ 1177451 w 9149876"/>
              <a:gd name="connsiteY5" fmla="*/ 4257675 h 4257675"/>
              <a:gd name="connsiteX6" fmla="*/ 5876 w 9149876"/>
              <a:gd name="connsiteY6" fmla="*/ 4251325 h 4257675"/>
              <a:gd name="connsiteX7" fmla="*/ 5876 w 9149876"/>
              <a:gd name="connsiteY7" fmla="*/ 4251325 h 4257675"/>
              <a:gd name="connsiteX8" fmla="*/ 5876 w 9149876"/>
              <a:gd name="connsiteY8" fmla="*/ 708568 h 4257675"/>
              <a:gd name="connsiteX9" fmla="*/ 69 w 9149876"/>
              <a:gd name="connsiteY9" fmla="*/ 9525 h 4257675"/>
              <a:gd name="connsiteX0" fmla="*/ 6893 w 9156700"/>
              <a:gd name="connsiteY0" fmla="*/ 9525 h 4270375"/>
              <a:gd name="connsiteX1" fmla="*/ 9156700 w 9156700"/>
              <a:gd name="connsiteY1" fmla="*/ 0 h 4270375"/>
              <a:gd name="connsiteX2" fmla="*/ 9156700 w 9156700"/>
              <a:gd name="connsiteY2" fmla="*/ 0 h 4270375"/>
              <a:gd name="connsiteX3" fmla="*/ 9156700 w 9156700"/>
              <a:gd name="connsiteY3" fmla="*/ 3923757 h 4270375"/>
              <a:gd name="connsiteX4" fmla="*/ 1323432 w 9156700"/>
              <a:gd name="connsiteY4" fmla="*/ 3946525 h 4270375"/>
              <a:gd name="connsiteX5" fmla="*/ 1184275 w 9156700"/>
              <a:gd name="connsiteY5" fmla="*/ 4257675 h 4270375"/>
              <a:gd name="connsiteX6" fmla="*/ 12700 w 9156700"/>
              <a:gd name="connsiteY6" fmla="*/ 4251325 h 4270375"/>
              <a:gd name="connsiteX7" fmla="*/ 0 w 9156700"/>
              <a:gd name="connsiteY7" fmla="*/ 4270375 h 4270375"/>
              <a:gd name="connsiteX8" fmla="*/ 12700 w 9156700"/>
              <a:gd name="connsiteY8" fmla="*/ 708568 h 4270375"/>
              <a:gd name="connsiteX9" fmla="*/ 6893 w 9156700"/>
              <a:gd name="connsiteY9" fmla="*/ 9525 h 4270375"/>
              <a:gd name="connsiteX0" fmla="*/ 6893 w 9156700"/>
              <a:gd name="connsiteY0" fmla="*/ 9525 h 4270375"/>
              <a:gd name="connsiteX1" fmla="*/ 9156700 w 9156700"/>
              <a:gd name="connsiteY1" fmla="*/ 0 h 4270375"/>
              <a:gd name="connsiteX2" fmla="*/ 9156700 w 9156700"/>
              <a:gd name="connsiteY2" fmla="*/ 0 h 4270375"/>
              <a:gd name="connsiteX3" fmla="*/ 9156700 w 9156700"/>
              <a:gd name="connsiteY3" fmla="*/ 3923757 h 4270375"/>
              <a:gd name="connsiteX4" fmla="*/ 1342482 w 9156700"/>
              <a:gd name="connsiteY4" fmla="*/ 3908425 h 4270375"/>
              <a:gd name="connsiteX5" fmla="*/ 1184275 w 9156700"/>
              <a:gd name="connsiteY5" fmla="*/ 4257675 h 4270375"/>
              <a:gd name="connsiteX6" fmla="*/ 12700 w 9156700"/>
              <a:gd name="connsiteY6" fmla="*/ 4251325 h 4270375"/>
              <a:gd name="connsiteX7" fmla="*/ 0 w 9156700"/>
              <a:gd name="connsiteY7" fmla="*/ 4270375 h 4270375"/>
              <a:gd name="connsiteX8" fmla="*/ 12700 w 9156700"/>
              <a:gd name="connsiteY8" fmla="*/ 708568 h 4270375"/>
              <a:gd name="connsiteX9" fmla="*/ 6893 w 9156700"/>
              <a:gd name="connsiteY9" fmla="*/ 9525 h 4270375"/>
              <a:gd name="connsiteX0" fmla="*/ 6893 w 9156700"/>
              <a:gd name="connsiteY0" fmla="*/ 9525 h 4270375"/>
              <a:gd name="connsiteX1" fmla="*/ 9156700 w 9156700"/>
              <a:gd name="connsiteY1" fmla="*/ 0 h 4270375"/>
              <a:gd name="connsiteX2" fmla="*/ 9156700 w 9156700"/>
              <a:gd name="connsiteY2" fmla="*/ 0 h 4270375"/>
              <a:gd name="connsiteX3" fmla="*/ 9156700 w 9156700"/>
              <a:gd name="connsiteY3" fmla="*/ 3923757 h 4270375"/>
              <a:gd name="connsiteX4" fmla="*/ 1342482 w 9156700"/>
              <a:gd name="connsiteY4" fmla="*/ 3908425 h 4270375"/>
              <a:gd name="connsiteX5" fmla="*/ 1190625 w 9156700"/>
              <a:gd name="connsiteY5" fmla="*/ 4264025 h 4270375"/>
              <a:gd name="connsiteX6" fmla="*/ 12700 w 9156700"/>
              <a:gd name="connsiteY6" fmla="*/ 4251325 h 4270375"/>
              <a:gd name="connsiteX7" fmla="*/ 0 w 9156700"/>
              <a:gd name="connsiteY7" fmla="*/ 4270375 h 4270375"/>
              <a:gd name="connsiteX8" fmla="*/ 12700 w 9156700"/>
              <a:gd name="connsiteY8" fmla="*/ 708568 h 4270375"/>
              <a:gd name="connsiteX9" fmla="*/ 6893 w 9156700"/>
              <a:gd name="connsiteY9" fmla="*/ 9525 h 4270375"/>
              <a:gd name="connsiteX0" fmla="*/ 6893 w 9156700"/>
              <a:gd name="connsiteY0" fmla="*/ 9525 h 4270375"/>
              <a:gd name="connsiteX1" fmla="*/ 9156700 w 9156700"/>
              <a:gd name="connsiteY1" fmla="*/ 0 h 4270375"/>
              <a:gd name="connsiteX2" fmla="*/ 9156700 w 9156700"/>
              <a:gd name="connsiteY2" fmla="*/ 0 h 4270375"/>
              <a:gd name="connsiteX3" fmla="*/ 9156700 w 9156700"/>
              <a:gd name="connsiteY3" fmla="*/ 3923757 h 4270375"/>
              <a:gd name="connsiteX4" fmla="*/ 1342482 w 9156700"/>
              <a:gd name="connsiteY4" fmla="*/ 3908425 h 4270375"/>
              <a:gd name="connsiteX5" fmla="*/ 1190625 w 9156700"/>
              <a:gd name="connsiteY5" fmla="*/ 4264025 h 4270375"/>
              <a:gd name="connsiteX6" fmla="*/ 0 w 9156700"/>
              <a:gd name="connsiteY6" fmla="*/ 4270375 h 4270375"/>
              <a:gd name="connsiteX7" fmla="*/ 12700 w 9156700"/>
              <a:gd name="connsiteY7" fmla="*/ 708568 h 4270375"/>
              <a:gd name="connsiteX8" fmla="*/ 6893 w 9156700"/>
              <a:gd name="connsiteY8" fmla="*/ 9525 h 4270375"/>
              <a:gd name="connsiteX0" fmla="*/ 6893 w 9156700"/>
              <a:gd name="connsiteY0" fmla="*/ 9525 h 4264025"/>
              <a:gd name="connsiteX1" fmla="*/ 9156700 w 9156700"/>
              <a:gd name="connsiteY1" fmla="*/ 0 h 4264025"/>
              <a:gd name="connsiteX2" fmla="*/ 9156700 w 9156700"/>
              <a:gd name="connsiteY2" fmla="*/ 0 h 4264025"/>
              <a:gd name="connsiteX3" fmla="*/ 9156700 w 9156700"/>
              <a:gd name="connsiteY3" fmla="*/ 3923757 h 4264025"/>
              <a:gd name="connsiteX4" fmla="*/ 1342482 w 9156700"/>
              <a:gd name="connsiteY4" fmla="*/ 3908425 h 4264025"/>
              <a:gd name="connsiteX5" fmla="*/ 1190625 w 9156700"/>
              <a:gd name="connsiteY5" fmla="*/ 4264025 h 4264025"/>
              <a:gd name="connsiteX6" fmla="*/ 0 w 9156700"/>
              <a:gd name="connsiteY6" fmla="*/ 4257675 h 4264025"/>
              <a:gd name="connsiteX7" fmla="*/ 12700 w 9156700"/>
              <a:gd name="connsiteY7" fmla="*/ 708568 h 4264025"/>
              <a:gd name="connsiteX8" fmla="*/ 6893 w 9156700"/>
              <a:gd name="connsiteY8" fmla="*/ 9525 h 4264025"/>
              <a:gd name="connsiteX0" fmla="*/ 6893 w 9156700"/>
              <a:gd name="connsiteY0" fmla="*/ 9525 h 4264025"/>
              <a:gd name="connsiteX1" fmla="*/ 9156700 w 9156700"/>
              <a:gd name="connsiteY1" fmla="*/ 0 h 4264025"/>
              <a:gd name="connsiteX2" fmla="*/ 9156700 w 9156700"/>
              <a:gd name="connsiteY2" fmla="*/ 0 h 4264025"/>
              <a:gd name="connsiteX3" fmla="*/ 9156700 w 9156700"/>
              <a:gd name="connsiteY3" fmla="*/ 3923757 h 4264025"/>
              <a:gd name="connsiteX4" fmla="*/ 1342482 w 9156700"/>
              <a:gd name="connsiteY4" fmla="*/ 3921125 h 4264025"/>
              <a:gd name="connsiteX5" fmla="*/ 1190625 w 9156700"/>
              <a:gd name="connsiteY5" fmla="*/ 4264025 h 4264025"/>
              <a:gd name="connsiteX6" fmla="*/ 0 w 9156700"/>
              <a:gd name="connsiteY6" fmla="*/ 4257675 h 4264025"/>
              <a:gd name="connsiteX7" fmla="*/ 12700 w 9156700"/>
              <a:gd name="connsiteY7" fmla="*/ 708568 h 4264025"/>
              <a:gd name="connsiteX8" fmla="*/ 6893 w 9156700"/>
              <a:gd name="connsiteY8" fmla="*/ 9525 h 4264025"/>
              <a:gd name="connsiteX0" fmla="*/ 6893 w 9156700"/>
              <a:gd name="connsiteY0" fmla="*/ 9525 h 4283160"/>
              <a:gd name="connsiteX1" fmla="*/ 9156700 w 9156700"/>
              <a:gd name="connsiteY1" fmla="*/ 0 h 4283160"/>
              <a:gd name="connsiteX2" fmla="*/ 9156700 w 9156700"/>
              <a:gd name="connsiteY2" fmla="*/ 0 h 4283160"/>
              <a:gd name="connsiteX3" fmla="*/ 9156700 w 9156700"/>
              <a:gd name="connsiteY3" fmla="*/ 3923757 h 4283160"/>
              <a:gd name="connsiteX4" fmla="*/ 1342482 w 9156700"/>
              <a:gd name="connsiteY4" fmla="*/ 3921125 h 4283160"/>
              <a:gd name="connsiteX5" fmla="*/ 1203325 w 9156700"/>
              <a:gd name="connsiteY5" fmla="*/ 4283160 h 4283160"/>
              <a:gd name="connsiteX6" fmla="*/ 0 w 9156700"/>
              <a:gd name="connsiteY6" fmla="*/ 4257675 h 4283160"/>
              <a:gd name="connsiteX7" fmla="*/ 12700 w 9156700"/>
              <a:gd name="connsiteY7" fmla="*/ 708568 h 4283160"/>
              <a:gd name="connsiteX8" fmla="*/ 6893 w 9156700"/>
              <a:gd name="connsiteY8" fmla="*/ 9525 h 4283160"/>
              <a:gd name="connsiteX0" fmla="*/ 13243 w 9163050"/>
              <a:gd name="connsiteY0" fmla="*/ 9525 h 4295946"/>
              <a:gd name="connsiteX1" fmla="*/ 9163050 w 9163050"/>
              <a:gd name="connsiteY1" fmla="*/ 0 h 4295946"/>
              <a:gd name="connsiteX2" fmla="*/ 9163050 w 9163050"/>
              <a:gd name="connsiteY2" fmla="*/ 0 h 4295946"/>
              <a:gd name="connsiteX3" fmla="*/ 9163050 w 9163050"/>
              <a:gd name="connsiteY3" fmla="*/ 3923757 h 4295946"/>
              <a:gd name="connsiteX4" fmla="*/ 1348832 w 9163050"/>
              <a:gd name="connsiteY4" fmla="*/ 3921125 h 4295946"/>
              <a:gd name="connsiteX5" fmla="*/ 1209675 w 9163050"/>
              <a:gd name="connsiteY5" fmla="*/ 4283160 h 4295946"/>
              <a:gd name="connsiteX6" fmla="*/ 0 w 9163050"/>
              <a:gd name="connsiteY6" fmla="*/ 4295946 h 4295946"/>
              <a:gd name="connsiteX7" fmla="*/ 19050 w 9163050"/>
              <a:gd name="connsiteY7" fmla="*/ 708568 h 4295946"/>
              <a:gd name="connsiteX8" fmla="*/ 13243 w 9163050"/>
              <a:gd name="connsiteY8" fmla="*/ 9525 h 4295946"/>
              <a:gd name="connsiteX0" fmla="*/ 6893 w 9156700"/>
              <a:gd name="connsiteY0" fmla="*/ 9525 h 4283160"/>
              <a:gd name="connsiteX1" fmla="*/ 9156700 w 9156700"/>
              <a:gd name="connsiteY1" fmla="*/ 0 h 4283160"/>
              <a:gd name="connsiteX2" fmla="*/ 9156700 w 9156700"/>
              <a:gd name="connsiteY2" fmla="*/ 0 h 4283160"/>
              <a:gd name="connsiteX3" fmla="*/ 9156700 w 9156700"/>
              <a:gd name="connsiteY3" fmla="*/ 3923757 h 4283160"/>
              <a:gd name="connsiteX4" fmla="*/ 1342482 w 9156700"/>
              <a:gd name="connsiteY4" fmla="*/ 3921125 h 4283160"/>
              <a:gd name="connsiteX5" fmla="*/ 1203325 w 9156700"/>
              <a:gd name="connsiteY5" fmla="*/ 4283160 h 4283160"/>
              <a:gd name="connsiteX6" fmla="*/ 0 w 9156700"/>
              <a:gd name="connsiteY6" fmla="*/ 4276811 h 4283160"/>
              <a:gd name="connsiteX7" fmla="*/ 12700 w 9156700"/>
              <a:gd name="connsiteY7" fmla="*/ 708568 h 4283160"/>
              <a:gd name="connsiteX8" fmla="*/ 6893 w 9156700"/>
              <a:gd name="connsiteY8" fmla="*/ 9525 h 4283160"/>
              <a:gd name="connsiteX0" fmla="*/ 6893 w 9156700"/>
              <a:gd name="connsiteY0" fmla="*/ 9525 h 4283160"/>
              <a:gd name="connsiteX1" fmla="*/ 9156700 w 9156700"/>
              <a:gd name="connsiteY1" fmla="*/ 0 h 4283160"/>
              <a:gd name="connsiteX2" fmla="*/ 9156700 w 9156700"/>
              <a:gd name="connsiteY2" fmla="*/ 0 h 4283160"/>
              <a:gd name="connsiteX3" fmla="*/ 9156700 w 9156700"/>
              <a:gd name="connsiteY3" fmla="*/ 3923757 h 4283160"/>
              <a:gd name="connsiteX4" fmla="*/ 1342482 w 9156700"/>
              <a:gd name="connsiteY4" fmla="*/ 3921125 h 4283160"/>
              <a:gd name="connsiteX5" fmla="*/ 1203325 w 9156700"/>
              <a:gd name="connsiteY5" fmla="*/ 4283160 h 4283160"/>
              <a:gd name="connsiteX6" fmla="*/ 0 w 9156700"/>
              <a:gd name="connsiteY6" fmla="*/ 4276812 h 4283160"/>
              <a:gd name="connsiteX7" fmla="*/ 12700 w 9156700"/>
              <a:gd name="connsiteY7" fmla="*/ 708568 h 4283160"/>
              <a:gd name="connsiteX8" fmla="*/ 6893 w 9156700"/>
              <a:gd name="connsiteY8" fmla="*/ 9525 h 4283160"/>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21125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21125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30693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40261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40261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40261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59604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6812"/>
              <a:gd name="connsiteX1" fmla="*/ 9156700 w 9156700"/>
              <a:gd name="connsiteY1" fmla="*/ 0 h 4276812"/>
              <a:gd name="connsiteX2" fmla="*/ 9156700 w 9156700"/>
              <a:gd name="connsiteY2" fmla="*/ 0 h 4276812"/>
              <a:gd name="connsiteX3" fmla="*/ 9156700 w 9156700"/>
              <a:gd name="connsiteY3" fmla="*/ 3923757 h 4276812"/>
              <a:gd name="connsiteX4" fmla="*/ 1342482 w 9156700"/>
              <a:gd name="connsiteY4" fmla="*/ 3959604 h 4276812"/>
              <a:gd name="connsiteX5" fmla="*/ 1203325 w 9156700"/>
              <a:gd name="connsiteY5" fmla="*/ 4267882 h 4276812"/>
              <a:gd name="connsiteX6" fmla="*/ 0 w 9156700"/>
              <a:gd name="connsiteY6" fmla="*/ 4276812 h 4276812"/>
              <a:gd name="connsiteX7" fmla="*/ 12700 w 9156700"/>
              <a:gd name="connsiteY7" fmla="*/ 708568 h 4276812"/>
              <a:gd name="connsiteX8" fmla="*/ 6893 w 9156700"/>
              <a:gd name="connsiteY8" fmla="*/ 9525 h 427681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23757 h 4267882"/>
              <a:gd name="connsiteX4" fmla="*/ 1335658 w 9149876"/>
              <a:gd name="connsiteY4" fmla="*/ 3959604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23757 h 4267882"/>
              <a:gd name="connsiteX4" fmla="*/ 1335658 w 9149876"/>
              <a:gd name="connsiteY4" fmla="*/ 3959604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5658 w 9149876"/>
              <a:gd name="connsiteY4" fmla="*/ 3959604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5658 w 9149876"/>
              <a:gd name="connsiteY4" fmla="*/ 3959604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8039 w 9149876"/>
              <a:gd name="connsiteY4" fmla="*/ 3969276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8039 w 9149876"/>
              <a:gd name="connsiteY4" fmla="*/ 3954857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8039 w 9149876"/>
              <a:gd name="connsiteY4" fmla="*/ 3954857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8039 w 9149876"/>
              <a:gd name="connsiteY4" fmla="*/ 3954857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8039 w 9149876"/>
              <a:gd name="connsiteY4" fmla="*/ 3954857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54641"/>
              <a:gd name="connsiteY0" fmla="*/ 9525 h 4267882"/>
              <a:gd name="connsiteX1" fmla="*/ 9149876 w 9154641"/>
              <a:gd name="connsiteY1" fmla="*/ 0 h 4267882"/>
              <a:gd name="connsiteX2" fmla="*/ 9149876 w 9154641"/>
              <a:gd name="connsiteY2" fmla="*/ 0 h 4267882"/>
              <a:gd name="connsiteX3" fmla="*/ 9154641 w 9154641"/>
              <a:gd name="connsiteY3" fmla="*/ 3952802 h 4267882"/>
              <a:gd name="connsiteX4" fmla="*/ 1338039 w 9154641"/>
              <a:gd name="connsiteY4" fmla="*/ 3954857 h 4267882"/>
              <a:gd name="connsiteX5" fmla="*/ 1196501 w 9154641"/>
              <a:gd name="connsiteY5" fmla="*/ 4267882 h 4267882"/>
              <a:gd name="connsiteX6" fmla="*/ 2701 w 9154641"/>
              <a:gd name="connsiteY6" fmla="*/ 4264722 h 4267882"/>
              <a:gd name="connsiteX7" fmla="*/ 5876 w 9154641"/>
              <a:gd name="connsiteY7" fmla="*/ 708568 h 4267882"/>
              <a:gd name="connsiteX8" fmla="*/ 69 w 9154641"/>
              <a:gd name="connsiteY8" fmla="*/ 9525 h 4267882"/>
              <a:gd name="connsiteX0" fmla="*/ 69 w 9154641"/>
              <a:gd name="connsiteY0" fmla="*/ 0 h 4277584"/>
              <a:gd name="connsiteX1" fmla="*/ 9149876 w 9154641"/>
              <a:gd name="connsiteY1" fmla="*/ 9702 h 4277584"/>
              <a:gd name="connsiteX2" fmla="*/ 9149876 w 9154641"/>
              <a:gd name="connsiteY2" fmla="*/ 9702 h 4277584"/>
              <a:gd name="connsiteX3" fmla="*/ 9154641 w 9154641"/>
              <a:gd name="connsiteY3" fmla="*/ 3962504 h 4277584"/>
              <a:gd name="connsiteX4" fmla="*/ 1338039 w 9154641"/>
              <a:gd name="connsiteY4" fmla="*/ 3964559 h 4277584"/>
              <a:gd name="connsiteX5" fmla="*/ 1196501 w 9154641"/>
              <a:gd name="connsiteY5" fmla="*/ 4277584 h 4277584"/>
              <a:gd name="connsiteX6" fmla="*/ 2701 w 9154641"/>
              <a:gd name="connsiteY6" fmla="*/ 4274424 h 4277584"/>
              <a:gd name="connsiteX7" fmla="*/ 5876 w 9154641"/>
              <a:gd name="connsiteY7" fmla="*/ 718270 h 4277584"/>
              <a:gd name="connsiteX8" fmla="*/ 69 w 9154641"/>
              <a:gd name="connsiteY8" fmla="*/ 0 h 4277584"/>
              <a:gd name="connsiteX0" fmla="*/ 69 w 9154641"/>
              <a:gd name="connsiteY0" fmla="*/ 0 h 4277584"/>
              <a:gd name="connsiteX1" fmla="*/ 9149876 w 9154641"/>
              <a:gd name="connsiteY1" fmla="*/ 9702 h 4277584"/>
              <a:gd name="connsiteX2" fmla="*/ 9149876 w 9154641"/>
              <a:gd name="connsiteY2" fmla="*/ 89 h 4277584"/>
              <a:gd name="connsiteX3" fmla="*/ 9154641 w 9154641"/>
              <a:gd name="connsiteY3" fmla="*/ 3962504 h 4277584"/>
              <a:gd name="connsiteX4" fmla="*/ 1338039 w 9154641"/>
              <a:gd name="connsiteY4" fmla="*/ 3964559 h 4277584"/>
              <a:gd name="connsiteX5" fmla="*/ 1196501 w 9154641"/>
              <a:gd name="connsiteY5" fmla="*/ 4277584 h 4277584"/>
              <a:gd name="connsiteX6" fmla="*/ 2701 w 9154641"/>
              <a:gd name="connsiteY6" fmla="*/ 4274424 h 4277584"/>
              <a:gd name="connsiteX7" fmla="*/ 5876 w 9154641"/>
              <a:gd name="connsiteY7" fmla="*/ 718270 h 4277584"/>
              <a:gd name="connsiteX8" fmla="*/ 69 w 9154641"/>
              <a:gd name="connsiteY8" fmla="*/ 0 h 4277584"/>
              <a:gd name="connsiteX0" fmla="*/ 69 w 9154641"/>
              <a:gd name="connsiteY0" fmla="*/ 0 h 4277584"/>
              <a:gd name="connsiteX1" fmla="*/ 9149876 w 9154641"/>
              <a:gd name="connsiteY1" fmla="*/ 9702 h 4277584"/>
              <a:gd name="connsiteX2" fmla="*/ 9149876 w 9154641"/>
              <a:gd name="connsiteY2" fmla="*/ 89 h 4277584"/>
              <a:gd name="connsiteX3" fmla="*/ 9154641 w 9154641"/>
              <a:gd name="connsiteY3" fmla="*/ 3962504 h 4277584"/>
              <a:gd name="connsiteX4" fmla="*/ 1338039 w 9154641"/>
              <a:gd name="connsiteY4" fmla="*/ 3964559 h 4277584"/>
              <a:gd name="connsiteX5" fmla="*/ 1196501 w 9154641"/>
              <a:gd name="connsiteY5" fmla="*/ 4277584 h 4277584"/>
              <a:gd name="connsiteX6" fmla="*/ 2701 w 9154641"/>
              <a:gd name="connsiteY6" fmla="*/ 4274424 h 4277584"/>
              <a:gd name="connsiteX7" fmla="*/ 5876 w 9154641"/>
              <a:gd name="connsiteY7" fmla="*/ 718270 h 4277584"/>
              <a:gd name="connsiteX8" fmla="*/ 69 w 9154641"/>
              <a:gd name="connsiteY8" fmla="*/ 0 h 4277584"/>
              <a:gd name="connsiteX0" fmla="*/ 69 w 9154641"/>
              <a:gd name="connsiteY0" fmla="*/ 0 h 4277584"/>
              <a:gd name="connsiteX1" fmla="*/ 9149876 w 9154641"/>
              <a:gd name="connsiteY1" fmla="*/ 9702 h 4277584"/>
              <a:gd name="connsiteX2" fmla="*/ 9149876 w 9154641"/>
              <a:gd name="connsiteY2" fmla="*/ 89 h 4277584"/>
              <a:gd name="connsiteX3" fmla="*/ 9154641 w 9154641"/>
              <a:gd name="connsiteY3" fmla="*/ 3962504 h 4277584"/>
              <a:gd name="connsiteX4" fmla="*/ 1350697 w 9154641"/>
              <a:gd name="connsiteY4" fmla="*/ 3951741 h 4277584"/>
              <a:gd name="connsiteX5" fmla="*/ 1196501 w 9154641"/>
              <a:gd name="connsiteY5" fmla="*/ 4277584 h 4277584"/>
              <a:gd name="connsiteX6" fmla="*/ 2701 w 9154641"/>
              <a:gd name="connsiteY6" fmla="*/ 4274424 h 4277584"/>
              <a:gd name="connsiteX7" fmla="*/ 5876 w 9154641"/>
              <a:gd name="connsiteY7" fmla="*/ 718270 h 4277584"/>
              <a:gd name="connsiteX8" fmla="*/ 69 w 9154641"/>
              <a:gd name="connsiteY8" fmla="*/ 0 h 4277584"/>
              <a:gd name="connsiteX0" fmla="*/ 69 w 9154641"/>
              <a:gd name="connsiteY0" fmla="*/ 0 h 4277584"/>
              <a:gd name="connsiteX1" fmla="*/ 9149876 w 9154641"/>
              <a:gd name="connsiteY1" fmla="*/ 9702 h 4277584"/>
              <a:gd name="connsiteX2" fmla="*/ 9149876 w 9154641"/>
              <a:gd name="connsiteY2" fmla="*/ 89 h 4277584"/>
              <a:gd name="connsiteX3" fmla="*/ 9154641 w 9154641"/>
              <a:gd name="connsiteY3" fmla="*/ 3962504 h 4277584"/>
              <a:gd name="connsiteX4" fmla="*/ 1350697 w 9154641"/>
              <a:gd name="connsiteY4" fmla="*/ 3951741 h 4277584"/>
              <a:gd name="connsiteX5" fmla="*/ 1196501 w 9154641"/>
              <a:gd name="connsiteY5" fmla="*/ 4277584 h 4277584"/>
              <a:gd name="connsiteX6" fmla="*/ 2701 w 9154641"/>
              <a:gd name="connsiteY6" fmla="*/ 4274424 h 4277584"/>
              <a:gd name="connsiteX7" fmla="*/ 5876 w 9154641"/>
              <a:gd name="connsiteY7" fmla="*/ 718270 h 4277584"/>
              <a:gd name="connsiteX8" fmla="*/ 69 w 9154641"/>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52890 h 4277584"/>
              <a:gd name="connsiteX4" fmla="*/ 1350697 w 9150032"/>
              <a:gd name="connsiteY4" fmla="*/ 3951741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52890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52890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0600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41204 w 9150032"/>
              <a:gd name="connsiteY4" fmla="*/ 3965431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41204 w 9150032"/>
              <a:gd name="connsiteY4" fmla="*/ 3967847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3015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5431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3015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3015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3015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3015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4357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4357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4357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4357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4357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4357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3645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3645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3645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3645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3645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26964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26964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26964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19844 w 9150032"/>
              <a:gd name="connsiteY4" fmla="*/ 3967847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26965 w 9150032"/>
              <a:gd name="connsiteY4" fmla="*/ 3960599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3115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9257"/>
              <a:gd name="connsiteX1" fmla="*/ 9149876 w 9150032"/>
              <a:gd name="connsiteY1" fmla="*/ 9702 h 4279257"/>
              <a:gd name="connsiteX2" fmla="*/ 9149876 w 9150032"/>
              <a:gd name="connsiteY2" fmla="*/ 89 h 4279257"/>
              <a:gd name="connsiteX3" fmla="*/ 9141983 w 9150032"/>
              <a:gd name="connsiteY3" fmla="*/ 3960138 h 4279257"/>
              <a:gd name="connsiteX4" fmla="*/ 1326965 w 9150032"/>
              <a:gd name="connsiteY4" fmla="*/ 3960599 h 4279257"/>
              <a:gd name="connsiteX5" fmla="*/ 1213115 w 9150032"/>
              <a:gd name="connsiteY5" fmla="*/ 4275168 h 4279257"/>
              <a:gd name="connsiteX6" fmla="*/ 2701 w 9150032"/>
              <a:gd name="connsiteY6" fmla="*/ 4279257 h 4279257"/>
              <a:gd name="connsiteX7" fmla="*/ 5876 w 9150032"/>
              <a:gd name="connsiteY7" fmla="*/ 718270 h 4279257"/>
              <a:gd name="connsiteX8" fmla="*/ 69 w 9150032"/>
              <a:gd name="connsiteY8" fmla="*/ 0 h 4279257"/>
              <a:gd name="connsiteX0" fmla="*/ 69 w 9150032"/>
              <a:gd name="connsiteY0" fmla="*/ 0 h 4282416"/>
              <a:gd name="connsiteX1" fmla="*/ 9149876 w 9150032"/>
              <a:gd name="connsiteY1" fmla="*/ 9702 h 4282416"/>
              <a:gd name="connsiteX2" fmla="*/ 9149876 w 9150032"/>
              <a:gd name="connsiteY2" fmla="*/ 89 h 4282416"/>
              <a:gd name="connsiteX3" fmla="*/ 9141983 w 9150032"/>
              <a:gd name="connsiteY3" fmla="*/ 3960138 h 4282416"/>
              <a:gd name="connsiteX4" fmla="*/ 1326965 w 9150032"/>
              <a:gd name="connsiteY4" fmla="*/ 3960599 h 4282416"/>
              <a:gd name="connsiteX5" fmla="*/ 1210742 w 9150032"/>
              <a:gd name="connsiteY5" fmla="*/ 4282416 h 4282416"/>
              <a:gd name="connsiteX6" fmla="*/ 2701 w 9150032"/>
              <a:gd name="connsiteY6" fmla="*/ 4279257 h 4282416"/>
              <a:gd name="connsiteX7" fmla="*/ 5876 w 9150032"/>
              <a:gd name="connsiteY7" fmla="*/ 718270 h 4282416"/>
              <a:gd name="connsiteX8" fmla="*/ 69 w 9150032"/>
              <a:gd name="connsiteY8" fmla="*/ 0 h 4282416"/>
              <a:gd name="connsiteX0" fmla="*/ 69 w 9150032"/>
              <a:gd name="connsiteY0" fmla="*/ 0 h 4282416"/>
              <a:gd name="connsiteX1" fmla="*/ 9149876 w 9150032"/>
              <a:gd name="connsiteY1" fmla="*/ 9702 h 4282416"/>
              <a:gd name="connsiteX2" fmla="*/ 9149876 w 9150032"/>
              <a:gd name="connsiteY2" fmla="*/ 89 h 4282416"/>
              <a:gd name="connsiteX3" fmla="*/ 9141983 w 9150032"/>
              <a:gd name="connsiteY3" fmla="*/ 3960138 h 4282416"/>
              <a:gd name="connsiteX4" fmla="*/ 1326965 w 9150032"/>
              <a:gd name="connsiteY4" fmla="*/ 3960599 h 4282416"/>
              <a:gd name="connsiteX5" fmla="*/ 1210742 w 9150032"/>
              <a:gd name="connsiteY5" fmla="*/ 4282416 h 4282416"/>
              <a:gd name="connsiteX6" fmla="*/ 2701 w 9150032"/>
              <a:gd name="connsiteY6" fmla="*/ 4279257 h 4282416"/>
              <a:gd name="connsiteX7" fmla="*/ 5876 w 9150032"/>
              <a:gd name="connsiteY7" fmla="*/ 718270 h 4282416"/>
              <a:gd name="connsiteX8" fmla="*/ 69 w 9150032"/>
              <a:gd name="connsiteY8" fmla="*/ 0 h 4282416"/>
              <a:gd name="connsiteX0" fmla="*/ 69 w 9150032"/>
              <a:gd name="connsiteY0" fmla="*/ 0 h 4279257"/>
              <a:gd name="connsiteX1" fmla="*/ 9149876 w 9150032"/>
              <a:gd name="connsiteY1" fmla="*/ 9702 h 4279257"/>
              <a:gd name="connsiteX2" fmla="*/ 9149876 w 9150032"/>
              <a:gd name="connsiteY2" fmla="*/ 89 h 4279257"/>
              <a:gd name="connsiteX3" fmla="*/ 9141983 w 9150032"/>
              <a:gd name="connsiteY3" fmla="*/ 3960138 h 4279257"/>
              <a:gd name="connsiteX4" fmla="*/ 1326965 w 9150032"/>
              <a:gd name="connsiteY4" fmla="*/ 3960599 h 4279257"/>
              <a:gd name="connsiteX5" fmla="*/ 1210742 w 9150032"/>
              <a:gd name="connsiteY5" fmla="*/ 4277583 h 4279257"/>
              <a:gd name="connsiteX6" fmla="*/ 2701 w 9150032"/>
              <a:gd name="connsiteY6" fmla="*/ 4279257 h 4279257"/>
              <a:gd name="connsiteX7" fmla="*/ 5876 w 9150032"/>
              <a:gd name="connsiteY7" fmla="*/ 718270 h 4279257"/>
              <a:gd name="connsiteX8" fmla="*/ 69 w 9150032"/>
              <a:gd name="connsiteY8" fmla="*/ 0 h 4279257"/>
              <a:gd name="connsiteX0" fmla="*/ 69 w 9150032"/>
              <a:gd name="connsiteY0" fmla="*/ 0 h 4284831"/>
              <a:gd name="connsiteX1" fmla="*/ 9149876 w 9150032"/>
              <a:gd name="connsiteY1" fmla="*/ 9702 h 4284831"/>
              <a:gd name="connsiteX2" fmla="*/ 9149876 w 9150032"/>
              <a:gd name="connsiteY2" fmla="*/ 89 h 4284831"/>
              <a:gd name="connsiteX3" fmla="*/ 9141983 w 9150032"/>
              <a:gd name="connsiteY3" fmla="*/ 3960138 h 4284831"/>
              <a:gd name="connsiteX4" fmla="*/ 1326965 w 9150032"/>
              <a:gd name="connsiteY4" fmla="*/ 3960599 h 4284831"/>
              <a:gd name="connsiteX5" fmla="*/ 1210742 w 9150032"/>
              <a:gd name="connsiteY5" fmla="*/ 4284831 h 4284831"/>
              <a:gd name="connsiteX6" fmla="*/ 2701 w 9150032"/>
              <a:gd name="connsiteY6" fmla="*/ 4279257 h 4284831"/>
              <a:gd name="connsiteX7" fmla="*/ 5876 w 9150032"/>
              <a:gd name="connsiteY7" fmla="*/ 718270 h 4284831"/>
              <a:gd name="connsiteX8" fmla="*/ 69 w 9150032"/>
              <a:gd name="connsiteY8" fmla="*/ 0 h 4284831"/>
              <a:gd name="connsiteX0" fmla="*/ 69 w 9150032"/>
              <a:gd name="connsiteY0" fmla="*/ 0 h 4279257"/>
              <a:gd name="connsiteX1" fmla="*/ 9149876 w 9150032"/>
              <a:gd name="connsiteY1" fmla="*/ 9702 h 4279257"/>
              <a:gd name="connsiteX2" fmla="*/ 9149876 w 9150032"/>
              <a:gd name="connsiteY2" fmla="*/ 89 h 4279257"/>
              <a:gd name="connsiteX3" fmla="*/ 9141983 w 9150032"/>
              <a:gd name="connsiteY3" fmla="*/ 3960138 h 4279257"/>
              <a:gd name="connsiteX4" fmla="*/ 1326965 w 9150032"/>
              <a:gd name="connsiteY4" fmla="*/ 3960599 h 4279257"/>
              <a:gd name="connsiteX5" fmla="*/ 1210742 w 9150032"/>
              <a:gd name="connsiteY5" fmla="*/ 4277583 h 4279257"/>
              <a:gd name="connsiteX6" fmla="*/ 2701 w 9150032"/>
              <a:gd name="connsiteY6" fmla="*/ 4279257 h 4279257"/>
              <a:gd name="connsiteX7" fmla="*/ 5876 w 9150032"/>
              <a:gd name="connsiteY7" fmla="*/ 718270 h 4279257"/>
              <a:gd name="connsiteX8" fmla="*/ 69 w 9150032"/>
              <a:gd name="connsiteY8" fmla="*/ 0 h 4279257"/>
              <a:gd name="connsiteX0" fmla="*/ 69 w 9150032"/>
              <a:gd name="connsiteY0" fmla="*/ 0 h 4282416"/>
              <a:gd name="connsiteX1" fmla="*/ 9149876 w 9150032"/>
              <a:gd name="connsiteY1" fmla="*/ 9702 h 4282416"/>
              <a:gd name="connsiteX2" fmla="*/ 9149876 w 9150032"/>
              <a:gd name="connsiteY2" fmla="*/ 89 h 4282416"/>
              <a:gd name="connsiteX3" fmla="*/ 9141983 w 9150032"/>
              <a:gd name="connsiteY3" fmla="*/ 3960138 h 4282416"/>
              <a:gd name="connsiteX4" fmla="*/ 1326965 w 9150032"/>
              <a:gd name="connsiteY4" fmla="*/ 3960599 h 4282416"/>
              <a:gd name="connsiteX5" fmla="*/ 1213116 w 9150032"/>
              <a:gd name="connsiteY5" fmla="*/ 4282416 h 4282416"/>
              <a:gd name="connsiteX6" fmla="*/ 2701 w 9150032"/>
              <a:gd name="connsiteY6" fmla="*/ 4279257 h 4282416"/>
              <a:gd name="connsiteX7" fmla="*/ 5876 w 9150032"/>
              <a:gd name="connsiteY7" fmla="*/ 718270 h 4282416"/>
              <a:gd name="connsiteX8" fmla="*/ 69 w 9150032"/>
              <a:gd name="connsiteY8" fmla="*/ 0 h 4282416"/>
              <a:gd name="connsiteX0" fmla="*/ 69 w 9150032"/>
              <a:gd name="connsiteY0" fmla="*/ 0 h 4284089"/>
              <a:gd name="connsiteX1" fmla="*/ 9149876 w 9150032"/>
              <a:gd name="connsiteY1" fmla="*/ 9702 h 4284089"/>
              <a:gd name="connsiteX2" fmla="*/ 9149876 w 9150032"/>
              <a:gd name="connsiteY2" fmla="*/ 89 h 4284089"/>
              <a:gd name="connsiteX3" fmla="*/ 9141983 w 9150032"/>
              <a:gd name="connsiteY3" fmla="*/ 3960138 h 4284089"/>
              <a:gd name="connsiteX4" fmla="*/ 1326965 w 9150032"/>
              <a:gd name="connsiteY4" fmla="*/ 3960599 h 4284089"/>
              <a:gd name="connsiteX5" fmla="*/ 1213116 w 9150032"/>
              <a:gd name="connsiteY5" fmla="*/ 4282416 h 4284089"/>
              <a:gd name="connsiteX6" fmla="*/ 2701 w 9150032"/>
              <a:gd name="connsiteY6" fmla="*/ 4284089 h 4284089"/>
              <a:gd name="connsiteX7" fmla="*/ 5876 w 9150032"/>
              <a:gd name="connsiteY7" fmla="*/ 718270 h 4284089"/>
              <a:gd name="connsiteX8" fmla="*/ 69 w 9150032"/>
              <a:gd name="connsiteY8" fmla="*/ 0 h 4284089"/>
              <a:gd name="connsiteX0" fmla="*/ 69 w 9150032"/>
              <a:gd name="connsiteY0" fmla="*/ 0 h 4282416"/>
              <a:gd name="connsiteX1" fmla="*/ 9149876 w 9150032"/>
              <a:gd name="connsiteY1" fmla="*/ 9702 h 4282416"/>
              <a:gd name="connsiteX2" fmla="*/ 9149876 w 9150032"/>
              <a:gd name="connsiteY2" fmla="*/ 89 h 4282416"/>
              <a:gd name="connsiteX3" fmla="*/ 9141983 w 9150032"/>
              <a:gd name="connsiteY3" fmla="*/ 3960138 h 4282416"/>
              <a:gd name="connsiteX4" fmla="*/ 1326965 w 9150032"/>
              <a:gd name="connsiteY4" fmla="*/ 3960599 h 4282416"/>
              <a:gd name="connsiteX5" fmla="*/ 1213116 w 9150032"/>
              <a:gd name="connsiteY5" fmla="*/ 4282416 h 4282416"/>
              <a:gd name="connsiteX6" fmla="*/ 5075 w 9150032"/>
              <a:gd name="connsiteY6" fmla="*/ 4281672 h 4282416"/>
              <a:gd name="connsiteX7" fmla="*/ 5876 w 9150032"/>
              <a:gd name="connsiteY7" fmla="*/ 718270 h 4282416"/>
              <a:gd name="connsiteX8" fmla="*/ 69 w 9150032"/>
              <a:gd name="connsiteY8" fmla="*/ 0 h 4282416"/>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6965 w 9150032"/>
              <a:gd name="connsiteY4" fmla="*/ 3960599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31713 w 9150032"/>
              <a:gd name="connsiteY4" fmla="*/ 3960599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31713 w 9150032"/>
              <a:gd name="connsiteY4" fmla="*/ 3960599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2219 w 9150032"/>
              <a:gd name="connsiteY4" fmla="*/ 3970263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9340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9340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9340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9340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9340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9340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6967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26967 w 9150006"/>
              <a:gd name="connsiteY4" fmla="*/ 3965430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26967 w 9150006"/>
              <a:gd name="connsiteY4" fmla="*/ 3965430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26967 w 9150006"/>
              <a:gd name="connsiteY4" fmla="*/ 3965430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26967 w 9150006"/>
              <a:gd name="connsiteY4" fmla="*/ 3965430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31714 w 9150006"/>
              <a:gd name="connsiteY4" fmla="*/ 3963015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05053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05053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05053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05053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70986 w 9150006"/>
              <a:gd name="connsiteY5" fmla="*/ 4017134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70986 w 9150006"/>
              <a:gd name="connsiteY5" fmla="*/ 4007470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6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6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6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6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75733 w 9150006"/>
              <a:gd name="connsiteY5" fmla="*/ 4005054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73360 w 9150006"/>
              <a:gd name="connsiteY5" fmla="*/ 4002638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70987 w 9150006"/>
              <a:gd name="connsiteY5" fmla="*/ 4009885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70987 w 9150006"/>
              <a:gd name="connsiteY5" fmla="*/ 4009885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5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5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5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806 w 9152201"/>
              <a:gd name="connsiteY0" fmla="*/ 0 h 4280000"/>
              <a:gd name="connsiteX1" fmla="*/ 9150613 w 9152201"/>
              <a:gd name="connsiteY1" fmla="*/ 9702 h 4280000"/>
              <a:gd name="connsiteX2" fmla="*/ 9150613 w 9152201"/>
              <a:gd name="connsiteY2" fmla="*/ 89 h 4280000"/>
              <a:gd name="connsiteX3" fmla="*/ 9140347 w 9152201"/>
              <a:gd name="connsiteY3" fmla="*/ 3967387 h 4280000"/>
              <a:gd name="connsiteX4" fmla="*/ 1344317 w 9152201"/>
              <a:gd name="connsiteY4" fmla="*/ 3963016 h 4280000"/>
              <a:gd name="connsiteX5" fmla="*/ 1269350 w 9152201"/>
              <a:gd name="connsiteY5" fmla="*/ 4009885 h 4280000"/>
              <a:gd name="connsiteX6" fmla="*/ 1262230 w 9152201"/>
              <a:gd name="connsiteY6" fmla="*/ 4220084 h 4280000"/>
              <a:gd name="connsiteX7" fmla="*/ 1213854 w 9152201"/>
              <a:gd name="connsiteY7" fmla="*/ 4280000 h 4280000"/>
              <a:gd name="connsiteX8" fmla="*/ 4376 w 9152201"/>
              <a:gd name="connsiteY8" fmla="*/ 4265541 h 4280000"/>
              <a:gd name="connsiteX9" fmla="*/ 6613 w 9152201"/>
              <a:gd name="connsiteY9" fmla="*/ 718270 h 4280000"/>
              <a:gd name="connsiteX10" fmla="*/ 806 w 9152201"/>
              <a:gd name="connsiteY10" fmla="*/ 0 h 4280000"/>
              <a:gd name="connsiteX0" fmla="*/ 806 w 9152201"/>
              <a:gd name="connsiteY0" fmla="*/ 0 h 4280000"/>
              <a:gd name="connsiteX1" fmla="*/ 9150613 w 9152201"/>
              <a:gd name="connsiteY1" fmla="*/ 9702 h 4280000"/>
              <a:gd name="connsiteX2" fmla="*/ 9150613 w 9152201"/>
              <a:gd name="connsiteY2" fmla="*/ 89 h 4280000"/>
              <a:gd name="connsiteX3" fmla="*/ 9140347 w 9152201"/>
              <a:gd name="connsiteY3" fmla="*/ 3967387 h 4280000"/>
              <a:gd name="connsiteX4" fmla="*/ 1344317 w 9152201"/>
              <a:gd name="connsiteY4" fmla="*/ 3963016 h 4280000"/>
              <a:gd name="connsiteX5" fmla="*/ 1269350 w 9152201"/>
              <a:gd name="connsiteY5" fmla="*/ 4009885 h 4280000"/>
              <a:gd name="connsiteX6" fmla="*/ 1262230 w 9152201"/>
              <a:gd name="connsiteY6" fmla="*/ 4220084 h 4280000"/>
              <a:gd name="connsiteX7" fmla="*/ 1196100 w 9152201"/>
              <a:gd name="connsiteY7" fmla="*/ 4280000 h 4280000"/>
              <a:gd name="connsiteX8" fmla="*/ 4376 w 9152201"/>
              <a:gd name="connsiteY8" fmla="*/ 4265541 h 4280000"/>
              <a:gd name="connsiteX9" fmla="*/ 6613 w 9152201"/>
              <a:gd name="connsiteY9" fmla="*/ 718270 h 4280000"/>
              <a:gd name="connsiteX10" fmla="*/ 806 w 9152201"/>
              <a:gd name="connsiteY10" fmla="*/ 0 h 4280000"/>
              <a:gd name="connsiteX0" fmla="*/ 806 w 9152201"/>
              <a:gd name="connsiteY0" fmla="*/ 0 h 4265541"/>
              <a:gd name="connsiteX1" fmla="*/ 9150613 w 9152201"/>
              <a:gd name="connsiteY1" fmla="*/ 9702 h 4265541"/>
              <a:gd name="connsiteX2" fmla="*/ 9150613 w 9152201"/>
              <a:gd name="connsiteY2" fmla="*/ 89 h 4265541"/>
              <a:gd name="connsiteX3" fmla="*/ 9140347 w 9152201"/>
              <a:gd name="connsiteY3" fmla="*/ 3967387 h 4265541"/>
              <a:gd name="connsiteX4" fmla="*/ 1344317 w 9152201"/>
              <a:gd name="connsiteY4" fmla="*/ 3963016 h 4265541"/>
              <a:gd name="connsiteX5" fmla="*/ 1269350 w 9152201"/>
              <a:gd name="connsiteY5" fmla="*/ 4009885 h 4265541"/>
              <a:gd name="connsiteX6" fmla="*/ 1262230 w 9152201"/>
              <a:gd name="connsiteY6" fmla="*/ 4220084 h 4265541"/>
              <a:gd name="connsiteX7" fmla="*/ 1196100 w 9152201"/>
              <a:gd name="connsiteY7" fmla="*/ 4258492 h 4265541"/>
              <a:gd name="connsiteX8" fmla="*/ 4376 w 9152201"/>
              <a:gd name="connsiteY8" fmla="*/ 4265541 h 4265541"/>
              <a:gd name="connsiteX9" fmla="*/ 6613 w 9152201"/>
              <a:gd name="connsiteY9" fmla="*/ 718270 h 4265541"/>
              <a:gd name="connsiteX10" fmla="*/ 806 w 9152201"/>
              <a:gd name="connsiteY10" fmla="*/ 0 h 4265541"/>
              <a:gd name="connsiteX0" fmla="*/ 806 w 9152201"/>
              <a:gd name="connsiteY0" fmla="*/ 0 h 4268653"/>
              <a:gd name="connsiteX1" fmla="*/ 9150613 w 9152201"/>
              <a:gd name="connsiteY1" fmla="*/ 9702 h 4268653"/>
              <a:gd name="connsiteX2" fmla="*/ 9150613 w 9152201"/>
              <a:gd name="connsiteY2" fmla="*/ 89 h 4268653"/>
              <a:gd name="connsiteX3" fmla="*/ 9140347 w 9152201"/>
              <a:gd name="connsiteY3" fmla="*/ 3967387 h 4268653"/>
              <a:gd name="connsiteX4" fmla="*/ 1344317 w 9152201"/>
              <a:gd name="connsiteY4" fmla="*/ 3963016 h 4268653"/>
              <a:gd name="connsiteX5" fmla="*/ 1269350 w 9152201"/>
              <a:gd name="connsiteY5" fmla="*/ 4009885 h 4268653"/>
              <a:gd name="connsiteX6" fmla="*/ 1262230 w 9152201"/>
              <a:gd name="connsiteY6" fmla="*/ 4220084 h 4268653"/>
              <a:gd name="connsiteX7" fmla="*/ 1173736 w 9152201"/>
              <a:gd name="connsiteY7" fmla="*/ 4268653 h 4268653"/>
              <a:gd name="connsiteX8" fmla="*/ 4376 w 9152201"/>
              <a:gd name="connsiteY8" fmla="*/ 4265541 h 4268653"/>
              <a:gd name="connsiteX9" fmla="*/ 6613 w 9152201"/>
              <a:gd name="connsiteY9" fmla="*/ 718270 h 4268653"/>
              <a:gd name="connsiteX10" fmla="*/ 806 w 9152201"/>
              <a:gd name="connsiteY10" fmla="*/ 0 h 4268653"/>
              <a:gd name="connsiteX0" fmla="*/ 806 w 9152201"/>
              <a:gd name="connsiteY0" fmla="*/ 0 h 4275580"/>
              <a:gd name="connsiteX1" fmla="*/ 9150613 w 9152201"/>
              <a:gd name="connsiteY1" fmla="*/ 9702 h 4275580"/>
              <a:gd name="connsiteX2" fmla="*/ 9150613 w 9152201"/>
              <a:gd name="connsiteY2" fmla="*/ 89 h 4275580"/>
              <a:gd name="connsiteX3" fmla="*/ 9140347 w 9152201"/>
              <a:gd name="connsiteY3" fmla="*/ 3967387 h 4275580"/>
              <a:gd name="connsiteX4" fmla="*/ 1344317 w 9152201"/>
              <a:gd name="connsiteY4" fmla="*/ 3963016 h 4275580"/>
              <a:gd name="connsiteX5" fmla="*/ 1269350 w 9152201"/>
              <a:gd name="connsiteY5" fmla="*/ 4009885 h 4275580"/>
              <a:gd name="connsiteX6" fmla="*/ 1262230 w 9152201"/>
              <a:gd name="connsiteY6" fmla="*/ 4220084 h 4275580"/>
              <a:gd name="connsiteX7" fmla="*/ 1173736 w 9152201"/>
              <a:gd name="connsiteY7" fmla="*/ 4268653 h 4275580"/>
              <a:gd name="connsiteX8" fmla="*/ 4376 w 9152201"/>
              <a:gd name="connsiteY8" fmla="*/ 4265541 h 4275580"/>
              <a:gd name="connsiteX9" fmla="*/ 6613 w 9152201"/>
              <a:gd name="connsiteY9" fmla="*/ 718270 h 4275580"/>
              <a:gd name="connsiteX10" fmla="*/ 806 w 9152201"/>
              <a:gd name="connsiteY10" fmla="*/ 0 h 4275580"/>
              <a:gd name="connsiteX0" fmla="*/ 806 w 9152201"/>
              <a:gd name="connsiteY0" fmla="*/ 0 h 4268653"/>
              <a:gd name="connsiteX1" fmla="*/ 9150613 w 9152201"/>
              <a:gd name="connsiteY1" fmla="*/ 9702 h 4268653"/>
              <a:gd name="connsiteX2" fmla="*/ 9150613 w 9152201"/>
              <a:gd name="connsiteY2" fmla="*/ 89 h 4268653"/>
              <a:gd name="connsiteX3" fmla="*/ 9140347 w 9152201"/>
              <a:gd name="connsiteY3" fmla="*/ 3967387 h 4268653"/>
              <a:gd name="connsiteX4" fmla="*/ 1344317 w 9152201"/>
              <a:gd name="connsiteY4" fmla="*/ 3963016 h 4268653"/>
              <a:gd name="connsiteX5" fmla="*/ 1269350 w 9152201"/>
              <a:gd name="connsiteY5" fmla="*/ 4009885 h 4268653"/>
              <a:gd name="connsiteX6" fmla="*/ 1262230 w 9152201"/>
              <a:gd name="connsiteY6" fmla="*/ 4220084 h 4268653"/>
              <a:gd name="connsiteX7" fmla="*/ 1173736 w 9152201"/>
              <a:gd name="connsiteY7" fmla="*/ 4268653 h 4268653"/>
              <a:gd name="connsiteX8" fmla="*/ 4376 w 9152201"/>
              <a:gd name="connsiteY8" fmla="*/ 4265541 h 4268653"/>
              <a:gd name="connsiteX9" fmla="*/ 6613 w 9152201"/>
              <a:gd name="connsiteY9" fmla="*/ 718270 h 4268653"/>
              <a:gd name="connsiteX10" fmla="*/ 806 w 9152201"/>
              <a:gd name="connsiteY10" fmla="*/ 0 h 4268653"/>
              <a:gd name="connsiteX0" fmla="*/ 806 w 9152201"/>
              <a:gd name="connsiteY0" fmla="*/ 0 h 4290821"/>
              <a:gd name="connsiteX1" fmla="*/ 9150613 w 9152201"/>
              <a:gd name="connsiteY1" fmla="*/ 9702 h 4290821"/>
              <a:gd name="connsiteX2" fmla="*/ 9150613 w 9152201"/>
              <a:gd name="connsiteY2" fmla="*/ 89 h 4290821"/>
              <a:gd name="connsiteX3" fmla="*/ 9140347 w 9152201"/>
              <a:gd name="connsiteY3" fmla="*/ 3967387 h 4290821"/>
              <a:gd name="connsiteX4" fmla="*/ 1344317 w 9152201"/>
              <a:gd name="connsiteY4" fmla="*/ 3963016 h 4290821"/>
              <a:gd name="connsiteX5" fmla="*/ 1269350 w 9152201"/>
              <a:gd name="connsiteY5" fmla="*/ 4009885 h 4290821"/>
              <a:gd name="connsiteX6" fmla="*/ 1262230 w 9152201"/>
              <a:gd name="connsiteY6" fmla="*/ 4220084 h 4290821"/>
              <a:gd name="connsiteX7" fmla="*/ 1173736 w 9152201"/>
              <a:gd name="connsiteY7" fmla="*/ 4268653 h 4290821"/>
              <a:gd name="connsiteX8" fmla="*/ 4376 w 9152201"/>
              <a:gd name="connsiteY8" fmla="*/ 4265541 h 4290821"/>
              <a:gd name="connsiteX9" fmla="*/ 6613 w 9152201"/>
              <a:gd name="connsiteY9" fmla="*/ 718270 h 4290821"/>
              <a:gd name="connsiteX10" fmla="*/ 806 w 9152201"/>
              <a:gd name="connsiteY10" fmla="*/ 0 h 4290821"/>
              <a:gd name="connsiteX0" fmla="*/ 806 w 9152201"/>
              <a:gd name="connsiteY0" fmla="*/ 0 h 4270324"/>
              <a:gd name="connsiteX1" fmla="*/ 9150613 w 9152201"/>
              <a:gd name="connsiteY1" fmla="*/ 9702 h 4270324"/>
              <a:gd name="connsiteX2" fmla="*/ 9150613 w 9152201"/>
              <a:gd name="connsiteY2" fmla="*/ 89 h 4270324"/>
              <a:gd name="connsiteX3" fmla="*/ 9140347 w 9152201"/>
              <a:gd name="connsiteY3" fmla="*/ 3967387 h 4270324"/>
              <a:gd name="connsiteX4" fmla="*/ 1344317 w 9152201"/>
              <a:gd name="connsiteY4" fmla="*/ 3963016 h 4270324"/>
              <a:gd name="connsiteX5" fmla="*/ 1269350 w 9152201"/>
              <a:gd name="connsiteY5" fmla="*/ 4009885 h 4270324"/>
              <a:gd name="connsiteX6" fmla="*/ 1262230 w 9152201"/>
              <a:gd name="connsiteY6" fmla="*/ 4220084 h 4270324"/>
              <a:gd name="connsiteX7" fmla="*/ 1173736 w 9152201"/>
              <a:gd name="connsiteY7" fmla="*/ 4268653 h 4270324"/>
              <a:gd name="connsiteX8" fmla="*/ 4376 w 9152201"/>
              <a:gd name="connsiteY8" fmla="*/ 4265541 h 4270324"/>
              <a:gd name="connsiteX9" fmla="*/ 6613 w 9152201"/>
              <a:gd name="connsiteY9" fmla="*/ 718270 h 4270324"/>
              <a:gd name="connsiteX10" fmla="*/ 806 w 9152201"/>
              <a:gd name="connsiteY10" fmla="*/ 0 h 4270324"/>
              <a:gd name="connsiteX0" fmla="*/ 806 w 9152201"/>
              <a:gd name="connsiteY0" fmla="*/ 0 h 4275702"/>
              <a:gd name="connsiteX1" fmla="*/ 9150613 w 9152201"/>
              <a:gd name="connsiteY1" fmla="*/ 9702 h 4275702"/>
              <a:gd name="connsiteX2" fmla="*/ 9150613 w 9152201"/>
              <a:gd name="connsiteY2" fmla="*/ 89 h 4275702"/>
              <a:gd name="connsiteX3" fmla="*/ 9140347 w 9152201"/>
              <a:gd name="connsiteY3" fmla="*/ 3967387 h 4275702"/>
              <a:gd name="connsiteX4" fmla="*/ 1344317 w 9152201"/>
              <a:gd name="connsiteY4" fmla="*/ 3963016 h 4275702"/>
              <a:gd name="connsiteX5" fmla="*/ 1269350 w 9152201"/>
              <a:gd name="connsiteY5" fmla="*/ 4009885 h 4275702"/>
              <a:gd name="connsiteX6" fmla="*/ 1262230 w 9152201"/>
              <a:gd name="connsiteY6" fmla="*/ 4220084 h 4275702"/>
              <a:gd name="connsiteX7" fmla="*/ 1173736 w 9152201"/>
              <a:gd name="connsiteY7" fmla="*/ 4268653 h 4275702"/>
              <a:gd name="connsiteX8" fmla="*/ 0 w 9152201"/>
              <a:gd name="connsiteY8" fmla="*/ 4275702 h 4275702"/>
              <a:gd name="connsiteX9" fmla="*/ 6613 w 9152201"/>
              <a:gd name="connsiteY9" fmla="*/ 718270 h 4275702"/>
              <a:gd name="connsiteX10" fmla="*/ 806 w 9152201"/>
              <a:gd name="connsiteY10" fmla="*/ 0 h 4275702"/>
              <a:gd name="connsiteX0" fmla="*/ 806 w 9152201"/>
              <a:gd name="connsiteY0" fmla="*/ 0 h 4270324"/>
              <a:gd name="connsiteX1" fmla="*/ 9150613 w 9152201"/>
              <a:gd name="connsiteY1" fmla="*/ 9702 h 4270324"/>
              <a:gd name="connsiteX2" fmla="*/ 9150613 w 9152201"/>
              <a:gd name="connsiteY2" fmla="*/ 89 h 4270324"/>
              <a:gd name="connsiteX3" fmla="*/ 9140347 w 9152201"/>
              <a:gd name="connsiteY3" fmla="*/ 3967387 h 4270324"/>
              <a:gd name="connsiteX4" fmla="*/ 1344317 w 9152201"/>
              <a:gd name="connsiteY4" fmla="*/ 3963016 h 4270324"/>
              <a:gd name="connsiteX5" fmla="*/ 1269350 w 9152201"/>
              <a:gd name="connsiteY5" fmla="*/ 4009885 h 4270324"/>
              <a:gd name="connsiteX6" fmla="*/ 1262230 w 9152201"/>
              <a:gd name="connsiteY6" fmla="*/ 4220084 h 4270324"/>
              <a:gd name="connsiteX7" fmla="*/ 1173736 w 9152201"/>
              <a:gd name="connsiteY7" fmla="*/ 4268653 h 4270324"/>
              <a:gd name="connsiteX8" fmla="*/ 0 w 9152201"/>
              <a:gd name="connsiteY8" fmla="*/ 4265542 h 4270324"/>
              <a:gd name="connsiteX9" fmla="*/ 6613 w 9152201"/>
              <a:gd name="connsiteY9" fmla="*/ 718270 h 4270324"/>
              <a:gd name="connsiteX10" fmla="*/ 806 w 9152201"/>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41153 w 9153007"/>
              <a:gd name="connsiteY3" fmla="*/ 3967387 h 4270324"/>
              <a:gd name="connsiteX4" fmla="*/ 1345123 w 9153007"/>
              <a:gd name="connsiteY4" fmla="*/ 396301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41153 w 9153007"/>
              <a:gd name="connsiteY3" fmla="*/ 3967387 h 4270324"/>
              <a:gd name="connsiteX4" fmla="*/ 1339531 w 9153007"/>
              <a:gd name="connsiteY4" fmla="*/ 3968097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41153 w 9153007"/>
              <a:gd name="connsiteY3" fmla="*/ 3967387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41153 w 9153007"/>
              <a:gd name="connsiteY3" fmla="*/ 3967387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41153 w 9153007"/>
              <a:gd name="connsiteY3" fmla="*/ 3967387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67917"/>
              <a:gd name="connsiteY0" fmla="*/ 0 h 4270324"/>
              <a:gd name="connsiteX1" fmla="*/ 9151419 w 9167917"/>
              <a:gd name="connsiteY1" fmla="*/ 9702 h 4270324"/>
              <a:gd name="connsiteX2" fmla="*/ 9151419 w 9167917"/>
              <a:gd name="connsiteY2" fmla="*/ 89 h 4270324"/>
              <a:gd name="connsiteX3" fmla="*/ 9167917 w 9167917"/>
              <a:gd name="connsiteY3" fmla="*/ 3971134 h 4270324"/>
              <a:gd name="connsiteX4" fmla="*/ 1352489 w 9167917"/>
              <a:gd name="connsiteY4" fmla="*/ 3975946 h 4270324"/>
              <a:gd name="connsiteX5" fmla="*/ 1270156 w 9167917"/>
              <a:gd name="connsiteY5" fmla="*/ 4009885 h 4270324"/>
              <a:gd name="connsiteX6" fmla="*/ 1263036 w 9167917"/>
              <a:gd name="connsiteY6" fmla="*/ 4220084 h 4270324"/>
              <a:gd name="connsiteX7" fmla="*/ 1174542 w 9167917"/>
              <a:gd name="connsiteY7" fmla="*/ 4268653 h 4270324"/>
              <a:gd name="connsiteX8" fmla="*/ 806 w 9167917"/>
              <a:gd name="connsiteY8" fmla="*/ 4265542 h 4270324"/>
              <a:gd name="connsiteX9" fmla="*/ 7419 w 9167917"/>
              <a:gd name="connsiteY9" fmla="*/ 718270 h 4270324"/>
              <a:gd name="connsiteX10" fmla="*/ 806 w 916791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67387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67917"/>
              <a:gd name="connsiteY0" fmla="*/ 0 h 4270324"/>
              <a:gd name="connsiteX1" fmla="*/ 9151419 w 9167917"/>
              <a:gd name="connsiteY1" fmla="*/ 9702 h 4270324"/>
              <a:gd name="connsiteX2" fmla="*/ 9151419 w 9167917"/>
              <a:gd name="connsiteY2" fmla="*/ 89 h 4270324"/>
              <a:gd name="connsiteX3" fmla="*/ 9167917 w 9167917"/>
              <a:gd name="connsiteY3" fmla="*/ 3974881 h 4270324"/>
              <a:gd name="connsiteX4" fmla="*/ 1352489 w 9167917"/>
              <a:gd name="connsiteY4" fmla="*/ 3975946 h 4270324"/>
              <a:gd name="connsiteX5" fmla="*/ 1270156 w 9167917"/>
              <a:gd name="connsiteY5" fmla="*/ 4009885 h 4270324"/>
              <a:gd name="connsiteX6" fmla="*/ 1263036 w 9167917"/>
              <a:gd name="connsiteY6" fmla="*/ 4220084 h 4270324"/>
              <a:gd name="connsiteX7" fmla="*/ 1174542 w 9167917"/>
              <a:gd name="connsiteY7" fmla="*/ 4268653 h 4270324"/>
              <a:gd name="connsiteX8" fmla="*/ 806 w 9167917"/>
              <a:gd name="connsiteY8" fmla="*/ 4265542 h 4270324"/>
              <a:gd name="connsiteX9" fmla="*/ 7419 w 9167917"/>
              <a:gd name="connsiteY9" fmla="*/ 718270 h 4270324"/>
              <a:gd name="connsiteX10" fmla="*/ 806 w 9167917"/>
              <a:gd name="connsiteY10" fmla="*/ 0 h 4270324"/>
              <a:gd name="connsiteX0" fmla="*/ 806 w 9167917"/>
              <a:gd name="connsiteY0" fmla="*/ 0 h 4276230"/>
              <a:gd name="connsiteX1" fmla="*/ 9151419 w 9167917"/>
              <a:gd name="connsiteY1" fmla="*/ 9702 h 4276230"/>
              <a:gd name="connsiteX2" fmla="*/ 9151419 w 9167917"/>
              <a:gd name="connsiteY2" fmla="*/ 89 h 4276230"/>
              <a:gd name="connsiteX3" fmla="*/ 9167917 w 9167917"/>
              <a:gd name="connsiteY3" fmla="*/ 3974881 h 4276230"/>
              <a:gd name="connsiteX4" fmla="*/ 1352489 w 9167917"/>
              <a:gd name="connsiteY4" fmla="*/ 3975946 h 4276230"/>
              <a:gd name="connsiteX5" fmla="*/ 1270156 w 9167917"/>
              <a:gd name="connsiteY5" fmla="*/ 4009885 h 4276230"/>
              <a:gd name="connsiteX6" fmla="*/ 1263036 w 9167917"/>
              <a:gd name="connsiteY6" fmla="*/ 4220084 h 4276230"/>
              <a:gd name="connsiteX7" fmla="*/ 1174542 w 9167917"/>
              <a:gd name="connsiteY7" fmla="*/ 4268653 h 4276230"/>
              <a:gd name="connsiteX8" fmla="*/ 806 w 9167917"/>
              <a:gd name="connsiteY8" fmla="*/ 4265543 h 4276230"/>
              <a:gd name="connsiteX9" fmla="*/ 7419 w 9167917"/>
              <a:gd name="connsiteY9" fmla="*/ 718270 h 4276230"/>
              <a:gd name="connsiteX10" fmla="*/ 806 w 9167917"/>
              <a:gd name="connsiteY10" fmla="*/ 0 h 4276230"/>
              <a:gd name="connsiteX0" fmla="*/ 806 w 9167917"/>
              <a:gd name="connsiteY0" fmla="*/ 0 h 4268653"/>
              <a:gd name="connsiteX1" fmla="*/ 9151419 w 9167917"/>
              <a:gd name="connsiteY1" fmla="*/ 9702 h 4268653"/>
              <a:gd name="connsiteX2" fmla="*/ 9151419 w 9167917"/>
              <a:gd name="connsiteY2" fmla="*/ 89 h 4268653"/>
              <a:gd name="connsiteX3" fmla="*/ 9167917 w 9167917"/>
              <a:gd name="connsiteY3" fmla="*/ 3974881 h 4268653"/>
              <a:gd name="connsiteX4" fmla="*/ 1352489 w 9167917"/>
              <a:gd name="connsiteY4" fmla="*/ 3975946 h 4268653"/>
              <a:gd name="connsiteX5" fmla="*/ 1270156 w 9167917"/>
              <a:gd name="connsiteY5" fmla="*/ 4009885 h 4268653"/>
              <a:gd name="connsiteX6" fmla="*/ 1263036 w 9167917"/>
              <a:gd name="connsiteY6" fmla="*/ 4220084 h 4268653"/>
              <a:gd name="connsiteX7" fmla="*/ 1174542 w 9167917"/>
              <a:gd name="connsiteY7" fmla="*/ 4268653 h 4268653"/>
              <a:gd name="connsiteX8" fmla="*/ 806 w 9167917"/>
              <a:gd name="connsiteY8" fmla="*/ 4250555 h 4268653"/>
              <a:gd name="connsiteX9" fmla="*/ 7419 w 9167917"/>
              <a:gd name="connsiteY9" fmla="*/ 718270 h 4268653"/>
              <a:gd name="connsiteX10" fmla="*/ 806 w 9167917"/>
              <a:gd name="connsiteY10" fmla="*/ 0 h 4268653"/>
              <a:gd name="connsiteX0" fmla="*/ 90722 w 9257833"/>
              <a:gd name="connsiteY0" fmla="*/ 0 h 4268653"/>
              <a:gd name="connsiteX1" fmla="*/ 9241335 w 9257833"/>
              <a:gd name="connsiteY1" fmla="*/ 9702 h 4268653"/>
              <a:gd name="connsiteX2" fmla="*/ 9241335 w 9257833"/>
              <a:gd name="connsiteY2" fmla="*/ 89 h 4268653"/>
              <a:gd name="connsiteX3" fmla="*/ 9257833 w 9257833"/>
              <a:gd name="connsiteY3" fmla="*/ 3974881 h 4268653"/>
              <a:gd name="connsiteX4" fmla="*/ 1442405 w 9257833"/>
              <a:gd name="connsiteY4" fmla="*/ 3975946 h 4268653"/>
              <a:gd name="connsiteX5" fmla="*/ 1360072 w 9257833"/>
              <a:gd name="connsiteY5" fmla="*/ 4009885 h 4268653"/>
              <a:gd name="connsiteX6" fmla="*/ 1352952 w 9257833"/>
              <a:gd name="connsiteY6" fmla="*/ 4220084 h 4268653"/>
              <a:gd name="connsiteX7" fmla="*/ 1264458 w 9257833"/>
              <a:gd name="connsiteY7" fmla="*/ 4268653 h 4268653"/>
              <a:gd name="connsiteX8" fmla="*/ 0 w 9257833"/>
              <a:gd name="connsiteY8" fmla="*/ 4246809 h 4268653"/>
              <a:gd name="connsiteX9" fmla="*/ 97335 w 9257833"/>
              <a:gd name="connsiteY9" fmla="*/ 718270 h 4268653"/>
              <a:gd name="connsiteX10" fmla="*/ 90722 w 9257833"/>
              <a:gd name="connsiteY10" fmla="*/ 0 h 4268653"/>
              <a:gd name="connsiteX0" fmla="*/ 806 w 9167917"/>
              <a:gd name="connsiteY0" fmla="*/ 0 h 4268653"/>
              <a:gd name="connsiteX1" fmla="*/ 9151419 w 9167917"/>
              <a:gd name="connsiteY1" fmla="*/ 9702 h 4268653"/>
              <a:gd name="connsiteX2" fmla="*/ 9151419 w 9167917"/>
              <a:gd name="connsiteY2" fmla="*/ 89 h 4268653"/>
              <a:gd name="connsiteX3" fmla="*/ 9167917 w 9167917"/>
              <a:gd name="connsiteY3" fmla="*/ 3974881 h 4268653"/>
              <a:gd name="connsiteX4" fmla="*/ 1352489 w 9167917"/>
              <a:gd name="connsiteY4" fmla="*/ 3975946 h 4268653"/>
              <a:gd name="connsiteX5" fmla="*/ 1270156 w 9167917"/>
              <a:gd name="connsiteY5" fmla="*/ 4009885 h 4268653"/>
              <a:gd name="connsiteX6" fmla="*/ 1263036 w 9167917"/>
              <a:gd name="connsiteY6" fmla="*/ 4220084 h 4268653"/>
              <a:gd name="connsiteX7" fmla="*/ 1174542 w 9167917"/>
              <a:gd name="connsiteY7" fmla="*/ 4268653 h 4268653"/>
              <a:gd name="connsiteX8" fmla="*/ 807 w 9167917"/>
              <a:gd name="connsiteY8" fmla="*/ 4261796 h 4268653"/>
              <a:gd name="connsiteX9" fmla="*/ 7419 w 9167917"/>
              <a:gd name="connsiteY9" fmla="*/ 718270 h 4268653"/>
              <a:gd name="connsiteX10" fmla="*/ 806 w 9167917"/>
              <a:gd name="connsiteY10" fmla="*/ 0 h 4268653"/>
              <a:gd name="connsiteX0" fmla="*/ 70102 w 9237213"/>
              <a:gd name="connsiteY0" fmla="*/ 0 h 4273036"/>
              <a:gd name="connsiteX1" fmla="*/ 9220715 w 9237213"/>
              <a:gd name="connsiteY1" fmla="*/ 9702 h 4273036"/>
              <a:gd name="connsiteX2" fmla="*/ 9220715 w 9237213"/>
              <a:gd name="connsiteY2" fmla="*/ 89 h 4273036"/>
              <a:gd name="connsiteX3" fmla="*/ 9237213 w 9237213"/>
              <a:gd name="connsiteY3" fmla="*/ 3974881 h 4273036"/>
              <a:gd name="connsiteX4" fmla="*/ 1421785 w 9237213"/>
              <a:gd name="connsiteY4" fmla="*/ 3975946 h 4273036"/>
              <a:gd name="connsiteX5" fmla="*/ 1339452 w 9237213"/>
              <a:gd name="connsiteY5" fmla="*/ 4009885 h 4273036"/>
              <a:gd name="connsiteX6" fmla="*/ 1332332 w 9237213"/>
              <a:gd name="connsiteY6" fmla="*/ 4220084 h 4273036"/>
              <a:gd name="connsiteX7" fmla="*/ 1243838 w 9237213"/>
              <a:gd name="connsiteY7" fmla="*/ 4268653 h 4273036"/>
              <a:gd name="connsiteX8" fmla="*/ 0 w 9237213"/>
              <a:gd name="connsiteY8" fmla="*/ 4273036 h 4273036"/>
              <a:gd name="connsiteX9" fmla="*/ 76715 w 9237213"/>
              <a:gd name="connsiteY9" fmla="*/ 718270 h 4273036"/>
              <a:gd name="connsiteX10" fmla="*/ 70102 w 9237213"/>
              <a:gd name="connsiteY10" fmla="*/ 0 h 4273036"/>
              <a:gd name="connsiteX0" fmla="*/ 53607 w 9220718"/>
              <a:gd name="connsiteY0" fmla="*/ 0 h 4268653"/>
              <a:gd name="connsiteX1" fmla="*/ 9204220 w 9220718"/>
              <a:gd name="connsiteY1" fmla="*/ 9702 h 4268653"/>
              <a:gd name="connsiteX2" fmla="*/ 9204220 w 9220718"/>
              <a:gd name="connsiteY2" fmla="*/ 89 h 4268653"/>
              <a:gd name="connsiteX3" fmla="*/ 9220718 w 9220718"/>
              <a:gd name="connsiteY3" fmla="*/ 3974881 h 4268653"/>
              <a:gd name="connsiteX4" fmla="*/ 1405290 w 9220718"/>
              <a:gd name="connsiteY4" fmla="*/ 3975946 h 4268653"/>
              <a:gd name="connsiteX5" fmla="*/ 1322957 w 9220718"/>
              <a:gd name="connsiteY5" fmla="*/ 4009885 h 4268653"/>
              <a:gd name="connsiteX6" fmla="*/ 1315837 w 9220718"/>
              <a:gd name="connsiteY6" fmla="*/ 4220084 h 4268653"/>
              <a:gd name="connsiteX7" fmla="*/ 1227343 w 9220718"/>
              <a:gd name="connsiteY7" fmla="*/ 4268653 h 4268653"/>
              <a:gd name="connsiteX8" fmla="*/ 0 w 9220718"/>
              <a:gd name="connsiteY8" fmla="*/ 4265542 h 4268653"/>
              <a:gd name="connsiteX9" fmla="*/ 60220 w 9220718"/>
              <a:gd name="connsiteY9" fmla="*/ 718270 h 4268653"/>
              <a:gd name="connsiteX10" fmla="*/ 53607 w 9220718"/>
              <a:gd name="connsiteY10" fmla="*/ 0 h 4268653"/>
              <a:gd name="connsiteX0" fmla="*/ 53607 w 9220718"/>
              <a:gd name="connsiteY0" fmla="*/ 0 h 4271069"/>
              <a:gd name="connsiteX1" fmla="*/ 9204220 w 9220718"/>
              <a:gd name="connsiteY1" fmla="*/ 9702 h 4271069"/>
              <a:gd name="connsiteX2" fmla="*/ 9204220 w 9220718"/>
              <a:gd name="connsiteY2" fmla="*/ 89 h 4271069"/>
              <a:gd name="connsiteX3" fmla="*/ 9220718 w 9220718"/>
              <a:gd name="connsiteY3" fmla="*/ 3974881 h 4271069"/>
              <a:gd name="connsiteX4" fmla="*/ 1405290 w 9220718"/>
              <a:gd name="connsiteY4" fmla="*/ 3975946 h 4271069"/>
              <a:gd name="connsiteX5" fmla="*/ 1322957 w 9220718"/>
              <a:gd name="connsiteY5" fmla="*/ 4009885 h 4271069"/>
              <a:gd name="connsiteX6" fmla="*/ 1315837 w 9220718"/>
              <a:gd name="connsiteY6" fmla="*/ 4220084 h 4271069"/>
              <a:gd name="connsiteX7" fmla="*/ 1227343 w 9220718"/>
              <a:gd name="connsiteY7" fmla="*/ 4268653 h 4271069"/>
              <a:gd name="connsiteX8" fmla="*/ 0 w 9220718"/>
              <a:gd name="connsiteY8" fmla="*/ 4265542 h 4271069"/>
              <a:gd name="connsiteX9" fmla="*/ 60220 w 9220718"/>
              <a:gd name="connsiteY9" fmla="*/ 718270 h 4271069"/>
              <a:gd name="connsiteX10" fmla="*/ 53607 w 9220718"/>
              <a:gd name="connsiteY10" fmla="*/ 0 h 4271069"/>
              <a:gd name="connsiteX0" fmla="*/ 53607 w 9220718"/>
              <a:gd name="connsiteY0" fmla="*/ 0 h 4271069"/>
              <a:gd name="connsiteX1" fmla="*/ 9204220 w 9220718"/>
              <a:gd name="connsiteY1" fmla="*/ 9702 h 4271069"/>
              <a:gd name="connsiteX2" fmla="*/ 9204220 w 9220718"/>
              <a:gd name="connsiteY2" fmla="*/ 89 h 4271069"/>
              <a:gd name="connsiteX3" fmla="*/ 9220718 w 9220718"/>
              <a:gd name="connsiteY3" fmla="*/ 3974881 h 4271069"/>
              <a:gd name="connsiteX4" fmla="*/ 1405290 w 9220718"/>
              <a:gd name="connsiteY4" fmla="*/ 3975946 h 4271069"/>
              <a:gd name="connsiteX5" fmla="*/ 1322957 w 9220718"/>
              <a:gd name="connsiteY5" fmla="*/ 4009885 h 4271069"/>
              <a:gd name="connsiteX6" fmla="*/ 1315837 w 9220718"/>
              <a:gd name="connsiteY6" fmla="*/ 4220084 h 4271069"/>
              <a:gd name="connsiteX7" fmla="*/ 1206724 w 9220718"/>
              <a:gd name="connsiteY7" fmla="*/ 4268653 h 4271069"/>
              <a:gd name="connsiteX8" fmla="*/ 0 w 9220718"/>
              <a:gd name="connsiteY8" fmla="*/ 4265542 h 4271069"/>
              <a:gd name="connsiteX9" fmla="*/ 60220 w 9220718"/>
              <a:gd name="connsiteY9" fmla="*/ 718270 h 4271069"/>
              <a:gd name="connsiteX10" fmla="*/ 53607 w 9220718"/>
              <a:gd name="connsiteY10" fmla="*/ 0 h 4271069"/>
              <a:gd name="connsiteX0" fmla="*/ 53607 w 9220718"/>
              <a:gd name="connsiteY0" fmla="*/ 0 h 4271069"/>
              <a:gd name="connsiteX1" fmla="*/ 9204220 w 9220718"/>
              <a:gd name="connsiteY1" fmla="*/ 9702 h 4271069"/>
              <a:gd name="connsiteX2" fmla="*/ 9204220 w 9220718"/>
              <a:gd name="connsiteY2" fmla="*/ 89 h 4271069"/>
              <a:gd name="connsiteX3" fmla="*/ 9220718 w 9220718"/>
              <a:gd name="connsiteY3" fmla="*/ 3974881 h 4271069"/>
              <a:gd name="connsiteX4" fmla="*/ 1405290 w 9220718"/>
              <a:gd name="connsiteY4" fmla="*/ 3975946 h 4271069"/>
              <a:gd name="connsiteX5" fmla="*/ 1322957 w 9220718"/>
              <a:gd name="connsiteY5" fmla="*/ 4009885 h 4271069"/>
              <a:gd name="connsiteX6" fmla="*/ 1315837 w 9220718"/>
              <a:gd name="connsiteY6" fmla="*/ 4220084 h 4271069"/>
              <a:gd name="connsiteX7" fmla="*/ 1177857 w 9220718"/>
              <a:gd name="connsiteY7" fmla="*/ 4268653 h 4271069"/>
              <a:gd name="connsiteX8" fmla="*/ 0 w 9220718"/>
              <a:gd name="connsiteY8" fmla="*/ 4265542 h 4271069"/>
              <a:gd name="connsiteX9" fmla="*/ 60220 w 9220718"/>
              <a:gd name="connsiteY9" fmla="*/ 718270 h 4271069"/>
              <a:gd name="connsiteX10" fmla="*/ 53607 w 9220718"/>
              <a:gd name="connsiteY10" fmla="*/ 0 h 4271069"/>
              <a:gd name="connsiteX0" fmla="*/ 53607 w 9220718"/>
              <a:gd name="connsiteY0" fmla="*/ 0 h 4271069"/>
              <a:gd name="connsiteX1" fmla="*/ 9204220 w 9220718"/>
              <a:gd name="connsiteY1" fmla="*/ 9702 h 4271069"/>
              <a:gd name="connsiteX2" fmla="*/ 9204220 w 9220718"/>
              <a:gd name="connsiteY2" fmla="*/ 89 h 4271069"/>
              <a:gd name="connsiteX3" fmla="*/ 9220718 w 9220718"/>
              <a:gd name="connsiteY3" fmla="*/ 3974881 h 4271069"/>
              <a:gd name="connsiteX4" fmla="*/ 1405290 w 9220718"/>
              <a:gd name="connsiteY4" fmla="*/ 3975946 h 4271069"/>
              <a:gd name="connsiteX5" fmla="*/ 1322957 w 9220718"/>
              <a:gd name="connsiteY5" fmla="*/ 4009885 h 4271069"/>
              <a:gd name="connsiteX6" fmla="*/ 1315837 w 9220718"/>
              <a:gd name="connsiteY6" fmla="*/ 4220084 h 4271069"/>
              <a:gd name="connsiteX7" fmla="*/ 1210847 w 9220718"/>
              <a:gd name="connsiteY7" fmla="*/ 4268653 h 4271069"/>
              <a:gd name="connsiteX8" fmla="*/ 0 w 9220718"/>
              <a:gd name="connsiteY8" fmla="*/ 4265542 h 4271069"/>
              <a:gd name="connsiteX9" fmla="*/ 60220 w 9220718"/>
              <a:gd name="connsiteY9" fmla="*/ 718270 h 4271069"/>
              <a:gd name="connsiteX10" fmla="*/ 53607 w 9220718"/>
              <a:gd name="connsiteY10" fmla="*/ 0 h 4271069"/>
              <a:gd name="connsiteX0" fmla="*/ 53608 w 9220718"/>
              <a:gd name="connsiteY0" fmla="*/ 0 h 4271068"/>
              <a:gd name="connsiteX1" fmla="*/ 9204220 w 9220718"/>
              <a:gd name="connsiteY1" fmla="*/ 9701 h 4271068"/>
              <a:gd name="connsiteX2" fmla="*/ 9204220 w 9220718"/>
              <a:gd name="connsiteY2" fmla="*/ 88 h 4271068"/>
              <a:gd name="connsiteX3" fmla="*/ 9220718 w 9220718"/>
              <a:gd name="connsiteY3" fmla="*/ 3974880 h 4271068"/>
              <a:gd name="connsiteX4" fmla="*/ 1405290 w 9220718"/>
              <a:gd name="connsiteY4" fmla="*/ 3975945 h 4271068"/>
              <a:gd name="connsiteX5" fmla="*/ 1322957 w 9220718"/>
              <a:gd name="connsiteY5" fmla="*/ 4009884 h 4271068"/>
              <a:gd name="connsiteX6" fmla="*/ 1315837 w 9220718"/>
              <a:gd name="connsiteY6" fmla="*/ 4220083 h 4271068"/>
              <a:gd name="connsiteX7" fmla="*/ 1210847 w 9220718"/>
              <a:gd name="connsiteY7" fmla="*/ 4268652 h 4271068"/>
              <a:gd name="connsiteX8" fmla="*/ 0 w 9220718"/>
              <a:gd name="connsiteY8" fmla="*/ 4265541 h 4271068"/>
              <a:gd name="connsiteX9" fmla="*/ 60220 w 9220718"/>
              <a:gd name="connsiteY9" fmla="*/ 718269 h 4271068"/>
              <a:gd name="connsiteX10" fmla="*/ 53608 w 9220718"/>
              <a:gd name="connsiteY10" fmla="*/ 0 h 4271068"/>
              <a:gd name="connsiteX0" fmla="*/ 92467 w 9259577"/>
              <a:gd name="connsiteY0" fmla="*/ 0 h 4271068"/>
              <a:gd name="connsiteX1" fmla="*/ 9243079 w 9259577"/>
              <a:gd name="connsiteY1" fmla="*/ 9701 h 4271068"/>
              <a:gd name="connsiteX2" fmla="*/ 9243079 w 9259577"/>
              <a:gd name="connsiteY2" fmla="*/ 88 h 4271068"/>
              <a:gd name="connsiteX3" fmla="*/ 9259577 w 9259577"/>
              <a:gd name="connsiteY3" fmla="*/ 3974880 h 4271068"/>
              <a:gd name="connsiteX4" fmla="*/ 1444149 w 9259577"/>
              <a:gd name="connsiteY4" fmla="*/ 3975945 h 4271068"/>
              <a:gd name="connsiteX5" fmla="*/ 1361816 w 9259577"/>
              <a:gd name="connsiteY5" fmla="*/ 4009884 h 4271068"/>
              <a:gd name="connsiteX6" fmla="*/ 1354696 w 9259577"/>
              <a:gd name="connsiteY6" fmla="*/ 4220083 h 4271068"/>
              <a:gd name="connsiteX7" fmla="*/ 1249706 w 9259577"/>
              <a:gd name="connsiteY7" fmla="*/ 4268652 h 4271068"/>
              <a:gd name="connsiteX8" fmla="*/ 38859 w 9259577"/>
              <a:gd name="connsiteY8" fmla="*/ 4265541 h 4271068"/>
              <a:gd name="connsiteX9" fmla="*/ 4233 w 9259577"/>
              <a:gd name="connsiteY9" fmla="*/ 718269 h 4271068"/>
              <a:gd name="connsiteX10" fmla="*/ 92467 w 9259577"/>
              <a:gd name="connsiteY10" fmla="*/ 0 h 4271068"/>
              <a:gd name="connsiteX0" fmla="*/ 1534037 w 10701147"/>
              <a:gd name="connsiteY0" fmla="*/ 0 h 4271068"/>
              <a:gd name="connsiteX1" fmla="*/ 10684649 w 10701147"/>
              <a:gd name="connsiteY1" fmla="*/ 9701 h 4271068"/>
              <a:gd name="connsiteX2" fmla="*/ 10684649 w 10701147"/>
              <a:gd name="connsiteY2" fmla="*/ 88 h 4271068"/>
              <a:gd name="connsiteX3" fmla="*/ 10701147 w 10701147"/>
              <a:gd name="connsiteY3" fmla="*/ 3974880 h 4271068"/>
              <a:gd name="connsiteX4" fmla="*/ 2885719 w 10701147"/>
              <a:gd name="connsiteY4" fmla="*/ 3975945 h 4271068"/>
              <a:gd name="connsiteX5" fmla="*/ 2803386 w 10701147"/>
              <a:gd name="connsiteY5" fmla="*/ 4009884 h 4271068"/>
              <a:gd name="connsiteX6" fmla="*/ 2796266 w 10701147"/>
              <a:gd name="connsiteY6" fmla="*/ 4220083 h 4271068"/>
              <a:gd name="connsiteX7" fmla="*/ 2691276 w 10701147"/>
              <a:gd name="connsiteY7" fmla="*/ 4268652 h 4271068"/>
              <a:gd name="connsiteX8" fmla="*/ 1480429 w 10701147"/>
              <a:gd name="connsiteY8" fmla="*/ 4265541 h 4271068"/>
              <a:gd name="connsiteX9" fmla="*/ 1534037 w 10701147"/>
              <a:gd name="connsiteY9" fmla="*/ 0 h 4271068"/>
              <a:gd name="connsiteX0" fmla="*/ 1534037 w 10701147"/>
              <a:gd name="connsiteY0" fmla="*/ 0 h 4271068"/>
              <a:gd name="connsiteX1" fmla="*/ 10684649 w 10701147"/>
              <a:gd name="connsiteY1" fmla="*/ 9701 h 4271068"/>
              <a:gd name="connsiteX2" fmla="*/ 10684649 w 10701147"/>
              <a:gd name="connsiteY2" fmla="*/ 88 h 4271068"/>
              <a:gd name="connsiteX3" fmla="*/ 10701147 w 10701147"/>
              <a:gd name="connsiteY3" fmla="*/ 3974880 h 4271068"/>
              <a:gd name="connsiteX4" fmla="*/ 2885719 w 10701147"/>
              <a:gd name="connsiteY4" fmla="*/ 3975945 h 4271068"/>
              <a:gd name="connsiteX5" fmla="*/ 2803386 w 10701147"/>
              <a:gd name="connsiteY5" fmla="*/ 4009884 h 4271068"/>
              <a:gd name="connsiteX6" fmla="*/ 2796266 w 10701147"/>
              <a:gd name="connsiteY6" fmla="*/ 4220083 h 4271068"/>
              <a:gd name="connsiteX7" fmla="*/ 2691276 w 10701147"/>
              <a:gd name="connsiteY7" fmla="*/ 4268652 h 4271068"/>
              <a:gd name="connsiteX8" fmla="*/ 1480429 w 10701147"/>
              <a:gd name="connsiteY8" fmla="*/ 4265541 h 4271068"/>
              <a:gd name="connsiteX9" fmla="*/ 1534037 w 10701147"/>
              <a:gd name="connsiteY9" fmla="*/ 0 h 4271068"/>
              <a:gd name="connsiteX0" fmla="*/ 246481 w 9413591"/>
              <a:gd name="connsiteY0" fmla="*/ 0 h 4271068"/>
              <a:gd name="connsiteX1" fmla="*/ 9397093 w 9413591"/>
              <a:gd name="connsiteY1" fmla="*/ 9701 h 4271068"/>
              <a:gd name="connsiteX2" fmla="*/ 9397093 w 9413591"/>
              <a:gd name="connsiteY2" fmla="*/ 88 h 4271068"/>
              <a:gd name="connsiteX3" fmla="*/ 9413591 w 9413591"/>
              <a:gd name="connsiteY3" fmla="*/ 3974880 h 4271068"/>
              <a:gd name="connsiteX4" fmla="*/ 1598163 w 9413591"/>
              <a:gd name="connsiteY4" fmla="*/ 3975945 h 4271068"/>
              <a:gd name="connsiteX5" fmla="*/ 1515830 w 9413591"/>
              <a:gd name="connsiteY5" fmla="*/ 4009884 h 4271068"/>
              <a:gd name="connsiteX6" fmla="*/ 1508710 w 9413591"/>
              <a:gd name="connsiteY6" fmla="*/ 4220083 h 4271068"/>
              <a:gd name="connsiteX7" fmla="*/ 1403720 w 9413591"/>
              <a:gd name="connsiteY7" fmla="*/ 4268652 h 4271068"/>
              <a:gd name="connsiteX8" fmla="*/ 192873 w 9413591"/>
              <a:gd name="connsiteY8" fmla="*/ 4265541 h 4271068"/>
              <a:gd name="connsiteX9" fmla="*/ 246481 w 9413591"/>
              <a:gd name="connsiteY9" fmla="*/ 0 h 4271068"/>
              <a:gd name="connsiteX0" fmla="*/ 64211 w 9231321"/>
              <a:gd name="connsiteY0" fmla="*/ 0 h 4271068"/>
              <a:gd name="connsiteX1" fmla="*/ 9214823 w 9231321"/>
              <a:gd name="connsiteY1" fmla="*/ 9701 h 4271068"/>
              <a:gd name="connsiteX2" fmla="*/ 9214823 w 9231321"/>
              <a:gd name="connsiteY2" fmla="*/ 88 h 4271068"/>
              <a:gd name="connsiteX3" fmla="*/ 9231321 w 9231321"/>
              <a:gd name="connsiteY3" fmla="*/ 3974880 h 4271068"/>
              <a:gd name="connsiteX4" fmla="*/ 1415893 w 9231321"/>
              <a:gd name="connsiteY4" fmla="*/ 3975945 h 4271068"/>
              <a:gd name="connsiteX5" fmla="*/ 1333560 w 9231321"/>
              <a:gd name="connsiteY5" fmla="*/ 4009884 h 4271068"/>
              <a:gd name="connsiteX6" fmla="*/ 1326440 w 9231321"/>
              <a:gd name="connsiteY6" fmla="*/ 4220083 h 4271068"/>
              <a:gd name="connsiteX7" fmla="*/ 1221450 w 9231321"/>
              <a:gd name="connsiteY7" fmla="*/ 4268652 h 4271068"/>
              <a:gd name="connsiteX8" fmla="*/ 10603 w 9231321"/>
              <a:gd name="connsiteY8" fmla="*/ 4265541 h 4271068"/>
              <a:gd name="connsiteX9" fmla="*/ 64211 w 9231321"/>
              <a:gd name="connsiteY9" fmla="*/ 0 h 4271068"/>
              <a:gd name="connsiteX0" fmla="*/ 10604 w 9177714"/>
              <a:gd name="connsiteY0" fmla="*/ 0 h 4276228"/>
              <a:gd name="connsiteX1" fmla="*/ 9161216 w 9177714"/>
              <a:gd name="connsiteY1" fmla="*/ 9701 h 4276228"/>
              <a:gd name="connsiteX2" fmla="*/ 9161216 w 9177714"/>
              <a:gd name="connsiteY2" fmla="*/ 88 h 4276228"/>
              <a:gd name="connsiteX3" fmla="*/ 9177714 w 9177714"/>
              <a:gd name="connsiteY3" fmla="*/ 3974880 h 4276228"/>
              <a:gd name="connsiteX4" fmla="*/ 1362286 w 9177714"/>
              <a:gd name="connsiteY4" fmla="*/ 3975945 h 4276228"/>
              <a:gd name="connsiteX5" fmla="*/ 1279953 w 9177714"/>
              <a:gd name="connsiteY5" fmla="*/ 4009884 h 4276228"/>
              <a:gd name="connsiteX6" fmla="*/ 1272833 w 9177714"/>
              <a:gd name="connsiteY6" fmla="*/ 4220083 h 4276228"/>
              <a:gd name="connsiteX7" fmla="*/ 1167843 w 9177714"/>
              <a:gd name="connsiteY7" fmla="*/ 4268652 h 4276228"/>
              <a:gd name="connsiteX8" fmla="*/ 10603 w 9177714"/>
              <a:gd name="connsiteY8" fmla="*/ 4265541 h 4276228"/>
              <a:gd name="connsiteX9" fmla="*/ 10604 w 9177714"/>
              <a:gd name="connsiteY9" fmla="*/ 0 h 4276228"/>
              <a:gd name="connsiteX0" fmla="*/ 10604 w 9177714"/>
              <a:gd name="connsiteY0" fmla="*/ 0 h 4268609"/>
              <a:gd name="connsiteX1" fmla="*/ 9161216 w 9177714"/>
              <a:gd name="connsiteY1" fmla="*/ 9701 h 4268609"/>
              <a:gd name="connsiteX2" fmla="*/ 9161216 w 9177714"/>
              <a:gd name="connsiteY2" fmla="*/ 88 h 4268609"/>
              <a:gd name="connsiteX3" fmla="*/ 9177714 w 9177714"/>
              <a:gd name="connsiteY3" fmla="*/ 3974880 h 4268609"/>
              <a:gd name="connsiteX4" fmla="*/ 1362286 w 9177714"/>
              <a:gd name="connsiteY4" fmla="*/ 3975945 h 4268609"/>
              <a:gd name="connsiteX5" fmla="*/ 1279953 w 9177714"/>
              <a:gd name="connsiteY5" fmla="*/ 4009884 h 4268609"/>
              <a:gd name="connsiteX6" fmla="*/ 1272833 w 9177714"/>
              <a:gd name="connsiteY6" fmla="*/ 4220083 h 4268609"/>
              <a:gd name="connsiteX7" fmla="*/ 1206981 w 9177714"/>
              <a:gd name="connsiteY7" fmla="*/ 4261033 h 4268609"/>
              <a:gd name="connsiteX8" fmla="*/ 10603 w 9177714"/>
              <a:gd name="connsiteY8" fmla="*/ 4265541 h 4268609"/>
              <a:gd name="connsiteX9" fmla="*/ 10604 w 9177714"/>
              <a:gd name="connsiteY9" fmla="*/ 0 h 4268609"/>
              <a:gd name="connsiteX0" fmla="*/ 10604 w 9177714"/>
              <a:gd name="connsiteY0" fmla="*/ 0 h 4265541"/>
              <a:gd name="connsiteX1" fmla="*/ 9161216 w 9177714"/>
              <a:gd name="connsiteY1" fmla="*/ 9701 h 4265541"/>
              <a:gd name="connsiteX2" fmla="*/ 9161216 w 9177714"/>
              <a:gd name="connsiteY2" fmla="*/ 88 h 4265541"/>
              <a:gd name="connsiteX3" fmla="*/ 9177714 w 9177714"/>
              <a:gd name="connsiteY3" fmla="*/ 3974880 h 4265541"/>
              <a:gd name="connsiteX4" fmla="*/ 1362286 w 9177714"/>
              <a:gd name="connsiteY4" fmla="*/ 3975945 h 4265541"/>
              <a:gd name="connsiteX5" fmla="*/ 1279953 w 9177714"/>
              <a:gd name="connsiteY5" fmla="*/ 4009884 h 4265541"/>
              <a:gd name="connsiteX6" fmla="*/ 1272833 w 9177714"/>
              <a:gd name="connsiteY6" fmla="*/ 4220083 h 4265541"/>
              <a:gd name="connsiteX7" fmla="*/ 1206981 w 9177714"/>
              <a:gd name="connsiteY7" fmla="*/ 4261033 h 4265541"/>
              <a:gd name="connsiteX8" fmla="*/ 10603 w 9177714"/>
              <a:gd name="connsiteY8" fmla="*/ 4265541 h 4265541"/>
              <a:gd name="connsiteX9" fmla="*/ 10604 w 9177714"/>
              <a:gd name="connsiteY9" fmla="*/ 0 h 4265541"/>
              <a:gd name="connsiteX0" fmla="*/ 10604 w 9177714"/>
              <a:gd name="connsiteY0" fmla="*/ 0 h 4265541"/>
              <a:gd name="connsiteX1" fmla="*/ 9161216 w 9177714"/>
              <a:gd name="connsiteY1" fmla="*/ 9701 h 4265541"/>
              <a:gd name="connsiteX2" fmla="*/ 9161216 w 9177714"/>
              <a:gd name="connsiteY2" fmla="*/ 88 h 4265541"/>
              <a:gd name="connsiteX3" fmla="*/ 9177714 w 9177714"/>
              <a:gd name="connsiteY3" fmla="*/ 3974880 h 4265541"/>
              <a:gd name="connsiteX4" fmla="*/ 1362286 w 9177714"/>
              <a:gd name="connsiteY4" fmla="*/ 3975945 h 4265541"/>
              <a:gd name="connsiteX5" fmla="*/ 1279953 w 9177714"/>
              <a:gd name="connsiteY5" fmla="*/ 4009884 h 4265541"/>
              <a:gd name="connsiteX6" fmla="*/ 1272833 w 9177714"/>
              <a:gd name="connsiteY6" fmla="*/ 4220083 h 4265541"/>
              <a:gd name="connsiteX7" fmla="*/ 1206981 w 9177714"/>
              <a:gd name="connsiteY7" fmla="*/ 4261033 h 4265541"/>
              <a:gd name="connsiteX8" fmla="*/ 10603 w 9177714"/>
              <a:gd name="connsiteY8" fmla="*/ 4265541 h 4265541"/>
              <a:gd name="connsiteX9" fmla="*/ 10604 w 9177714"/>
              <a:gd name="connsiteY9" fmla="*/ 0 h 4265541"/>
              <a:gd name="connsiteX0" fmla="*/ 10604 w 9177714"/>
              <a:gd name="connsiteY0" fmla="*/ 0 h 4265541"/>
              <a:gd name="connsiteX1" fmla="*/ 9161216 w 9177714"/>
              <a:gd name="connsiteY1" fmla="*/ 9701 h 4265541"/>
              <a:gd name="connsiteX2" fmla="*/ 9161216 w 9177714"/>
              <a:gd name="connsiteY2" fmla="*/ 88 h 4265541"/>
              <a:gd name="connsiteX3" fmla="*/ 9177714 w 9177714"/>
              <a:gd name="connsiteY3" fmla="*/ 3974880 h 4265541"/>
              <a:gd name="connsiteX4" fmla="*/ 1362286 w 9177714"/>
              <a:gd name="connsiteY4" fmla="*/ 3975945 h 4265541"/>
              <a:gd name="connsiteX5" fmla="*/ 1279953 w 9177714"/>
              <a:gd name="connsiteY5" fmla="*/ 4009884 h 4265541"/>
              <a:gd name="connsiteX6" fmla="*/ 1272833 w 9177714"/>
              <a:gd name="connsiteY6" fmla="*/ 4197223 h 4265541"/>
              <a:gd name="connsiteX7" fmla="*/ 1206981 w 9177714"/>
              <a:gd name="connsiteY7" fmla="*/ 4261033 h 4265541"/>
              <a:gd name="connsiteX8" fmla="*/ 10603 w 9177714"/>
              <a:gd name="connsiteY8" fmla="*/ 4265541 h 4265541"/>
              <a:gd name="connsiteX9" fmla="*/ 10604 w 9177714"/>
              <a:gd name="connsiteY9" fmla="*/ 0 h 4265541"/>
              <a:gd name="connsiteX0" fmla="*/ 10604 w 9177714"/>
              <a:gd name="connsiteY0" fmla="*/ 0 h 4265541"/>
              <a:gd name="connsiteX1" fmla="*/ 9161216 w 9177714"/>
              <a:gd name="connsiteY1" fmla="*/ 9701 h 4265541"/>
              <a:gd name="connsiteX2" fmla="*/ 9161216 w 9177714"/>
              <a:gd name="connsiteY2" fmla="*/ 88 h 4265541"/>
              <a:gd name="connsiteX3" fmla="*/ 9177714 w 9177714"/>
              <a:gd name="connsiteY3" fmla="*/ 3974880 h 4265541"/>
              <a:gd name="connsiteX4" fmla="*/ 1362286 w 9177714"/>
              <a:gd name="connsiteY4" fmla="*/ 3975945 h 4265541"/>
              <a:gd name="connsiteX5" fmla="*/ 1279953 w 9177714"/>
              <a:gd name="connsiteY5" fmla="*/ 4009884 h 4265541"/>
              <a:gd name="connsiteX6" fmla="*/ 1272833 w 9177714"/>
              <a:gd name="connsiteY6" fmla="*/ 4197223 h 4265541"/>
              <a:gd name="connsiteX7" fmla="*/ 1206981 w 9177714"/>
              <a:gd name="connsiteY7" fmla="*/ 4261033 h 4265541"/>
              <a:gd name="connsiteX8" fmla="*/ 10603 w 9177714"/>
              <a:gd name="connsiteY8" fmla="*/ 4265541 h 4265541"/>
              <a:gd name="connsiteX9" fmla="*/ 10604 w 9177714"/>
              <a:gd name="connsiteY9" fmla="*/ 0 h 4265541"/>
              <a:gd name="connsiteX0" fmla="*/ 10604 w 9177714"/>
              <a:gd name="connsiteY0" fmla="*/ 0 h 4265541"/>
              <a:gd name="connsiteX1" fmla="*/ 9161216 w 9177714"/>
              <a:gd name="connsiteY1" fmla="*/ 9701 h 4265541"/>
              <a:gd name="connsiteX2" fmla="*/ 9161216 w 9177714"/>
              <a:gd name="connsiteY2" fmla="*/ 88 h 4265541"/>
              <a:gd name="connsiteX3" fmla="*/ 9177714 w 9177714"/>
              <a:gd name="connsiteY3" fmla="*/ 3974880 h 4265541"/>
              <a:gd name="connsiteX4" fmla="*/ 1362286 w 9177714"/>
              <a:gd name="connsiteY4" fmla="*/ 3975945 h 4265541"/>
              <a:gd name="connsiteX5" fmla="*/ 1279953 w 9177714"/>
              <a:gd name="connsiteY5" fmla="*/ 4009884 h 4265541"/>
              <a:gd name="connsiteX6" fmla="*/ 1272833 w 9177714"/>
              <a:gd name="connsiteY6" fmla="*/ 4197223 h 4265541"/>
              <a:gd name="connsiteX7" fmla="*/ 1184616 w 9177714"/>
              <a:gd name="connsiteY7" fmla="*/ 4261033 h 4265541"/>
              <a:gd name="connsiteX8" fmla="*/ 10603 w 9177714"/>
              <a:gd name="connsiteY8" fmla="*/ 4265541 h 4265541"/>
              <a:gd name="connsiteX9" fmla="*/ 10604 w 9177714"/>
              <a:gd name="connsiteY9" fmla="*/ 0 h 4265541"/>
              <a:gd name="connsiteX0" fmla="*/ 10604 w 9177714"/>
              <a:gd name="connsiteY0" fmla="*/ 0 h 4268698"/>
              <a:gd name="connsiteX1" fmla="*/ 9161216 w 9177714"/>
              <a:gd name="connsiteY1" fmla="*/ 9701 h 4268698"/>
              <a:gd name="connsiteX2" fmla="*/ 9161216 w 9177714"/>
              <a:gd name="connsiteY2" fmla="*/ 88 h 4268698"/>
              <a:gd name="connsiteX3" fmla="*/ 9177714 w 9177714"/>
              <a:gd name="connsiteY3" fmla="*/ 3974880 h 4268698"/>
              <a:gd name="connsiteX4" fmla="*/ 1362286 w 9177714"/>
              <a:gd name="connsiteY4" fmla="*/ 3975945 h 4268698"/>
              <a:gd name="connsiteX5" fmla="*/ 1279953 w 9177714"/>
              <a:gd name="connsiteY5" fmla="*/ 4009884 h 4268698"/>
              <a:gd name="connsiteX6" fmla="*/ 1272833 w 9177714"/>
              <a:gd name="connsiteY6" fmla="*/ 4197223 h 4268698"/>
              <a:gd name="connsiteX7" fmla="*/ 1173434 w 9177714"/>
              <a:gd name="connsiteY7" fmla="*/ 4266113 h 4268698"/>
              <a:gd name="connsiteX8" fmla="*/ 10603 w 9177714"/>
              <a:gd name="connsiteY8" fmla="*/ 4265541 h 4268698"/>
              <a:gd name="connsiteX9" fmla="*/ 10604 w 9177714"/>
              <a:gd name="connsiteY9" fmla="*/ 0 h 4268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77714" h="4268698">
                <a:moveTo>
                  <a:pt x="10604" y="0"/>
                </a:moveTo>
                <a:lnTo>
                  <a:pt x="9161216" y="9701"/>
                </a:lnTo>
                <a:lnTo>
                  <a:pt x="9161216" y="88"/>
                </a:lnTo>
                <a:cubicBezTo>
                  <a:pt x="9162804" y="1317689"/>
                  <a:pt x="9176126" y="2657279"/>
                  <a:pt x="9177714" y="3974880"/>
                </a:cubicBezTo>
                <a:lnTo>
                  <a:pt x="1362286" y="3975945"/>
                </a:lnTo>
                <a:cubicBezTo>
                  <a:pt x="1324129" y="3980616"/>
                  <a:pt x="1294862" y="3973004"/>
                  <a:pt x="1279953" y="4009884"/>
                </a:cubicBezTo>
                <a:cubicBezTo>
                  <a:pt x="1265044" y="4046764"/>
                  <a:pt x="1276941" y="4145761"/>
                  <a:pt x="1272833" y="4197223"/>
                </a:cubicBezTo>
                <a:cubicBezTo>
                  <a:pt x="1272365" y="4244226"/>
                  <a:pt x="1221664" y="4268698"/>
                  <a:pt x="1173434" y="4266113"/>
                </a:cubicBezTo>
                <a:lnTo>
                  <a:pt x="10603" y="4265541"/>
                </a:lnTo>
                <a:cubicBezTo>
                  <a:pt x="0" y="3520977"/>
                  <a:pt x="7635" y="788799"/>
                  <a:pt x="10604" y="0"/>
                </a:cubicBezTo>
                <a:close/>
              </a:path>
            </a:pathLst>
          </a:custGeom>
        </p:spPr>
        <p:txBody>
          <a:bodyPr/>
          <a:lstStyle/>
          <a:p>
            <a:r>
              <a:rPr lang="en-US"/>
              <a:t>Click icon to add picture</a:t>
            </a:r>
            <a:endParaRPr lang="en-GB" dirty="0"/>
          </a:p>
        </p:txBody>
      </p:sp>
      <p:sp>
        <p:nvSpPr>
          <p:cNvPr id="7" name="Rubrik 1"/>
          <p:cNvSpPr>
            <a:spLocks noGrp="1"/>
          </p:cNvSpPr>
          <p:nvPr>
            <p:ph type="title" hasCustomPrompt="1"/>
          </p:nvPr>
        </p:nvSpPr>
        <p:spPr>
          <a:xfrm>
            <a:off x="1619250" y="332656"/>
            <a:ext cx="6935788" cy="668338"/>
          </a:xfrm>
        </p:spPr>
        <p:txBody>
          <a:bodyPr/>
          <a:lstStyle>
            <a:lvl1pPr>
              <a:defRPr/>
            </a:lvl1pPr>
          </a:lstStyle>
          <a:p>
            <a:r>
              <a:rPr lang="sv-SE" dirty="0" err="1"/>
              <a:t>Chapter</a:t>
            </a:r>
            <a:r>
              <a:rPr lang="sv-SE" dirty="0"/>
              <a:t> </a:t>
            </a:r>
            <a:r>
              <a:rPr lang="sv-SE" dirty="0" err="1"/>
              <a:t>heading</a:t>
            </a:r>
            <a:endParaRPr lang="en-GB" dirty="0"/>
          </a:p>
        </p:txBody>
      </p:sp>
      <p:sp>
        <p:nvSpPr>
          <p:cNvPr id="9" name="Platshållare för datum 3"/>
          <p:cNvSpPr>
            <a:spLocks noGrp="1"/>
          </p:cNvSpPr>
          <p:nvPr>
            <p:ph type="dt" sz="half" idx="10"/>
          </p:nvPr>
        </p:nvSpPr>
        <p:spPr>
          <a:xfrm>
            <a:off x="5580112" y="6288509"/>
            <a:ext cx="2133600" cy="365125"/>
          </a:xfrm>
        </p:spPr>
        <p:txBody>
          <a:bodyPr/>
          <a:lstStyle>
            <a:lvl1pPr>
              <a:defRPr sz="1100"/>
            </a:lvl1pPr>
          </a:lstStyle>
          <a:p>
            <a:r>
              <a:rPr lang="sv-SE"/>
              <a:t>2016-11-20</a:t>
            </a:r>
          </a:p>
        </p:txBody>
      </p:sp>
      <p:sp>
        <p:nvSpPr>
          <p:cNvPr id="10" name="Platshållare för bildnummer 5"/>
          <p:cNvSpPr>
            <a:spLocks noGrp="1"/>
          </p:cNvSpPr>
          <p:nvPr>
            <p:ph type="sldNum" sz="quarter" idx="12"/>
          </p:nvPr>
        </p:nvSpPr>
        <p:spPr>
          <a:xfrm>
            <a:off x="8172399" y="6301410"/>
            <a:ext cx="531863" cy="365125"/>
          </a:xfrm>
        </p:spPr>
        <p:txBody>
          <a:bodyPr/>
          <a:lstStyle>
            <a:lvl1pPr>
              <a:defRPr sz="1100"/>
            </a:lvl1pPr>
          </a:lstStyle>
          <a:p>
            <a:fld id="{227F0B53-9592-4779-891F-997228E46E01}" type="slidenum">
              <a:rPr lang="sv-SE" smtClean="0"/>
              <a:t>‹#›</a:t>
            </a:fld>
            <a:endParaRPr lang="sv-SE"/>
          </a:p>
        </p:txBody>
      </p:sp>
      <p:sp>
        <p:nvSpPr>
          <p:cNvPr id="11"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bg1"/>
                </a:solidFill>
              </a:defRPr>
            </a:lvl1pPr>
          </a:lstStyle>
          <a:p>
            <a:r>
              <a:rPr lang="sv-SE"/>
              <a:t>OpenIPSL Tutorial</a:t>
            </a:r>
          </a:p>
        </p:txBody>
      </p:sp>
    </p:spTree>
    <p:extLst>
      <p:ext uri="{BB962C8B-B14F-4D97-AF65-F5344CB8AC3E}">
        <p14:creationId xmlns:p14="http://schemas.microsoft.com/office/powerpoint/2010/main" val="416482959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Large image">
    <p:spTree>
      <p:nvGrpSpPr>
        <p:cNvPr id="1" name=""/>
        <p:cNvGrpSpPr/>
        <p:nvPr/>
      </p:nvGrpSpPr>
      <p:grpSpPr>
        <a:xfrm>
          <a:off x="0" y="0"/>
          <a:ext cx="0" cy="0"/>
          <a:chOff x="0" y="0"/>
          <a:chExt cx="0" cy="0"/>
        </a:xfrm>
      </p:grpSpPr>
      <p:sp>
        <p:nvSpPr>
          <p:cNvPr id="8" name="Platshållare för bild 7"/>
          <p:cNvSpPr>
            <a:spLocks noGrp="1"/>
          </p:cNvSpPr>
          <p:nvPr>
            <p:ph type="pic" sz="quarter" idx="13"/>
          </p:nvPr>
        </p:nvSpPr>
        <p:spPr>
          <a:xfrm>
            <a:off x="1619250" y="1582738"/>
            <a:ext cx="6935788" cy="4078287"/>
          </a:xfrm>
        </p:spPr>
        <p:txBody>
          <a:bodyPr/>
          <a:lstStyle/>
          <a:p>
            <a:r>
              <a:rPr lang="en-US"/>
              <a:t>Click icon to add picture</a:t>
            </a:r>
            <a:endParaRPr lang="en-GB" dirty="0"/>
          </a:p>
        </p:txBody>
      </p:sp>
      <p:sp>
        <p:nvSpPr>
          <p:cNvPr id="7" name="Rubrik 1"/>
          <p:cNvSpPr>
            <a:spLocks noGrp="1"/>
          </p:cNvSpPr>
          <p:nvPr>
            <p:ph type="title"/>
          </p:nvPr>
        </p:nvSpPr>
        <p:spPr>
          <a:xfrm>
            <a:off x="1619250" y="332656"/>
            <a:ext cx="6935788" cy="668338"/>
          </a:xfrm>
        </p:spPr>
        <p:txBody>
          <a:bodyPr/>
          <a:lstStyle/>
          <a:p>
            <a:r>
              <a:rPr lang="en-US"/>
              <a:t>Click to edit Master title style</a:t>
            </a:r>
            <a:endParaRPr lang="en-GB" dirty="0"/>
          </a:p>
        </p:txBody>
      </p:sp>
      <p:sp>
        <p:nvSpPr>
          <p:cNvPr id="9" name="Platshållare för datum 3"/>
          <p:cNvSpPr>
            <a:spLocks noGrp="1"/>
          </p:cNvSpPr>
          <p:nvPr>
            <p:ph type="dt" sz="half" idx="10"/>
          </p:nvPr>
        </p:nvSpPr>
        <p:spPr>
          <a:xfrm>
            <a:off x="5580112" y="6288509"/>
            <a:ext cx="2133600" cy="365125"/>
          </a:xfrm>
        </p:spPr>
        <p:txBody>
          <a:bodyPr/>
          <a:lstStyle>
            <a:lvl1pPr>
              <a:defRPr sz="1100"/>
            </a:lvl1pPr>
          </a:lstStyle>
          <a:p>
            <a:r>
              <a:rPr lang="sv-SE"/>
              <a:t>2016-11-20</a:t>
            </a:r>
          </a:p>
        </p:txBody>
      </p:sp>
      <p:sp>
        <p:nvSpPr>
          <p:cNvPr id="10" name="Platshållare för bildnummer 5"/>
          <p:cNvSpPr>
            <a:spLocks noGrp="1"/>
          </p:cNvSpPr>
          <p:nvPr>
            <p:ph type="sldNum" sz="quarter" idx="12"/>
          </p:nvPr>
        </p:nvSpPr>
        <p:spPr>
          <a:xfrm>
            <a:off x="8172399" y="6301410"/>
            <a:ext cx="531863" cy="365125"/>
          </a:xfrm>
        </p:spPr>
        <p:txBody>
          <a:bodyPr/>
          <a:lstStyle>
            <a:lvl1pPr>
              <a:defRPr sz="1100"/>
            </a:lvl1pPr>
          </a:lstStyle>
          <a:p>
            <a:fld id="{227F0B53-9592-4779-891F-997228E46E01}" type="slidenum">
              <a:rPr lang="sv-SE" smtClean="0"/>
              <a:t>‹#›</a:t>
            </a:fld>
            <a:endParaRPr lang="sv-SE"/>
          </a:p>
        </p:txBody>
      </p:sp>
      <p:sp>
        <p:nvSpPr>
          <p:cNvPr id="11"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bg1"/>
                </a:solidFill>
              </a:defRPr>
            </a:lvl1pPr>
          </a:lstStyle>
          <a:p>
            <a:r>
              <a:rPr lang="sv-SE"/>
              <a:t>OpenIPSL Tutorial</a:t>
            </a:r>
          </a:p>
        </p:txBody>
      </p:sp>
    </p:spTree>
    <p:extLst>
      <p:ext uri="{BB962C8B-B14F-4D97-AF65-F5344CB8AC3E}">
        <p14:creationId xmlns:p14="http://schemas.microsoft.com/office/powerpoint/2010/main" val="187859243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4" name="Rektangel 13"/>
          <p:cNvSpPr/>
          <p:nvPr/>
        </p:nvSpPr>
        <p:spPr bwMode="gray">
          <a:xfrm>
            <a:off x="0" y="3613150"/>
            <a:ext cx="9144000" cy="32448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Rubrik 1"/>
          <p:cNvSpPr>
            <a:spLocks noGrp="1"/>
          </p:cNvSpPr>
          <p:nvPr>
            <p:ph type="ctrTitle"/>
          </p:nvPr>
        </p:nvSpPr>
        <p:spPr bwMode="gray">
          <a:xfrm>
            <a:off x="1568185" y="1161181"/>
            <a:ext cx="6984337" cy="1043684"/>
          </a:xfrm>
        </p:spPr>
        <p:txBody>
          <a:bodyPr>
            <a:normAutofit/>
          </a:bodyPr>
          <a:lstStyle>
            <a:lvl1pPr algn="l">
              <a:lnSpc>
                <a:spcPts val="3800"/>
              </a:lnSpc>
              <a:defRPr sz="3600" b="1"/>
            </a:lvl1pPr>
          </a:lstStyle>
          <a:p>
            <a:r>
              <a:rPr lang="en-US"/>
              <a:t>Click to edit Master title style</a:t>
            </a:r>
            <a:endParaRPr lang="en-GB" dirty="0"/>
          </a:p>
        </p:txBody>
      </p:sp>
      <p:sp>
        <p:nvSpPr>
          <p:cNvPr id="3" name="Underrubrik 2"/>
          <p:cNvSpPr>
            <a:spLocks noGrp="1"/>
          </p:cNvSpPr>
          <p:nvPr>
            <p:ph type="subTitle" idx="1"/>
          </p:nvPr>
        </p:nvSpPr>
        <p:spPr bwMode="gray">
          <a:xfrm>
            <a:off x="1568185" y="2630370"/>
            <a:ext cx="6987075" cy="936104"/>
          </a:xfrm>
        </p:spPr>
        <p:txBody>
          <a:bodyPr>
            <a:normAutofit/>
          </a:bodyPr>
          <a:lstStyle>
            <a:lvl1pPr marL="0" indent="0" algn="l">
              <a:lnSpc>
                <a:spcPts val="2800"/>
              </a:lnSpc>
              <a:spcBef>
                <a:spcPts val="0"/>
              </a:spcBef>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dirty="0"/>
          </a:p>
        </p:txBody>
      </p:sp>
      <p:pic>
        <p:nvPicPr>
          <p:cNvPr id="1026" name="Picture 2" descr="http://intra.kth.se/polopoly_fs/1.383275!/image/KTH_pngs.pn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r="36469" b="7207"/>
          <a:stretch/>
        </p:blipFill>
        <p:spPr bwMode="gray">
          <a:xfrm>
            <a:off x="347663" y="344488"/>
            <a:ext cx="803938" cy="803275"/>
          </a:xfrm>
          <a:prstGeom prst="rect">
            <a:avLst/>
          </a:prstGeom>
          <a:noFill/>
          <a:extLst>
            <a:ext uri="{909E8E84-426E-40DD-AFC4-6F175D3DCCD1}">
              <a14:hiddenFill xmlns:a14="http://schemas.microsoft.com/office/drawing/2010/main">
                <a:solidFill>
                  <a:srgbClr val="FFFFFF"/>
                </a:solidFill>
              </a14:hiddenFill>
            </a:ext>
          </a:extLst>
        </p:spPr>
      </p:pic>
      <p:sp>
        <p:nvSpPr>
          <p:cNvPr id="8" name="Line 6"/>
          <p:cNvSpPr>
            <a:spLocks noChangeShapeType="1"/>
          </p:cNvSpPr>
          <p:nvPr/>
        </p:nvSpPr>
        <p:spPr bwMode="gray">
          <a:xfrm>
            <a:off x="-1375645" y="5596697"/>
            <a:ext cx="0" cy="0"/>
          </a:xfrm>
          <a:prstGeom prst="line">
            <a:avLst/>
          </a:prstGeom>
          <a:noFill/>
          <a:ln w="3"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 name="Freeform 7"/>
          <p:cNvSpPr>
            <a:spLocks/>
          </p:cNvSpPr>
          <p:nvPr/>
        </p:nvSpPr>
        <p:spPr bwMode="gray">
          <a:xfrm>
            <a:off x="-3236" y="4049403"/>
            <a:ext cx="9150869" cy="1215998"/>
          </a:xfrm>
          <a:custGeom>
            <a:avLst/>
            <a:gdLst>
              <a:gd name="T0" fmla="*/ 0 w 8479"/>
              <a:gd name="T1" fmla="*/ 356 h 535"/>
              <a:gd name="T2" fmla="*/ 597 w 8479"/>
              <a:gd name="T3" fmla="*/ 356 h 535"/>
              <a:gd name="T4" fmla="*/ 625 w 8479"/>
              <a:gd name="T5" fmla="*/ 328 h 535"/>
              <a:gd name="T6" fmla="*/ 625 w 8479"/>
              <a:gd name="T7" fmla="*/ 28 h 535"/>
              <a:gd name="T8" fmla="*/ 653 w 8479"/>
              <a:gd name="T9" fmla="*/ 0 h 535"/>
              <a:gd name="T10" fmla="*/ 954 w 8479"/>
              <a:gd name="T11" fmla="*/ 0 h 535"/>
              <a:gd name="T12" fmla="*/ 982 w 8479"/>
              <a:gd name="T13" fmla="*/ 28 h 535"/>
              <a:gd name="T14" fmla="*/ 982 w 8479"/>
              <a:gd name="T15" fmla="*/ 507 h 535"/>
              <a:gd name="T16" fmla="*/ 1010 w 8479"/>
              <a:gd name="T17" fmla="*/ 535 h 535"/>
              <a:gd name="T18" fmla="*/ 1545 w 8479"/>
              <a:gd name="T19" fmla="*/ 535 h 535"/>
              <a:gd name="T20" fmla="*/ 1573 w 8479"/>
              <a:gd name="T21" fmla="*/ 507 h 535"/>
              <a:gd name="T22" fmla="*/ 1573 w 8479"/>
              <a:gd name="T23" fmla="*/ 328 h 535"/>
              <a:gd name="T24" fmla="*/ 1601 w 8479"/>
              <a:gd name="T25" fmla="*/ 300 h 535"/>
              <a:gd name="T26" fmla="*/ 2497 w 8479"/>
              <a:gd name="T27" fmla="*/ 300 h 535"/>
              <a:gd name="T28" fmla="*/ 2524 w 8479"/>
              <a:gd name="T29" fmla="*/ 328 h 535"/>
              <a:gd name="T30" fmla="*/ 2524 w 8479"/>
              <a:gd name="T31" fmla="*/ 507 h 535"/>
              <a:gd name="T32" fmla="*/ 2552 w 8479"/>
              <a:gd name="T33" fmla="*/ 535 h 535"/>
              <a:gd name="T34" fmla="*/ 2797 w 8479"/>
              <a:gd name="T35" fmla="*/ 535 h 535"/>
              <a:gd name="T36" fmla="*/ 2825 w 8479"/>
              <a:gd name="T37" fmla="*/ 507 h 535"/>
              <a:gd name="T38" fmla="*/ 2825 w 8479"/>
              <a:gd name="T39" fmla="*/ 384 h 535"/>
              <a:gd name="T40" fmla="*/ 2852 w 8479"/>
              <a:gd name="T41" fmla="*/ 356 h 535"/>
              <a:gd name="T42" fmla="*/ 3153 w 8479"/>
              <a:gd name="T43" fmla="*/ 356 h 535"/>
              <a:gd name="T44" fmla="*/ 3181 w 8479"/>
              <a:gd name="T45" fmla="*/ 384 h 535"/>
              <a:gd name="T46" fmla="*/ 3181 w 8479"/>
              <a:gd name="T47" fmla="*/ 450 h 535"/>
              <a:gd name="T48" fmla="*/ 3209 w 8479"/>
              <a:gd name="T49" fmla="*/ 478 h 535"/>
              <a:gd name="T50" fmla="*/ 5290 w 8479"/>
              <a:gd name="T51" fmla="*/ 478 h 535"/>
              <a:gd name="T52" fmla="*/ 5317 w 8479"/>
              <a:gd name="T53" fmla="*/ 450 h 535"/>
              <a:gd name="T54" fmla="*/ 5317 w 8479"/>
              <a:gd name="T55" fmla="*/ 28 h 535"/>
              <a:gd name="T56" fmla="*/ 5345 w 8479"/>
              <a:gd name="T57" fmla="*/ 0 h 535"/>
              <a:gd name="T58" fmla="*/ 6031 w 8479"/>
              <a:gd name="T59" fmla="*/ 0 h 535"/>
              <a:gd name="T60" fmla="*/ 6059 w 8479"/>
              <a:gd name="T61" fmla="*/ 28 h 535"/>
              <a:gd name="T62" fmla="*/ 6059 w 8479"/>
              <a:gd name="T63" fmla="*/ 383 h 535"/>
              <a:gd name="T64" fmla="*/ 6087 w 8479"/>
              <a:gd name="T65" fmla="*/ 411 h 535"/>
              <a:gd name="T66" fmla="*/ 7130 w 8479"/>
              <a:gd name="T67" fmla="*/ 411 h 535"/>
              <a:gd name="T68" fmla="*/ 7158 w 8479"/>
              <a:gd name="T69" fmla="*/ 383 h 535"/>
              <a:gd name="T70" fmla="*/ 7158 w 8479"/>
              <a:gd name="T71" fmla="*/ 111 h 535"/>
              <a:gd name="T72" fmla="*/ 7186 w 8479"/>
              <a:gd name="T73" fmla="*/ 83 h 535"/>
              <a:gd name="T74" fmla="*/ 8479 w 8479"/>
              <a:gd name="T75" fmla="*/ 83 h 535"/>
              <a:gd name="connsiteX0" fmla="*/ 0 w 9296"/>
              <a:gd name="connsiteY0" fmla="*/ 6654 h 10000"/>
              <a:gd name="connsiteX1" fmla="*/ 33 w 9296"/>
              <a:gd name="connsiteY1" fmla="*/ 6131 h 10000"/>
              <a:gd name="connsiteX2" fmla="*/ 33 w 9296"/>
              <a:gd name="connsiteY2" fmla="*/ 523 h 10000"/>
              <a:gd name="connsiteX3" fmla="*/ 66 w 9296"/>
              <a:gd name="connsiteY3" fmla="*/ 0 h 10000"/>
              <a:gd name="connsiteX4" fmla="*/ 421 w 9296"/>
              <a:gd name="connsiteY4" fmla="*/ 0 h 10000"/>
              <a:gd name="connsiteX5" fmla="*/ 454 w 9296"/>
              <a:gd name="connsiteY5" fmla="*/ 523 h 10000"/>
              <a:gd name="connsiteX6" fmla="*/ 454 w 9296"/>
              <a:gd name="connsiteY6" fmla="*/ 9477 h 10000"/>
              <a:gd name="connsiteX7" fmla="*/ 487 w 9296"/>
              <a:gd name="connsiteY7" fmla="*/ 10000 h 10000"/>
              <a:gd name="connsiteX8" fmla="*/ 1118 w 9296"/>
              <a:gd name="connsiteY8" fmla="*/ 10000 h 10000"/>
              <a:gd name="connsiteX9" fmla="*/ 1151 w 9296"/>
              <a:gd name="connsiteY9" fmla="*/ 9477 h 10000"/>
              <a:gd name="connsiteX10" fmla="*/ 1151 w 9296"/>
              <a:gd name="connsiteY10" fmla="*/ 6131 h 10000"/>
              <a:gd name="connsiteX11" fmla="*/ 1184 w 9296"/>
              <a:gd name="connsiteY11" fmla="*/ 5607 h 10000"/>
              <a:gd name="connsiteX12" fmla="*/ 2241 w 9296"/>
              <a:gd name="connsiteY12" fmla="*/ 5607 h 10000"/>
              <a:gd name="connsiteX13" fmla="*/ 2273 w 9296"/>
              <a:gd name="connsiteY13" fmla="*/ 6131 h 10000"/>
              <a:gd name="connsiteX14" fmla="*/ 2273 w 9296"/>
              <a:gd name="connsiteY14" fmla="*/ 9477 h 10000"/>
              <a:gd name="connsiteX15" fmla="*/ 2306 w 9296"/>
              <a:gd name="connsiteY15" fmla="*/ 10000 h 10000"/>
              <a:gd name="connsiteX16" fmla="*/ 2595 w 9296"/>
              <a:gd name="connsiteY16" fmla="*/ 10000 h 10000"/>
              <a:gd name="connsiteX17" fmla="*/ 2628 w 9296"/>
              <a:gd name="connsiteY17" fmla="*/ 9477 h 10000"/>
              <a:gd name="connsiteX18" fmla="*/ 2628 w 9296"/>
              <a:gd name="connsiteY18" fmla="*/ 7178 h 10000"/>
              <a:gd name="connsiteX19" fmla="*/ 2660 w 9296"/>
              <a:gd name="connsiteY19" fmla="*/ 6654 h 10000"/>
              <a:gd name="connsiteX20" fmla="*/ 3015 w 9296"/>
              <a:gd name="connsiteY20" fmla="*/ 6654 h 10000"/>
              <a:gd name="connsiteX21" fmla="*/ 3048 w 9296"/>
              <a:gd name="connsiteY21" fmla="*/ 7178 h 10000"/>
              <a:gd name="connsiteX22" fmla="*/ 3048 w 9296"/>
              <a:gd name="connsiteY22" fmla="*/ 8411 h 10000"/>
              <a:gd name="connsiteX23" fmla="*/ 3081 w 9296"/>
              <a:gd name="connsiteY23" fmla="*/ 8935 h 10000"/>
              <a:gd name="connsiteX24" fmla="*/ 5535 w 9296"/>
              <a:gd name="connsiteY24" fmla="*/ 8935 h 10000"/>
              <a:gd name="connsiteX25" fmla="*/ 5567 w 9296"/>
              <a:gd name="connsiteY25" fmla="*/ 8411 h 10000"/>
              <a:gd name="connsiteX26" fmla="*/ 5567 w 9296"/>
              <a:gd name="connsiteY26" fmla="*/ 523 h 10000"/>
              <a:gd name="connsiteX27" fmla="*/ 5600 w 9296"/>
              <a:gd name="connsiteY27" fmla="*/ 0 h 10000"/>
              <a:gd name="connsiteX28" fmla="*/ 6409 w 9296"/>
              <a:gd name="connsiteY28" fmla="*/ 0 h 10000"/>
              <a:gd name="connsiteX29" fmla="*/ 6442 w 9296"/>
              <a:gd name="connsiteY29" fmla="*/ 523 h 10000"/>
              <a:gd name="connsiteX30" fmla="*/ 6442 w 9296"/>
              <a:gd name="connsiteY30" fmla="*/ 7159 h 10000"/>
              <a:gd name="connsiteX31" fmla="*/ 6475 w 9296"/>
              <a:gd name="connsiteY31" fmla="*/ 7682 h 10000"/>
              <a:gd name="connsiteX32" fmla="*/ 7705 w 9296"/>
              <a:gd name="connsiteY32" fmla="*/ 7682 h 10000"/>
              <a:gd name="connsiteX33" fmla="*/ 7738 w 9296"/>
              <a:gd name="connsiteY33" fmla="*/ 7159 h 10000"/>
              <a:gd name="connsiteX34" fmla="*/ 7738 w 9296"/>
              <a:gd name="connsiteY34" fmla="*/ 2075 h 10000"/>
              <a:gd name="connsiteX35" fmla="*/ 7771 w 9296"/>
              <a:gd name="connsiteY35" fmla="*/ 1551 h 10000"/>
              <a:gd name="connsiteX36" fmla="*/ 9296 w 9296"/>
              <a:gd name="connsiteY36" fmla="*/ 1551 h 10000"/>
              <a:gd name="connsiteX0" fmla="*/ 0 w 9965"/>
              <a:gd name="connsiteY0" fmla="*/ 6131 h 10000"/>
              <a:gd name="connsiteX1" fmla="*/ 0 w 9965"/>
              <a:gd name="connsiteY1" fmla="*/ 523 h 10000"/>
              <a:gd name="connsiteX2" fmla="*/ 36 w 9965"/>
              <a:gd name="connsiteY2" fmla="*/ 0 h 10000"/>
              <a:gd name="connsiteX3" fmla="*/ 418 w 9965"/>
              <a:gd name="connsiteY3" fmla="*/ 0 h 10000"/>
              <a:gd name="connsiteX4" fmla="*/ 453 w 9965"/>
              <a:gd name="connsiteY4" fmla="*/ 523 h 10000"/>
              <a:gd name="connsiteX5" fmla="*/ 453 w 9965"/>
              <a:gd name="connsiteY5" fmla="*/ 9477 h 10000"/>
              <a:gd name="connsiteX6" fmla="*/ 489 w 9965"/>
              <a:gd name="connsiteY6" fmla="*/ 10000 h 10000"/>
              <a:gd name="connsiteX7" fmla="*/ 1168 w 9965"/>
              <a:gd name="connsiteY7" fmla="*/ 10000 h 10000"/>
              <a:gd name="connsiteX8" fmla="*/ 1203 w 9965"/>
              <a:gd name="connsiteY8" fmla="*/ 9477 h 10000"/>
              <a:gd name="connsiteX9" fmla="*/ 1203 w 9965"/>
              <a:gd name="connsiteY9" fmla="*/ 6131 h 10000"/>
              <a:gd name="connsiteX10" fmla="*/ 1239 w 9965"/>
              <a:gd name="connsiteY10" fmla="*/ 5607 h 10000"/>
              <a:gd name="connsiteX11" fmla="*/ 2376 w 9965"/>
              <a:gd name="connsiteY11" fmla="*/ 5607 h 10000"/>
              <a:gd name="connsiteX12" fmla="*/ 2410 w 9965"/>
              <a:gd name="connsiteY12" fmla="*/ 6131 h 10000"/>
              <a:gd name="connsiteX13" fmla="*/ 2410 w 9965"/>
              <a:gd name="connsiteY13" fmla="*/ 9477 h 10000"/>
              <a:gd name="connsiteX14" fmla="*/ 2446 w 9965"/>
              <a:gd name="connsiteY14" fmla="*/ 10000 h 10000"/>
              <a:gd name="connsiteX15" fmla="*/ 2757 w 9965"/>
              <a:gd name="connsiteY15" fmla="*/ 10000 h 10000"/>
              <a:gd name="connsiteX16" fmla="*/ 2792 w 9965"/>
              <a:gd name="connsiteY16" fmla="*/ 9477 h 10000"/>
              <a:gd name="connsiteX17" fmla="*/ 2792 w 9965"/>
              <a:gd name="connsiteY17" fmla="*/ 7178 h 10000"/>
              <a:gd name="connsiteX18" fmla="*/ 2826 w 9965"/>
              <a:gd name="connsiteY18" fmla="*/ 6654 h 10000"/>
              <a:gd name="connsiteX19" fmla="*/ 3208 w 9965"/>
              <a:gd name="connsiteY19" fmla="*/ 6654 h 10000"/>
              <a:gd name="connsiteX20" fmla="*/ 3244 w 9965"/>
              <a:gd name="connsiteY20" fmla="*/ 7178 h 10000"/>
              <a:gd name="connsiteX21" fmla="*/ 3244 w 9965"/>
              <a:gd name="connsiteY21" fmla="*/ 8411 h 10000"/>
              <a:gd name="connsiteX22" fmla="*/ 3279 w 9965"/>
              <a:gd name="connsiteY22" fmla="*/ 8935 h 10000"/>
              <a:gd name="connsiteX23" fmla="*/ 5919 w 9965"/>
              <a:gd name="connsiteY23" fmla="*/ 8935 h 10000"/>
              <a:gd name="connsiteX24" fmla="*/ 5954 w 9965"/>
              <a:gd name="connsiteY24" fmla="*/ 8411 h 10000"/>
              <a:gd name="connsiteX25" fmla="*/ 5954 w 9965"/>
              <a:gd name="connsiteY25" fmla="*/ 523 h 10000"/>
              <a:gd name="connsiteX26" fmla="*/ 5989 w 9965"/>
              <a:gd name="connsiteY26" fmla="*/ 0 h 10000"/>
              <a:gd name="connsiteX27" fmla="*/ 6859 w 9965"/>
              <a:gd name="connsiteY27" fmla="*/ 0 h 10000"/>
              <a:gd name="connsiteX28" fmla="*/ 6895 w 9965"/>
              <a:gd name="connsiteY28" fmla="*/ 523 h 10000"/>
              <a:gd name="connsiteX29" fmla="*/ 6895 w 9965"/>
              <a:gd name="connsiteY29" fmla="*/ 7159 h 10000"/>
              <a:gd name="connsiteX30" fmla="*/ 6930 w 9965"/>
              <a:gd name="connsiteY30" fmla="*/ 7682 h 10000"/>
              <a:gd name="connsiteX31" fmla="*/ 8254 w 9965"/>
              <a:gd name="connsiteY31" fmla="*/ 7682 h 10000"/>
              <a:gd name="connsiteX32" fmla="*/ 8289 w 9965"/>
              <a:gd name="connsiteY32" fmla="*/ 7159 h 10000"/>
              <a:gd name="connsiteX33" fmla="*/ 8289 w 9965"/>
              <a:gd name="connsiteY33" fmla="*/ 2075 h 10000"/>
              <a:gd name="connsiteX34" fmla="*/ 8325 w 9965"/>
              <a:gd name="connsiteY34" fmla="*/ 1551 h 10000"/>
              <a:gd name="connsiteX35" fmla="*/ 9965 w 9965"/>
              <a:gd name="connsiteY35" fmla="*/ 1551 h 10000"/>
              <a:gd name="connsiteX0" fmla="*/ 0 w 10000"/>
              <a:gd name="connsiteY0" fmla="*/ 523 h 10000"/>
              <a:gd name="connsiteX1" fmla="*/ 36 w 10000"/>
              <a:gd name="connsiteY1" fmla="*/ 0 h 10000"/>
              <a:gd name="connsiteX2" fmla="*/ 419 w 10000"/>
              <a:gd name="connsiteY2" fmla="*/ 0 h 10000"/>
              <a:gd name="connsiteX3" fmla="*/ 455 w 10000"/>
              <a:gd name="connsiteY3" fmla="*/ 523 h 10000"/>
              <a:gd name="connsiteX4" fmla="*/ 455 w 10000"/>
              <a:gd name="connsiteY4" fmla="*/ 9477 h 10000"/>
              <a:gd name="connsiteX5" fmla="*/ 491 w 10000"/>
              <a:gd name="connsiteY5" fmla="*/ 10000 h 10000"/>
              <a:gd name="connsiteX6" fmla="*/ 1172 w 10000"/>
              <a:gd name="connsiteY6" fmla="*/ 10000 h 10000"/>
              <a:gd name="connsiteX7" fmla="*/ 1207 w 10000"/>
              <a:gd name="connsiteY7" fmla="*/ 9477 h 10000"/>
              <a:gd name="connsiteX8" fmla="*/ 1207 w 10000"/>
              <a:gd name="connsiteY8" fmla="*/ 6131 h 10000"/>
              <a:gd name="connsiteX9" fmla="*/ 1243 w 10000"/>
              <a:gd name="connsiteY9" fmla="*/ 5607 h 10000"/>
              <a:gd name="connsiteX10" fmla="*/ 2384 w 10000"/>
              <a:gd name="connsiteY10" fmla="*/ 5607 h 10000"/>
              <a:gd name="connsiteX11" fmla="*/ 2418 w 10000"/>
              <a:gd name="connsiteY11" fmla="*/ 6131 h 10000"/>
              <a:gd name="connsiteX12" fmla="*/ 2418 w 10000"/>
              <a:gd name="connsiteY12" fmla="*/ 9477 h 10000"/>
              <a:gd name="connsiteX13" fmla="*/ 2455 w 10000"/>
              <a:gd name="connsiteY13" fmla="*/ 10000 h 10000"/>
              <a:gd name="connsiteX14" fmla="*/ 2767 w 10000"/>
              <a:gd name="connsiteY14" fmla="*/ 10000 h 10000"/>
              <a:gd name="connsiteX15" fmla="*/ 2802 w 10000"/>
              <a:gd name="connsiteY15" fmla="*/ 9477 h 10000"/>
              <a:gd name="connsiteX16" fmla="*/ 2802 w 10000"/>
              <a:gd name="connsiteY16" fmla="*/ 7178 h 10000"/>
              <a:gd name="connsiteX17" fmla="*/ 2836 w 10000"/>
              <a:gd name="connsiteY17" fmla="*/ 6654 h 10000"/>
              <a:gd name="connsiteX18" fmla="*/ 3219 w 10000"/>
              <a:gd name="connsiteY18" fmla="*/ 6654 h 10000"/>
              <a:gd name="connsiteX19" fmla="*/ 3255 w 10000"/>
              <a:gd name="connsiteY19" fmla="*/ 7178 h 10000"/>
              <a:gd name="connsiteX20" fmla="*/ 3255 w 10000"/>
              <a:gd name="connsiteY20" fmla="*/ 8411 h 10000"/>
              <a:gd name="connsiteX21" fmla="*/ 3291 w 10000"/>
              <a:gd name="connsiteY21" fmla="*/ 8935 h 10000"/>
              <a:gd name="connsiteX22" fmla="*/ 5940 w 10000"/>
              <a:gd name="connsiteY22" fmla="*/ 8935 h 10000"/>
              <a:gd name="connsiteX23" fmla="*/ 5975 w 10000"/>
              <a:gd name="connsiteY23" fmla="*/ 8411 h 10000"/>
              <a:gd name="connsiteX24" fmla="*/ 5975 w 10000"/>
              <a:gd name="connsiteY24" fmla="*/ 523 h 10000"/>
              <a:gd name="connsiteX25" fmla="*/ 6010 w 10000"/>
              <a:gd name="connsiteY25" fmla="*/ 0 h 10000"/>
              <a:gd name="connsiteX26" fmla="*/ 6883 w 10000"/>
              <a:gd name="connsiteY26" fmla="*/ 0 h 10000"/>
              <a:gd name="connsiteX27" fmla="*/ 6919 w 10000"/>
              <a:gd name="connsiteY27" fmla="*/ 523 h 10000"/>
              <a:gd name="connsiteX28" fmla="*/ 6919 w 10000"/>
              <a:gd name="connsiteY28" fmla="*/ 7159 h 10000"/>
              <a:gd name="connsiteX29" fmla="*/ 6954 w 10000"/>
              <a:gd name="connsiteY29" fmla="*/ 7682 h 10000"/>
              <a:gd name="connsiteX30" fmla="*/ 8283 w 10000"/>
              <a:gd name="connsiteY30" fmla="*/ 7682 h 10000"/>
              <a:gd name="connsiteX31" fmla="*/ 8318 w 10000"/>
              <a:gd name="connsiteY31" fmla="*/ 7159 h 10000"/>
              <a:gd name="connsiteX32" fmla="*/ 8318 w 10000"/>
              <a:gd name="connsiteY32" fmla="*/ 2075 h 10000"/>
              <a:gd name="connsiteX33" fmla="*/ 8354 w 10000"/>
              <a:gd name="connsiteY33" fmla="*/ 1551 h 10000"/>
              <a:gd name="connsiteX34" fmla="*/ 10000 w 10000"/>
              <a:gd name="connsiteY34" fmla="*/ 1551 h 10000"/>
              <a:gd name="connsiteX0" fmla="*/ 0 w 9964"/>
              <a:gd name="connsiteY0" fmla="*/ 0 h 10000"/>
              <a:gd name="connsiteX1" fmla="*/ 383 w 9964"/>
              <a:gd name="connsiteY1" fmla="*/ 0 h 10000"/>
              <a:gd name="connsiteX2" fmla="*/ 419 w 9964"/>
              <a:gd name="connsiteY2" fmla="*/ 523 h 10000"/>
              <a:gd name="connsiteX3" fmla="*/ 419 w 9964"/>
              <a:gd name="connsiteY3" fmla="*/ 9477 h 10000"/>
              <a:gd name="connsiteX4" fmla="*/ 455 w 9964"/>
              <a:gd name="connsiteY4" fmla="*/ 10000 h 10000"/>
              <a:gd name="connsiteX5" fmla="*/ 1136 w 9964"/>
              <a:gd name="connsiteY5" fmla="*/ 10000 h 10000"/>
              <a:gd name="connsiteX6" fmla="*/ 1171 w 9964"/>
              <a:gd name="connsiteY6" fmla="*/ 9477 h 10000"/>
              <a:gd name="connsiteX7" fmla="*/ 1171 w 9964"/>
              <a:gd name="connsiteY7" fmla="*/ 6131 h 10000"/>
              <a:gd name="connsiteX8" fmla="*/ 1207 w 9964"/>
              <a:gd name="connsiteY8" fmla="*/ 5607 h 10000"/>
              <a:gd name="connsiteX9" fmla="*/ 2348 w 9964"/>
              <a:gd name="connsiteY9" fmla="*/ 5607 h 10000"/>
              <a:gd name="connsiteX10" fmla="*/ 2382 w 9964"/>
              <a:gd name="connsiteY10" fmla="*/ 6131 h 10000"/>
              <a:gd name="connsiteX11" fmla="*/ 2382 w 9964"/>
              <a:gd name="connsiteY11" fmla="*/ 9477 h 10000"/>
              <a:gd name="connsiteX12" fmla="*/ 2419 w 9964"/>
              <a:gd name="connsiteY12" fmla="*/ 10000 h 10000"/>
              <a:gd name="connsiteX13" fmla="*/ 2731 w 9964"/>
              <a:gd name="connsiteY13" fmla="*/ 10000 h 10000"/>
              <a:gd name="connsiteX14" fmla="*/ 2766 w 9964"/>
              <a:gd name="connsiteY14" fmla="*/ 9477 h 10000"/>
              <a:gd name="connsiteX15" fmla="*/ 2766 w 9964"/>
              <a:gd name="connsiteY15" fmla="*/ 7178 h 10000"/>
              <a:gd name="connsiteX16" fmla="*/ 2800 w 9964"/>
              <a:gd name="connsiteY16" fmla="*/ 6654 h 10000"/>
              <a:gd name="connsiteX17" fmla="*/ 3183 w 9964"/>
              <a:gd name="connsiteY17" fmla="*/ 6654 h 10000"/>
              <a:gd name="connsiteX18" fmla="*/ 3219 w 9964"/>
              <a:gd name="connsiteY18" fmla="*/ 7178 h 10000"/>
              <a:gd name="connsiteX19" fmla="*/ 3219 w 9964"/>
              <a:gd name="connsiteY19" fmla="*/ 8411 h 10000"/>
              <a:gd name="connsiteX20" fmla="*/ 3255 w 9964"/>
              <a:gd name="connsiteY20" fmla="*/ 8935 h 10000"/>
              <a:gd name="connsiteX21" fmla="*/ 5904 w 9964"/>
              <a:gd name="connsiteY21" fmla="*/ 8935 h 10000"/>
              <a:gd name="connsiteX22" fmla="*/ 5939 w 9964"/>
              <a:gd name="connsiteY22" fmla="*/ 8411 h 10000"/>
              <a:gd name="connsiteX23" fmla="*/ 5939 w 9964"/>
              <a:gd name="connsiteY23" fmla="*/ 523 h 10000"/>
              <a:gd name="connsiteX24" fmla="*/ 5974 w 9964"/>
              <a:gd name="connsiteY24" fmla="*/ 0 h 10000"/>
              <a:gd name="connsiteX25" fmla="*/ 6847 w 9964"/>
              <a:gd name="connsiteY25" fmla="*/ 0 h 10000"/>
              <a:gd name="connsiteX26" fmla="*/ 6883 w 9964"/>
              <a:gd name="connsiteY26" fmla="*/ 523 h 10000"/>
              <a:gd name="connsiteX27" fmla="*/ 6883 w 9964"/>
              <a:gd name="connsiteY27" fmla="*/ 7159 h 10000"/>
              <a:gd name="connsiteX28" fmla="*/ 6918 w 9964"/>
              <a:gd name="connsiteY28" fmla="*/ 7682 h 10000"/>
              <a:gd name="connsiteX29" fmla="*/ 8247 w 9964"/>
              <a:gd name="connsiteY29" fmla="*/ 7682 h 10000"/>
              <a:gd name="connsiteX30" fmla="*/ 8282 w 9964"/>
              <a:gd name="connsiteY30" fmla="*/ 7159 h 10000"/>
              <a:gd name="connsiteX31" fmla="*/ 8282 w 9964"/>
              <a:gd name="connsiteY31" fmla="*/ 2075 h 10000"/>
              <a:gd name="connsiteX32" fmla="*/ 8318 w 9964"/>
              <a:gd name="connsiteY32" fmla="*/ 1551 h 10000"/>
              <a:gd name="connsiteX33" fmla="*/ 9964 w 9964"/>
              <a:gd name="connsiteY33" fmla="*/ 1551 h 10000"/>
              <a:gd name="connsiteX0" fmla="*/ 0 w 9616"/>
              <a:gd name="connsiteY0" fmla="*/ 0 h 10000"/>
              <a:gd name="connsiteX1" fmla="*/ 37 w 9616"/>
              <a:gd name="connsiteY1" fmla="*/ 523 h 10000"/>
              <a:gd name="connsiteX2" fmla="*/ 37 w 9616"/>
              <a:gd name="connsiteY2" fmla="*/ 9477 h 10000"/>
              <a:gd name="connsiteX3" fmla="*/ 73 w 9616"/>
              <a:gd name="connsiteY3" fmla="*/ 10000 h 10000"/>
              <a:gd name="connsiteX4" fmla="*/ 756 w 9616"/>
              <a:gd name="connsiteY4" fmla="*/ 10000 h 10000"/>
              <a:gd name="connsiteX5" fmla="*/ 791 w 9616"/>
              <a:gd name="connsiteY5" fmla="*/ 9477 h 10000"/>
              <a:gd name="connsiteX6" fmla="*/ 791 w 9616"/>
              <a:gd name="connsiteY6" fmla="*/ 6131 h 10000"/>
              <a:gd name="connsiteX7" fmla="*/ 827 w 9616"/>
              <a:gd name="connsiteY7" fmla="*/ 5607 h 10000"/>
              <a:gd name="connsiteX8" fmla="*/ 1972 w 9616"/>
              <a:gd name="connsiteY8" fmla="*/ 5607 h 10000"/>
              <a:gd name="connsiteX9" fmla="*/ 2007 w 9616"/>
              <a:gd name="connsiteY9" fmla="*/ 6131 h 10000"/>
              <a:gd name="connsiteX10" fmla="*/ 2007 w 9616"/>
              <a:gd name="connsiteY10" fmla="*/ 9477 h 10000"/>
              <a:gd name="connsiteX11" fmla="*/ 2044 w 9616"/>
              <a:gd name="connsiteY11" fmla="*/ 10000 h 10000"/>
              <a:gd name="connsiteX12" fmla="*/ 2357 w 9616"/>
              <a:gd name="connsiteY12" fmla="*/ 10000 h 10000"/>
              <a:gd name="connsiteX13" fmla="*/ 2392 w 9616"/>
              <a:gd name="connsiteY13" fmla="*/ 9477 h 10000"/>
              <a:gd name="connsiteX14" fmla="*/ 2392 w 9616"/>
              <a:gd name="connsiteY14" fmla="*/ 7178 h 10000"/>
              <a:gd name="connsiteX15" fmla="*/ 2426 w 9616"/>
              <a:gd name="connsiteY15" fmla="*/ 6654 h 10000"/>
              <a:gd name="connsiteX16" fmla="*/ 2811 w 9616"/>
              <a:gd name="connsiteY16" fmla="*/ 6654 h 10000"/>
              <a:gd name="connsiteX17" fmla="*/ 2847 w 9616"/>
              <a:gd name="connsiteY17" fmla="*/ 7178 h 10000"/>
              <a:gd name="connsiteX18" fmla="*/ 2847 w 9616"/>
              <a:gd name="connsiteY18" fmla="*/ 8411 h 10000"/>
              <a:gd name="connsiteX19" fmla="*/ 2883 w 9616"/>
              <a:gd name="connsiteY19" fmla="*/ 8935 h 10000"/>
              <a:gd name="connsiteX20" fmla="*/ 5541 w 9616"/>
              <a:gd name="connsiteY20" fmla="*/ 8935 h 10000"/>
              <a:gd name="connsiteX21" fmla="*/ 5576 w 9616"/>
              <a:gd name="connsiteY21" fmla="*/ 8411 h 10000"/>
              <a:gd name="connsiteX22" fmla="*/ 5576 w 9616"/>
              <a:gd name="connsiteY22" fmla="*/ 523 h 10000"/>
              <a:gd name="connsiteX23" fmla="*/ 5612 w 9616"/>
              <a:gd name="connsiteY23" fmla="*/ 0 h 10000"/>
              <a:gd name="connsiteX24" fmla="*/ 6488 w 9616"/>
              <a:gd name="connsiteY24" fmla="*/ 0 h 10000"/>
              <a:gd name="connsiteX25" fmla="*/ 6524 w 9616"/>
              <a:gd name="connsiteY25" fmla="*/ 523 h 10000"/>
              <a:gd name="connsiteX26" fmla="*/ 6524 w 9616"/>
              <a:gd name="connsiteY26" fmla="*/ 7159 h 10000"/>
              <a:gd name="connsiteX27" fmla="*/ 6559 w 9616"/>
              <a:gd name="connsiteY27" fmla="*/ 7682 h 10000"/>
              <a:gd name="connsiteX28" fmla="*/ 7893 w 9616"/>
              <a:gd name="connsiteY28" fmla="*/ 7682 h 10000"/>
              <a:gd name="connsiteX29" fmla="*/ 7928 w 9616"/>
              <a:gd name="connsiteY29" fmla="*/ 7159 h 10000"/>
              <a:gd name="connsiteX30" fmla="*/ 7928 w 9616"/>
              <a:gd name="connsiteY30" fmla="*/ 2075 h 10000"/>
              <a:gd name="connsiteX31" fmla="*/ 7964 w 9616"/>
              <a:gd name="connsiteY31" fmla="*/ 1551 h 10000"/>
              <a:gd name="connsiteX32" fmla="*/ 9616 w 9616"/>
              <a:gd name="connsiteY32" fmla="*/ 1551 h 10000"/>
              <a:gd name="connsiteX0" fmla="*/ 0 w 9962"/>
              <a:gd name="connsiteY0" fmla="*/ 523 h 10000"/>
              <a:gd name="connsiteX1" fmla="*/ 0 w 9962"/>
              <a:gd name="connsiteY1" fmla="*/ 9477 h 10000"/>
              <a:gd name="connsiteX2" fmla="*/ 38 w 9962"/>
              <a:gd name="connsiteY2" fmla="*/ 10000 h 10000"/>
              <a:gd name="connsiteX3" fmla="*/ 748 w 9962"/>
              <a:gd name="connsiteY3" fmla="*/ 10000 h 10000"/>
              <a:gd name="connsiteX4" fmla="*/ 785 w 9962"/>
              <a:gd name="connsiteY4" fmla="*/ 9477 h 10000"/>
              <a:gd name="connsiteX5" fmla="*/ 785 w 9962"/>
              <a:gd name="connsiteY5" fmla="*/ 6131 h 10000"/>
              <a:gd name="connsiteX6" fmla="*/ 822 w 9962"/>
              <a:gd name="connsiteY6" fmla="*/ 5607 h 10000"/>
              <a:gd name="connsiteX7" fmla="*/ 2013 w 9962"/>
              <a:gd name="connsiteY7" fmla="*/ 5607 h 10000"/>
              <a:gd name="connsiteX8" fmla="*/ 2049 w 9962"/>
              <a:gd name="connsiteY8" fmla="*/ 6131 h 10000"/>
              <a:gd name="connsiteX9" fmla="*/ 2049 w 9962"/>
              <a:gd name="connsiteY9" fmla="*/ 9477 h 10000"/>
              <a:gd name="connsiteX10" fmla="*/ 2088 w 9962"/>
              <a:gd name="connsiteY10" fmla="*/ 10000 h 10000"/>
              <a:gd name="connsiteX11" fmla="*/ 2413 w 9962"/>
              <a:gd name="connsiteY11" fmla="*/ 10000 h 10000"/>
              <a:gd name="connsiteX12" fmla="*/ 2450 w 9962"/>
              <a:gd name="connsiteY12" fmla="*/ 9477 h 10000"/>
              <a:gd name="connsiteX13" fmla="*/ 2450 w 9962"/>
              <a:gd name="connsiteY13" fmla="*/ 7178 h 10000"/>
              <a:gd name="connsiteX14" fmla="*/ 2485 w 9962"/>
              <a:gd name="connsiteY14" fmla="*/ 6654 h 10000"/>
              <a:gd name="connsiteX15" fmla="*/ 2885 w 9962"/>
              <a:gd name="connsiteY15" fmla="*/ 6654 h 10000"/>
              <a:gd name="connsiteX16" fmla="*/ 2923 w 9962"/>
              <a:gd name="connsiteY16" fmla="*/ 7178 h 10000"/>
              <a:gd name="connsiteX17" fmla="*/ 2923 w 9962"/>
              <a:gd name="connsiteY17" fmla="*/ 8411 h 10000"/>
              <a:gd name="connsiteX18" fmla="*/ 2960 w 9962"/>
              <a:gd name="connsiteY18" fmla="*/ 8935 h 10000"/>
              <a:gd name="connsiteX19" fmla="*/ 5724 w 9962"/>
              <a:gd name="connsiteY19" fmla="*/ 8935 h 10000"/>
              <a:gd name="connsiteX20" fmla="*/ 5761 w 9962"/>
              <a:gd name="connsiteY20" fmla="*/ 8411 h 10000"/>
              <a:gd name="connsiteX21" fmla="*/ 5761 w 9962"/>
              <a:gd name="connsiteY21" fmla="*/ 523 h 10000"/>
              <a:gd name="connsiteX22" fmla="*/ 5798 w 9962"/>
              <a:gd name="connsiteY22" fmla="*/ 0 h 10000"/>
              <a:gd name="connsiteX23" fmla="*/ 6709 w 9962"/>
              <a:gd name="connsiteY23" fmla="*/ 0 h 10000"/>
              <a:gd name="connsiteX24" fmla="*/ 6747 w 9962"/>
              <a:gd name="connsiteY24" fmla="*/ 523 h 10000"/>
              <a:gd name="connsiteX25" fmla="*/ 6747 w 9962"/>
              <a:gd name="connsiteY25" fmla="*/ 7159 h 10000"/>
              <a:gd name="connsiteX26" fmla="*/ 6783 w 9962"/>
              <a:gd name="connsiteY26" fmla="*/ 7682 h 10000"/>
              <a:gd name="connsiteX27" fmla="*/ 8170 w 9962"/>
              <a:gd name="connsiteY27" fmla="*/ 7682 h 10000"/>
              <a:gd name="connsiteX28" fmla="*/ 8207 w 9962"/>
              <a:gd name="connsiteY28" fmla="*/ 7159 h 10000"/>
              <a:gd name="connsiteX29" fmla="*/ 8207 w 9962"/>
              <a:gd name="connsiteY29" fmla="*/ 2075 h 10000"/>
              <a:gd name="connsiteX30" fmla="*/ 8244 w 9962"/>
              <a:gd name="connsiteY30" fmla="*/ 1551 h 10000"/>
              <a:gd name="connsiteX31" fmla="*/ 9962 w 9962"/>
              <a:gd name="connsiteY31" fmla="*/ 1551 h 10000"/>
              <a:gd name="connsiteX0" fmla="*/ 0 w 10000"/>
              <a:gd name="connsiteY0" fmla="*/ 9477 h 10000"/>
              <a:gd name="connsiteX1" fmla="*/ 38 w 10000"/>
              <a:gd name="connsiteY1" fmla="*/ 10000 h 10000"/>
              <a:gd name="connsiteX2" fmla="*/ 751 w 10000"/>
              <a:gd name="connsiteY2" fmla="*/ 10000 h 10000"/>
              <a:gd name="connsiteX3" fmla="*/ 788 w 10000"/>
              <a:gd name="connsiteY3" fmla="*/ 9477 h 10000"/>
              <a:gd name="connsiteX4" fmla="*/ 788 w 10000"/>
              <a:gd name="connsiteY4" fmla="*/ 6131 h 10000"/>
              <a:gd name="connsiteX5" fmla="*/ 825 w 10000"/>
              <a:gd name="connsiteY5" fmla="*/ 5607 h 10000"/>
              <a:gd name="connsiteX6" fmla="*/ 2021 w 10000"/>
              <a:gd name="connsiteY6" fmla="*/ 5607 h 10000"/>
              <a:gd name="connsiteX7" fmla="*/ 2057 w 10000"/>
              <a:gd name="connsiteY7" fmla="*/ 6131 h 10000"/>
              <a:gd name="connsiteX8" fmla="*/ 2057 w 10000"/>
              <a:gd name="connsiteY8" fmla="*/ 9477 h 10000"/>
              <a:gd name="connsiteX9" fmla="*/ 2096 w 10000"/>
              <a:gd name="connsiteY9" fmla="*/ 10000 h 10000"/>
              <a:gd name="connsiteX10" fmla="*/ 2422 w 10000"/>
              <a:gd name="connsiteY10" fmla="*/ 10000 h 10000"/>
              <a:gd name="connsiteX11" fmla="*/ 2459 w 10000"/>
              <a:gd name="connsiteY11" fmla="*/ 9477 h 10000"/>
              <a:gd name="connsiteX12" fmla="*/ 2459 w 10000"/>
              <a:gd name="connsiteY12" fmla="*/ 7178 h 10000"/>
              <a:gd name="connsiteX13" fmla="*/ 2494 w 10000"/>
              <a:gd name="connsiteY13" fmla="*/ 6654 h 10000"/>
              <a:gd name="connsiteX14" fmla="*/ 2896 w 10000"/>
              <a:gd name="connsiteY14" fmla="*/ 6654 h 10000"/>
              <a:gd name="connsiteX15" fmla="*/ 2934 w 10000"/>
              <a:gd name="connsiteY15" fmla="*/ 7178 h 10000"/>
              <a:gd name="connsiteX16" fmla="*/ 2934 w 10000"/>
              <a:gd name="connsiteY16" fmla="*/ 8411 h 10000"/>
              <a:gd name="connsiteX17" fmla="*/ 2971 w 10000"/>
              <a:gd name="connsiteY17" fmla="*/ 8935 h 10000"/>
              <a:gd name="connsiteX18" fmla="*/ 5746 w 10000"/>
              <a:gd name="connsiteY18" fmla="*/ 8935 h 10000"/>
              <a:gd name="connsiteX19" fmla="*/ 5783 w 10000"/>
              <a:gd name="connsiteY19" fmla="*/ 8411 h 10000"/>
              <a:gd name="connsiteX20" fmla="*/ 5783 w 10000"/>
              <a:gd name="connsiteY20" fmla="*/ 523 h 10000"/>
              <a:gd name="connsiteX21" fmla="*/ 5820 w 10000"/>
              <a:gd name="connsiteY21" fmla="*/ 0 h 10000"/>
              <a:gd name="connsiteX22" fmla="*/ 6735 w 10000"/>
              <a:gd name="connsiteY22" fmla="*/ 0 h 10000"/>
              <a:gd name="connsiteX23" fmla="*/ 6773 w 10000"/>
              <a:gd name="connsiteY23" fmla="*/ 523 h 10000"/>
              <a:gd name="connsiteX24" fmla="*/ 6773 w 10000"/>
              <a:gd name="connsiteY24" fmla="*/ 7159 h 10000"/>
              <a:gd name="connsiteX25" fmla="*/ 6809 w 10000"/>
              <a:gd name="connsiteY25" fmla="*/ 7682 h 10000"/>
              <a:gd name="connsiteX26" fmla="*/ 8201 w 10000"/>
              <a:gd name="connsiteY26" fmla="*/ 7682 h 10000"/>
              <a:gd name="connsiteX27" fmla="*/ 8238 w 10000"/>
              <a:gd name="connsiteY27" fmla="*/ 7159 h 10000"/>
              <a:gd name="connsiteX28" fmla="*/ 8238 w 10000"/>
              <a:gd name="connsiteY28" fmla="*/ 2075 h 10000"/>
              <a:gd name="connsiteX29" fmla="*/ 8275 w 10000"/>
              <a:gd name="connsiteY29" fmla="*/ 1551 h 10000"/>
              <a:gd name="connsiteX30" fmla="*/ 10000 w 10000"/>
              <a:gd name="connsiteY30" fmla="*/ 1551 h 10000"/>
              <a:gd name="connsiteX0" fmla="*/ 0 w 9962"/>
              <a:gd name="connsiteY0" fmla="*/ 10000 h 10000"/>
              <a:gd name="connsiteX1" fmla="*/ 713 w 9962"/>
              <a:gd name="connsiteY1" fmla="*/ 10000 h 10000"/>
              <a:gd name="connsiteX2" fmla="*/ 750 w 9962"/>
              <a:gd name="connsiteY2" fmla="*/ 9477 h 10000"/>
              <a:gd name="connsiteX3" fmla="*/ 750 w 9962"/>
              <a:gd name="connsiteY3" fmla="*/ 6131 h 10000"/>
              <a:gd name="connsiteX4" fmla="*/ 787 w 9962"/>
              <a:gd name="connsiteY4" fmla="*/ 5607 h 10000"/>
              <a:gd name="connsiteX5" fmla="*/ 1983 w 9962"/>
              <a:gd name="connsiteY5" fmla="*/ 5607 h 10000"/>
              <a:gd name="connsiteX6" fmla="*/ 2019 w 9962"/>
              <a:gd name="connsiteY6" fmla="*/ 6131 h 10000"/>
              <a:gd name="connsiteX7" fmla="*/ 2019 w 9962"/>
              <a:gd name="connsiteY7" fmla="*/ 9477 h 10000"/>
              <a:gd name="connsiteX8" fmla="*/ 2058 w 9962"/>
              <a:gd name="connsiteY8" fmla="*/ 10000 h 10000"/>
              <a:gd name="connsiteX9" fmla="*/ 2384 w 9962"/>
              <a:gd name="connsiteY9" fmla="*/ 10000 h 10000"/>
              <a:gd name="connsiteX10" fmla="*/ 2421 w 9962"/>
              <a:gd name="connsiteY10" fmla="*/ 9477 h 10000"/>
              <a:gd name="connsiteX11" fmla="*/ 2421 w 9962"/>
              <a:gd name="connsiteY11" fmla="*/ 7178 h 10000"/>
              <a:gd name="connsiteX12" fmla="*/ 2456 w 9962"/>
              <a:gd name="connsiteY12" fmla="*/ 6654 h 10000"/>
              <a:gd name="connsiteX13" fmla="*/ 2858 w 9962"/>
              <a:gd name="connsiteY13" fmla="*/ 6654 h 10000"/>
              <a:gd name="connsiteX14" fmla="*/ 2896 w 9962"/>
              <a:gd name="connsiteY14" fmla="*/ 7178 h 10000"/>
              <a:gd name="connsiteX15" fmla="*/ 2896 w 9962"/>
              <a:gd name="connsiteY15" fmla="*/ 8411 h 10000"/>
              <a:gd name="connsiteX16" fmla="*/ 2933 w 9962"/>
              <a:gd name="connsiteY16" fmla="*/ 8935 h 10000"/>
              <a:gd name="connsiteX17" fmla="*/ 5708 w 9962"/>
              <a:gd name="connsiteY17" fmla="*/ 8935 h 10000"/>
              <a:gd name="connsiteX18" fmla="*/ 5745 w 9962"/>
              <a:gd name="connsiteY18" fmla="*/ 8411 h 10000"/>
              <a:gd name="connsiteX19" fmla="*/ 5745 w 9962"/>
              <a:gd name="connsiteY19" fmla="*/ 523 h 10000"/>
              <a:gd name="connsiteX20" fmla="*/ 5782 w 9962"/>
              <a:gd name="connsiteY20" fmla="*/ 0 h 10000"/>
              <a:gd name="connsiteX21" fmla="*/ 6697 w 9962"/>
              <a:gd name="connsiteY21" fmla="*/ 0 h 10000"/>
              <a:gd name="connsiteX22" fmla="*/ 6735 w 9962"/>
              <a:gd name="connsiteY22" fmla="*/ 523 h 10000"/>
              <a:gd name="connsiteX23" fmla="*/ 6735 w 9962"/>
              <a:gd name="connsiteY23" fmla="*/ 7159 h 10000"/>
              <a:gd name="connsiteX24" fmla="*/ 6771 w 9962"/>
              <a:gd name="connsiteY24" fmla="*/ 7682 h 10000"/>
              <a:gd name="connsiteX25" fmla="*/ 8163 w 9962"/>
              <a:gd name="connsiteY25" fmla="*/ 7682 h 10000"/>
              <a:gd name="connsiteX26" fmla="*/ 8200 w 9962"/>
              <a:gd name="connsiteY26" fmla="*/ 7159 h 10000"/>
              <a:gd name="connsiteX27" fmla="*/ 8200 w 9962"/>
              <a:gd name="connsiteY27" fmla="*/ 2075 h 10000"/>
              <a:gd name="connsiteX28" fmla="*/ 8237 w 9962"/>
              <a:gd name="connsiteY28" fmla="*/ 1551 h 10000"/>
              <a:gd name="connsiteX29" fmla="*/ 9962 w 9962"/>
              <a:gd name="connsiteY29" fmla="*/ 1551 h 10000"/>
              <a:gd name="connsiteX0" fmla="*/ 0 w 9284"/>
              <a:gd name="connsiteY0" fmla="*/ 10000 h 10000"/>
              <a:gd name="connsiteX1" fmla="*/ 37 w 9284"/>
              <a:gd name="connsiteY1" fmla="*/ 9477 h 10000"/>
              <a:gd name="connsiteX2" fmla="*/ 37 w 9284"/>
              <a:gd name="connsiteY2" fmla="*/ 6131 h 10000"/>
              <a:gd name="connsiteX3" fmla="*/ 74 w 9284"/>
              <a:gd name="connsiteY3" fmla="*/ 5607 h 10000"/>
              <a:gd name="connsiteX4" fmla="*/ 1275 w 9284"/>
              <a:gd name="connsiteY4" fmla="*/ 5607 h 10000"/>
              <a:gd name="connsiteX5" fmla="*/ 1311 w 9284"/>
              <a:gd name="connsiteY5" fmla="*/ 6131 h 10000"/>
              <a:gd name="connsiteX6" fmla="*/ 1311 w 9284"/>
              <a:gd name="connsiteY6" fmla="*/ 9477 h 10000"/>
              <a:gd name="connsiteX7" fmla="*/ 1350 w 9284"/>
              <a:gd name="connsiteY7" fmla="*/ 10000 h 10000"/>
              <a:gd name="connsiteX8" fmla="*/ 1677 w 9284"/>
              <a:gd name="connsiteY8" fmla="*/ 10000 h 10000"/>
              <a:gd name="connsiteX9" fmla="*/ 1714 w 9284"/>
              <a:gd name="connsiteY9" fmla="*/ 9477 h 10000"/>
              <a:gd name="connsiteX10" fmla="*/ 1714 w 9284"/>
              <a:gd name="connsiteY10" fmla="*/ 7178 h 10000"/>
              <a:gd name="connsiteX11" fmla="*/ 1749 w 9284"/>
              <a:gd name="connsiteY11" fmla="*/ 6654 h 10000"/>
              <a:gd name="connsiteX12" fmla="*/ 2153 w 9284"/>
              <a:gd name="connsiteY12" fmla="*/ 6654 h 10000"/>
              <a:gd name="connsiteX13" fmla="*/ 2191 w 9284"/>
              <a:gd name="connsiteY13" fmla="*/ 7178 h 10000"/>
              <a:gd name="connsiteX14" fmla="*/ 2191 w 9284"/>
              <a:gd name="connsiteY14" fmla="*/ 8411 h 10000"/>
              <a:gd name="connsiteX15" fmla="*/ 2228 w 9284"/>
              <a:gd name="connsiteY15" fmla="*/ 8935 h 10000"/>
              <a:gd name="connsiteX16" fmla="*/ 5014 w 9284"/>
              <a:gd name="connsiteY16" fmla="*/ 8935 h 10000"/>
              <a:gd name="connsiteX17" fmla="*/ 5051 w 9284"/>
              <a:gd name="connsiteY17" fmla="*/ 8411 h 10000"/>
              <a:gd name="connsiteX18" fmla="*/ 5051 w 9284"/>
              <a:gd name="connsiteY18" fmla="*/ 523 h 10000"/>
              <a:gd name="connsiteX19" fmla="*/ 5088 w 9284"/>
              <a:gd name="connsiteY19" fmla="*/ 0 h 10000"/>
              <a:gd name="connsiteX20" fmla="*/ 6007 w 9284"/>
              <a:gd name="connsiteY20" fmla="*/ 0 h 10000"/>
              <a:gd name="connsiteX21" fmla="*/ 6045 w 9284"/>
              <a:gd name="connsiteY21" fmla="*/ 523 h 10000"/>
              <a:gd name="connsiteX22" fmla="*/ 6045 w 9284"/>
              <a:gd name="connsiteY22" fmla="*/ 7159 h 10000"/>
              <a:gd name="connsiteX23" fmla="*/ 6081 w 9284"/>
              <a:gd name="connsiteY23" fmla="*/ 7682 h 10000"/>
              <a:gd name="connsiteX24" fmla="*/ 7478 w 9284"/>
              <a:gd name="connsiteY24" fmla="*/ 7682 h 10000"/>
              <a:gd name="connsiteX25" fmla="*/ 7515 w 9284"/>
              <a:gd name="connsiteY25" fmla="*/ 7159 h 10000"/>
              <a:gd name="connsiteX26" fmla="*/ 7515 w 9284"/>
              <a:gd name="connsiteY26" fmla="*/ 2075 h 10000"/>
              <a:gd name="connsiteX27" fmla="*/ 7552 w 9284"/>
              <a:gd name="connsiteY27" fmla="*/ 1551 h 10000"/>
              <a:gd name="connsiteX28" fmla="*/ 9284 w 9284"/>
              <a:gd name="connsiteY28" fmla="*/ 1551 h 10000"/>
              <a:gd name="connsiteX0" fmla="*/ 0 w 9960"/>
              <a:gd name="connsiteY0" fmla="*/ 9477 h 10000"/>
              <a:gd name="connsiteX1" fmla="*/ 0 w 9960"/>
              <a:gd name="connsiteY1" fmla="*/ 6131 h 10000"/>
              <a:gd name="connsiteX2" fmla="*/ 40 w 9960"/>
              <a:gd name="connsiteY2" fmla="*/ 5607 h 10000"/>
              <a:gd name="connsiteX3" fmla="*/ 1333 w 9960"/>
              <a:gd name="connsiteY3" fmla="*/ 5607 h 10000"/>
              <a:gd name="connsiteX4" fmla="*/ 1372 w 9960"/>
              <a:gd name="connsiteY4" fmla="*/ 6131 h 10000"/>
              <a:gd name="connsiteX5" fmla="*/ 1372 w 9960"/>
              <a:gd name="connsiteY5" fmla="*/ 9477 h 10000"/>
              <a:gd name="connsiteX6" fmla="*/ 1414 w 9960"/>
              <a:gd name="connsiteY6" fmla="*/ 10000 h 10000"/>
              <a:gd name="connsiteX7" fmla="*/ 1766 w 9960"/>
              <a:gd name="connsiteY7" fmla="*/ 10000 h 10000"/>
              <a:gd name="connsiteX8" fmla="*/ 1806 w 9960"/>
              <a:gd name="connsiteY8" fmla="*/ 9477 h 10000"/>
              <a:gd name="connsiteX9" fmla="*/ 1806 w 9960"/>
              <a:gd name="connsiteY9" fmla="*/ 7178 h 10000"/>
              <a:gd name="connsiteX10" fmla="*/ 1844 w 9960"/>
              <a:gd name="connsiteY10" fmla="*/ 6654 h 10000"/>
              <a:gd name="connsiteX11" fmla="*/ 2279 w 9960"/>
              <a:gd name="connsiteY11" fmla="*/ 6654 h 10000"/>
              <a:gd name="connsiteX12" fmla="*/ 2320 w 9960"/>
              <a:gd name="connsiteY12" fmla="*/ 7178 h 10000"/>
              <a:gd name="connsiteX13" fmla="*/ 2320 w 9960"/>
              <a:gd name="connsiteY13" fmla="*/ 8411 h 10000"/>
              <a:gd name="connsiteX14" fmla="*/ 2360 w 9960"/>
              <a:gd name="connsiteY14" fmla="*/ 8935 h 10000"/>
              <a:gd name="connsiteX15" fmla="*/ 5361 w 9960"/>
              <a:gd name="connsiteY15" fmla="*/ 8935 h 10000"/>
              <a:gd name="connsiteX16" fmla="*/ 5401 w 9960"/>
              <a:gd name="connsiteY16" fmla="*/ 8411 h 10000"/>
              <a:gd name="connsiteX17" fmla="*/ 5401 w 9960"/>
              <a:gd name="connsiteY17" fmla="*/ 523 h 10000"/>
              <a:gd name="connsiteX18" fmla="*/ 5440 w 9960"/>
              <a:gd name="connsiteY18" fmla="*/ 0 h 10000"/>
              <a:gd name="connsiteX19" fmla="*/ 6430 w 9960"/>
              <a:gd name="connsiteY19" fmla="*/ 0 h 10000"/>
              <a:gd name="connsiteX20" fmla="*/ 6471 w 9960"/>
              <a:gd name="connsiteY20" fmla="*/ 523 h 10000"/>
              <a:gd name="connsiteX21" fmla="*/ 6471 w 9960"/>
              <a:gd name="connsiteY21" fmla="*/ 7159 h 10000"/>
              <a:gd name="connsiteX22" fmla="*/ 6510 w 9960"/>
              <a:gd name="connsiteY22" fmla="*/ 7682 h 10000"/>
              <a:gd name="connsiteX23" fmla="*/ 8015 w 9960"/>
              <a:gd name="connsiteY23" fmla="*/ 7682 h 10000"/>
              <a:gd name="connsiteX24" fmla="*/ 8055 w 9960"/>
              <a:gd name="connsiteY24" fmla="*/ 7159 h 10000"/>
              <a:gd name="connsiteX25" fmla="*/ 8055 w 9960"/>
              <a:gd name="connsiteY25" fmla="*/ 2075 h 10000"/>
              <a:gd name="connsiteX26" fmla="*/ 8094 w 9960"/>
              <a:gd name="connsiteY26" fmla="*/ 1551 h 10000"/>
              <a:gd name="connsiteX27" fmla="*/ 9960 w 9960"/>
              <a:gd name="connsiteY27" fmla="*/ 1551 h 10000"/>
              <a:gd name="connsiteX0" fmla="*/ 0 w 10000"/>
              <a:gd name="connsiteY0" fmla="*/ 6131 h 10000"/>
              <a:gd name="connsiteX1" fmla="*/ 40 w 10000"/>
              <a:gd name="connsiteY1" fmla="*/ 5607 h 10000"/>
              <a:gd name="connsiteX2" fmla="*/ 1338 w 10000"/>
              <a:gd name="connsiteY2" fmla="*/ 5607 h 10000"/>
              <a:gd name="connsiteX3" fmla="*/ 1378 w 10000"/>
              <a:gd name="connsiteY3" fmla="*/ 6131 h 10000"/>
              <a:gd name="connsiteX4" fmla="*/ 1378 w 10000"/>
              <a:gd name="connsiteY4" fmla="*/ 9477 h 10000"/>
              <a:gd name="connsiteX5" fmla="*/ 1420 w 10000"/>
              <a:gd name="connsiteY5" fmla="*/ 10000 h 10000"/>
              <a:gd name="connsiteX6" fmla="*/ 1773 w 10000"/>
              <a:gd name="connsiteY6" fmla="*/ 10000 h 10000"/>
              <a:gd name="connsiteX7" fmla="*/ 1813 w 10000"/>
              <a:gd name="connsiteY7" fmla="*/ 9477 h 10000"/>
              <a:gd name="connsiteX8" fmla="*/ 1813 w 10000"/>
              <a:gd name="connsiteY8" fmla="*/ 7178 h 10000"/>
              <a:gd name="connsiteX9" fmla="*/ 1851 w 10000"/>
              <a:gd name="connsiteY9" fmla="*/ 6654 h 10000"/>
              <a:gd name="connsiteX10" fmla="*/ 2288 w 10000"/>
              <a:gd name="connsiteY10" fmla="*/ 6654 h 10000"/>
              <a:gd name="connsiteX11" fmla="*/ 2329 w 10000"/>
              <a:gd name="connsiteY11" fmla="*/ 7178 h 10000"/>
              <a:gd name="connsiteX12" fmla="*/ 2329 w 10000"/>
              <a:gd name="connsiteY12" fmla="*/ 8411 h 10000"/>
              <a:gd name="connsiteX13" fmla="*/ 2369 w 10000"/>
              <a:gd name="connsiteY13" fmla="*/ 8935 h 10000"/>
              <a:gd name="connsiteX14" fmla="*/ 5383 w 10000"/>
              <a:gd name="connsiteY14" fmla="*/ 8935 h 10000"/>
              <a:gd name="connsiteX15" fmla="*/ 5423 w 10000"/>
              <a:gd name="connsiteY15" fmla="*/ 8411 h 10000"/>
              <a:gd name="connsiteX16" fmla="*/ 5423 w 10000"/>
              <a:gd name="connsiteY16" fmla="*/ 523 h 10000"/>
              <a:gd name="connsiteX17" fmla="*/ 5462 w 10000"/>
              <a:gd name="connsiteY17" fmla="*/ 0 h 10000"/>
              <a:gd name="connsiteX18" fmla="*/ 6456 w 10000"/>
              <a:gd name="connsiteY18" fmla="*/ 0 h 10000"/>
              <a:gd name="connsiteX19" fmla="*/ 6497 w 10000"/>
              <a:gd name="connsiteY19" fmla="*/ 523 h 10000"/>
              <a:gd name="connsiteX20" fmla="*/ 6497 w 10000"/>
              <a:gd name="connsiteY20" fmla="*/ 7159 h 10000"/>
              <a:gd name="connsiteX21" fmla="*/ 6536 w 10000"/>
              <a:gd name="connsiteY21" fmla="*/ 7682 h 10000"/>
              <a:gd name="connsiteX22" fmla="*/ 8047 w 10000"/>
              <a:gd name="connsiteY22" fmla="*/ 7682 h 10000"/>
              <a:gd name="connsiteX23" fmla="*/ 8087 w 10000"/>
              <a:gd name="connsiteY23" fmla="*/ 7159 h 10000"/>
              <a:gd name="connsiteX24" fmla="*/ 8087 w 10000"/>
              <a:gd name="connsiteY24" fmla="*/ 2075 h 10000"/>
              <a:gd name="connsiteX25" fmla="*/ 8127 w 10000"/>
              <a:gd name="connsiteY25" fmla="*/ 1551 h 10000"/>
              <a:gd name="connsiteX26" fmla="*/ 10000 w 10000"/>
              <a:gd name="connsiteY26" fmla="*/ 1551 h 10000"/>
              <a:gd name="connsiteX0" fmla="*/ 0 w 8127"/>
              <a:gd name="connsiteY0" fmla="*/ 6131 h 10000"/>
              <a:gd name="connsiteX1" fmla="*/ 40 w 8127"/>
              <a:gd name="connsiteY1" fmla="*/ 5607 h 10000"/>
              <a:gd name="connsiteX2" fmla="*/ 1338 w 8127"/>
              <a:gd name="connsiteY2" fmla="*/ 5607 h 10000"/>
              <a:gd name="connsiteX3" fmla="*/ 1378 w 8127"/>
              <a:gd name="connsiteY3" fmla="*/ 6131 h 10000"/>
              <a:gd name="connsiteX4" fmla="*/ 1378 w 8127"/>
              <a:gd name="connsiteY4" fmla="*/ 9477 h 10000"/>
              <a:gd name="connsiteX5" fmla="*/ 1420 w 8127"/>
              <a:gd name="connsiteY5" fmla="*/ 10000 h 10000"/>
              <a:gd name="connsiteX6" fmla="*/ 1773 w 8127"/>
              <a:gd name="connsiteY6" fmla="*/ 10000 h 10000"/>
              <a:gd name="connsiteX7" fmla="*/ 1813 w 8127"/>
              <a:gd name="connsiteY7" fmla="*/ 9477 h 10000"/>
              <a:gd name="connsiteX8" fmla="*/ 1813 w 8127"/>
              <a:gd name="connsiteY8" fmla="*/ 7178 h 10000"/>
              <a:gd name="connsiteX9" fmla="*/ 1851 w 8127"/>
              <a:gd name="connsiteY9" fmla="*/ 6654 h 10000"/>
              <a:gd name="connsiteX10" fmla="*/ 2288 w 8127"/>
              <a:gd name="connsiteY10" fmla="*/ 6654 h 10000"/>
              <a:gd name="connsiteX11" fmla="*/ 2329 w 8127"/>
              <a:gd name="connsiteY11" fmla="*/ 7178 h 10000"/>
              <a:gd name="connsiteX12" fmla="*/ 2329 w 8127"/>
              <a:gd name="connsiteY12" fmla="*/ 8411 h 10000"/>
              <a:gd name="connsiteX13" fmla="*/ 2369 w 8127"/>
              <a:gd name="connsiteY13" fmla="*/ 8935 h 10000"/>
              <a:gd name="connsiteX14" fmla="*/ 5383 w 8127"/>
              <a:gd name="connsiteY14" fmla="*/ 8935 h 10000"/>
              <a:gd name="connsiteX15" fmla="*/ 5423 w 8127"/>
              <a:gd name="connsiteY15" fmla="*/ 8411 h 10000"/>
              <a:gd name="connsiteX16" fmla="*/ 5423 w 8127"/>
              <a:gd name="connsiteY16" fmla="*/ 523 h 10000"/>
              <a:gd name="connsiteX17" fmla="*/ 5462 w 8127"/>
              <a:gd name="connsiteY17" fmla="*/ 0 h 10000"/>
              <a:gd name="connsiteX18" fmla="*/ 6456 w 8127"/>
              <a:gd name="connsiteY18" fmla="*/ 0 h 10000"/>
              <a:gd name="connsiteX19" fmla="*/ 6497 w 8127"/>
              <a:gd name="connsiteY19" fmla="*/ 523 h 10000"/>
              <a:gd name="connsiteX20" fmla="*/ 6497 w 8127"/>
              <a:gd name="connsiteY20" fmla="*/ 7159 h 10000"/>
              <a:gd name="connsiteX21" fmla="*/ 6536 w 8127"/>
              <a:gd name="connsiteY21" fmla="*/ 7682 h 10000"/>
              <a:gd name="connsiteX22" fmla="*/ 8047 w 8127"/>
              <a:gd name="connsiteY22" fmla="*/ 7682 h 10000"/>
              <a:gd name="connsiteX23" fmla="*/ 8087 w 8127"/>
              <a:gd name="connsiteY23" fmla="*/ 7159 h 10000"/>
              <a:gd name="connsiteX24" fmla="*/ 8087 w 8127"/>
              <a:gd name="connsiteY24" fmla="*/ 2075 h 10000"/>
              <a:gd name="connsiteX25" fmla="*/ 8127 w 8127"/>
              <a:gd name="connsiteY25" fmla="*/ 1551 h 10000"/>
              <a:gd name="connsiteX0" fmla="*/ 0 w 9951"/>
              <a:gd name="connsiteY0" fmla="*/ 6131 h 10000"/>
              <a:gd name="connsiteX1" fmla="*/ 49 w 9951"/>
              <a:gd name="connsiteY1" fmla="*/ 5607 h 10000"/>
              <a:gd name="connsiteX2" fmla="*/ 1646 w 9951"/>
              <a:gd name="connsiteY2" fmla="*/ 5607 h 10000"/>
              <a:gd name="connsiteX3" fmla="*/ 1696 w 9951"/>
              <a:gd name="connsiteY3" fmla="*/ 6131 h 10000"/>
              <a:gd name="connsiteX4" fmla="*/ 1696 w 9951"/>
              <a:gd name="connsiteY4" fmla="*/ 9477 h 10000"/>
              <a:gd name="connsiteX5" fmla="*/ 1747 w 9951"/>
              <a:gd name="connsiteY5" fmla="*/ 10000 h 10000"/>
              <a:gd name="connsiteX6" fmla="*/ 2182 w 9951"/>
              <a:gd name="connsiteY6" fmla="*/ 10000 h 10000"/>
              <a:gd name="connsiteX7" fmla="*/ 2231 w 9951"/>
              <a:gd name="connsiteY7" fmla="*/ 9477 h 10000"/>
              <a:gd name="connsiteX8" fmla="*/ 2231 w 9951"/>
              <a:gd name="connsiteY8" fmla="*/ 7178 h 10000"/>
              <a:gd name="connsiteX9" fmla="*/ 2278 w 9951"/>
              <a:gd name="connsiteY9" fmla="*/ 6654 h 10000"/>
              <a:gd name="connsiteX10" fmla="*/ 2815 w 9951"/>
              <a:gd name="connsiteY10" fmla="*/ 6654 h 10000"/>
              <a:gd name="connsiteX11" fmla="*/ 2866 w 9951"/>
              <a:gd name="connsiteY11" fmla="*/ 7178 h 10000"/>
              <a:gd name="connsiteX12" fmla="*/ 2866 w 9951"/>
              <a:gd name="connsiteY12" fmla="*/ 8411 h 10000"/>
              <a:gd name="connsiteX13" fmla="*/ 2915 w 9951"/>
              <a:gd name="connsiteY13" fmla="*/ 8935 h 10000"/>
              <a:gd name="connsiteX14" fmla="*/ 6624 w 9951"/>
              <a:gd name="connsiteY14" fmla="*/ 8935 h 10000"/>
              <a:gd name="connsiteX15" fmla="*/ 6673 w 9951"/>
              <a:gd name="connsiteY15" fmla="*/ 8411 h 10000"/>
              <a:gd name="connsiteX16" fmla="*/ 6673 w 9951"/>
              <a:gd name="connsiteY16" fmla="*/ 523 h 10000"/>
              <a:gd name="connsiteX17" fmla="*/ 6721 w 9951"/>
              <a:gd name="connsiteY17" fmla="*/ 0 h 10000"/>
              <a:gd name="connsiteX18" fmla="*/ 7944 w 9951"/>
              <a:gd name="connsiteY18" fmla="*/ 0 h 10000"/>
              <a:gd name="connsiteX19" fmla="*/ 7994 w 9951"/>
              <a:gd name="connsiteY19" fmla="*/ 523 h 10000"/>
              <a:gd name="connsiteX20" fmla="*/ 7994 w 9951"/>
              <a:gd name="connsiteY20" fmla="*/ 7159 h 10000"/>
              <a:gd name="connsiteX21" fmla="*/ 8042 w 9951"/>
              <a:gd name="connsiteY21" fmla="*/ 7682 h 10000"/>
              <a:gd name="connsiteX22" fmla="*/ 9902 w 9951"/>
              <a:gd name="connsiteY22" fmla="*/ 7682 h 10000"/>
              <a:gd name="connsiteX23" fmla="*/ 9951 w 9951"/>
              <a:gd name="connsiteY23" fmla="*/ 7159 h 10000"/>
              <a:gd name="connsiteX24" fmla="*/ 9951 w 9951"/>
              <a:gd name="connsiteY24" fmla="*/ 2075 h 10000"/>
              <a:gd name="connsiteX0" fmla="*/ 0 w 10000"/>
              <a:gd name="connsiteY0" fmla="*/ 6131 h 10000"/>
              <a:gd name="connsiteX1" fmla="*/ 49 w 10000"/>
              <a:gd name="connsiteY1" fmla="*/ 5607 h 10000"/>
              <a:gd name="connsiteX2" fmla="*/ 1654 w 10000"/>
              <a:gd name="connsiteY2" fmla="*/ 5607 h 10000"/>
              <a:gd name="connsiteX3" fmla="*/ 1704 w 10000"/>
              <a:gd name="connsiteY3" fmla="*/ 6131 h 10000"/>
              <a:gd name="connsiteX4" fmla="*/ 1704 w 10000"/>
              <a:gd name="connsiteY4" fmla="*/ 9477 h 10000"/>
              <a:gd name="connsiteX5" fmla="*/ 1756 w 10000"/>
              <a:gd name="connsiteY5" fmla="*/ 10000 h 10000"/>
              <a:gd name="connsiteX6" fmla="*/ 2193 w 10000"/>
              <a:gd name="connsiteY6" fmla="*/ 10000 h 10000"/>
              <a:gd name="connsiteX7" fmla="*/ 2242 w 10000"/>
              <a:gd name="connsiteY7" fmla="*/ 9477 h 10000"/>
              <a:gd name="connsiteX8" fmla="*/ 2242 w 10000"/>
              <a:gd name="connsiteY8" fmla="*/ 7178 h 10000"/>
              <a:gd name="connsiteX9" fmla="*/ 2289 w 10000"/>
              <a:gd name="connsiteY9" fmla="*/ 6654 h 10000"/>
              <a:gd name="connsiteX10" fmla="*/ 2829 w 10000"/>
              <a:gd name="connsiteY10" fmla="*/ 6654 h 10000"/>
              <a:gd name="connsiteX11" fmla="*/ 2880 w 10000"/>
              <a:gd name="connsiteY11" fmla="*/ 7178 h 10000"/>
              <a:gd name="connsiteX12" fmla="*/ 2880 w 10000"/>
              <a:gd name="connsiteY12" fmla="*/ 8411 h 10000"/>
              <a:gd name="connsiteX13" fmla="*/ 2929 w 10000"/>
              <a:gd name="connsiteY13" fmla="*/ 8935 h 10000"/>
              <a:gd name="connsiteX14" fmla="*/ 6657 w 10000"/>
              <a:gd name="connsiteY14" fmla="*/ 8935 h 10000"/>
              <a:gd name="connsiteX15" fmla="*/ 6706 w 10000"/>
              <a:gd name="connsiteY15" fmla="*/ 8411 h 10000"/>
              <a:gd name="connsiteX16" fmla="*/ 6706 w 10000"/>
              <a:gd name="connsiteY16" fmla="*/ 523 h 10000"/>
              <a:gd name="connsiteX17" fmla="*/ 6754 w 10000"/>
              <a:gd name="connsiteY17" fmla="*/ 0 h 10000"/>
              <a:gd name="connsiteX18" fmla="*/ 7983 w 10000"/>
              <a:gd name="connsiteY18" fmla="*/ 0 h 10000"/>
              <a:gd name="connsiteX19" fmla="*/ 8033 w 10000"/>
              <a:gd name="connsiteY19" fmla="*/ 523 h 10000"/>
              <a:gd name="connsiteX20" fmla="*/ 8033 w 10000"/>
              <a:gd name="connsiteY20" fmla="*/ 7159 h 10000"/>
              <a:gd name="connsiteX21" fmla="*/ 8082 w 10000"/>
              <a:gd name="connsiteY21" fmla="*/ 7682 h 10000"/>
              <a:gd name="connsiteX22" fmla="*/ 9951 w 10000"/>
              <a:gd name="connsiteY22" fmla="*/ 7682 h 10000"/>
              <a:gd name="connsiteX23" fmla="*/ 10000 w 10000"/>
              <a:gd name="connsiteY23" fmla="*/ 7159 h 10000"/>
              <a:gd name="connsiteX0" fmla="*/ 0 w 9951"/>
              <a:gd name="connsiteY0" fmla="*/ 6131 h 10000"/>
              <a:gd name="connsiteX1" fmla="*/ 49 w 9951"/>
              <a:gd name="connsiteY1" fmla="*/ 5607 h 10000"/>
              <a:gd name="connsiteX2" fmla="*/ 1654 w 9951"/>
              <a:gd name="connsiteY2" fmla="*/ 5607 h 10000"/>
              <a:gd name="connsiteX3" fmla="*/ 1704 w 9951"/>
              <a:gd name="connsiteY3" fmla="*/ 6131 h 10000"/>
              <a:gd name="connsiteX4" fmla="*/ 1704 w 9951"/>
              <a:gd name="connsiteY4" fmla="*/ 9477 h 10000"/>
              <a:gd name="connsiteX5" fmla="*/ 1756 w 9951"/>
              <a:gd name="connsiteY5" fmla="*/ 10000 h 10000"/>
              <a:gd name="connsiteX6" fmla="*/ 2193 w 9951"/>
              <a:gd name="connsiteY6" fmla="*/ 10000 h 10000"/>
              <a:gd name="connsiteX7" fmla="*/ 2242 w 9951"/>
              <a:gd name="connsiteY7" fmla="*/ 9477 h 10000"/>
              <a:gd name="connsiteX8" fmla="*/ 2242 w 9951"/>
              <a:gd name="connsiteY8" fmla="*/ 7178 h 10000"/>
              <a:gd name="connsiteX9" fmla="*/ 2289 w 9951"/>
              <a:gd name="connsiteY9" fmla="*/ 6654 h 10000"/>
              <a:gd name="connsiteX10" fmla="*/ 2829 w 9951"/>
              <a:gd name="connsiteY10" fmla="*/ 6654 h 10000"/>
              <a:gd name="connsiteX11" fmla="*/ 2880 w 9951"/>
              <a:gd name="connsiteY11" fmla="*/ 7178 h 10000"/>
              <a:gd name="connsiteX12" fmla="*/ 2880 w 9951"/>
              <a:gd name="connsiteY12" fmla="*/ 8411 h 10000"/>
              <a:gd name="connsiteX13" fmla="*/ 2929 w 9951"/>
              <a:gd name="connsiteY13" fmla="*/ 8935 h 10000"/>
              <a:gd name="connsiteX14" fmla="*/ 6657 w 9951"/>
              <a:gd name="connsiteY14" fmla="*/ 8935 h 10000"/>
              <a:gd name="connsiteX15" fmla="*/ 6706 w 9951"/>
              <a:gd name="connsiteY15" fmla="*/ 8411 h 10000"/>
              <a:gd name="connsiteX16" fmla="*/ 6706 w 9951"/>
              <a:gd name="connsiteY16" fmla="*/ 523 h 10000"/>
              <a:gd name="connsiteX17" fmla="*/ 6754 w 9951"/>
              <a:gd name="connsiteY17" fmla="*/ 0 h 10000"/>
              <a:gd name="connsiteX18" fmla="*/ 7983 w 9951"/>
              <a:gd name="connsiteY18" fmla="*/ 0 h 10000"/>
              <a:gd name="connsiteX19" fmla="*/ 8033 w 9951"/>
              <a:gd name="connsiteY19" fmla="*/ 523 h 10000"/>
              <a:gd name="connsiteX20" fmla="*/ 8033 w 9951"/>
              <a:gd name="connsiteY20" fmla="*/ 7159 h 10000"/>
              <a:gd name="connsiteX21" fmla="*/ 8082 w 9951"/>
              <a:gd name="connsiteY21" fmla="*/ 7682 h 10000"/>
              <a:gd name="connsiteX22" fmla="*/ 9951 w 9951"/>
              <a:gd name="connsiteY22" fmla="*/ 7682 h 10000"/>
              <a:gd name="connsiteX0" fmla="*/ 0 w 10000"/>
              <a:gd name="connsiteY0" fmla="*/ 6131 h 10000"/>
              <a:gd name="connsiteX1" fmla="*/ 1662 w 10000"/>
              <a:gd name="connsiteY1" fmla="*/ 5607 h 10000"/>
              <a:gd name="connsiteX2" fmla="*/ 1712 w 10000"/>
              <a:gd name="connsiteY2" fmla="*/ 6131 h 10000"/>
              <a:gd name="connsiteX3" fmla="*/ 1712 w 10000"/>
              <a:gd name="connsiteY3" fmla="*/ 9477 h 10000"/>
              <a:gd name="connsiteX4" fmla="*/ 1765 w 10000"/>
              <a:gd name="connsiteY4" fmla="*/ 10000 h 10000"/>
              <a:gd name="connsiteX5" fmla="*/ 2204 w 10000"/>
              <a:gd name="connsiteY5" fmla="*/ 10000 h 10000"/>
              <a:gd name="connsiteX6" fmla="*/ 2253 w 10000"/>
              <a:gd name="connsiteY6" fmla="*/ 9477 h 10000"/>
              <a:gd name="connsiteX7" fmla="*/ 2253 w 10000"/>
              <a:gd name="connsiteY7" fmla="*/ 7178 h 10000"/>
              <a:gd name="connsiteX8" fmla="*/ 2300 w 10000"/>
              <a:gd name="connsiteY8" fmla="*/ 6654 h 10000"/>
              <a:gd name="connsiteX9" fmla="*/ 2843 w 10000"/>
              <a:gd name="connsiteY9" fmla="*/ 6654 h 10000"/>
              <a:gd name="connsiteX10" fmla="*/ 2894 w 10000"/>
              <a:gd name="connsiteY10" fmla="*/ 7178 h 10000"/>
              <a:gd name="connsiteX11" fmla="*/ 2894 w 10000"/>
              <a:gd name="connsiteY11" fmla="*/ 8411 h 10000"/>
              <a:gd name="connsiteX12" fmla="*/ 2943 w 10000"/>
              <a:gd name="connsiteY12" fmla="*/ 8935 h 10000"/>
              <a:gd name="connsiteX13" fmla="*/ 6690 w 10000"/>
              <a:gd name="connsiteY13" fmla="*/ 8935 h 10000"/>
              <a:gd name="connsiteX14" fmla="*/ 6739 w 10000"/>
              <a:gd name="connsiteY14" fmla="*/ 8411 h 10000"/>
              <a:gd name="connsiteX15" fmla="*/ 6739 w 10000"/>
              <a:gd name="connsiteY15" fmla="*/ 523 h 10000"/>
              <a:gd name="connsiteX16" fmla="*/ 6787 w 10000"/>
              <a:gd name="connsiteY16" fmla="*/ 0 h 10000"/>
              <a:gd name="connsiteX17" fmla="*/ 8022 w 10000"/>
              <a:gd name="connsiteY17" fmla="*/ 0 h 10000"/>
              <a:gd name="connsiteX18" fmla="*/ 8073 w 10000"/>
              <a:gd name="connsiteY18" fmla="*/ 523 h 10000"/>
              <a:gd name="connsiteX19" fmla="*/ 8073 w 10000"/>
              <a:gd name="connsiteY19" fmla="*/ 7159 h 10000"/>
              <a:gd name="connsiteX20" fmla="*/ 8122 w 10000"/>
              <a:gd name="connsiteY20" fmla="*/ 7682 h 10000"/>
              <a:gd name="connsiteX21" fmla="*/ 10000 w 10000"/>
              <a:gd name="connsiteY21" fmla="*/ 7682 h 10000"/>
              <a:gd name="connsiteX0" fmla="*/ 0 w 8657"/>
              <a:gd name="connsiteY0" fmla="*/ 5687 h 10000"/>
              <a:gd name="connsiteX1" fmla="*/ 319 w 8657"/>
              <a:gd name="connsiteY1" fmla="*/ 5607 h 10000"/>
              <a:gd name="connsiteX2" fmla="*/ 369 w 8657"/>
              <a:gd name="connsiteY2" fmla="*/ 6131 h 10000"/>
              <a:gd name="connsiteX3" fmla="*/ 369 w 8657"/>
              <a:gd name="connsiteY3" fmla="*/ 9477 h 10000"/>
              <a:gd name="connsiteX4" fmla="*/ 422 w 8657"/>
              <a:gd name="connsiteY4" fmla="*/ 10000 h 10000"/>
              <a:gd name="connsiteX5" fmla="*/ 861 w 8657"/>
              <a:gd name="connsiteY5" fmla="*/ 10000 h 10000"/>
              <a:gd name="connsiteX6" fmla="*/ 910 w 8657"/>
              <a:gd name="connsiteY6" fmla="*/ 9477 h 10000"/>
              <a:gd name="connsiteX7" fmla="*/ 910 w 8657"/>
              <a:gd name="connsiteY7" fmla="*/ 7178 h 10000"/>
              <a:gd name="connsiteX8" fmla="*/ 957 w 8657"/>
              <a:gd name="connsiteY8" fmla="*/ 6654 h 10000"/>
              <a:gd name="connsiteX9" fmla="*/ 1500 w 8657"/>
              <a:gd name="connsiteY9" fmla="*/ 6654 h 10000"/>
              <a:gd name="connsiteX10" fmla="*/ 1551 w 8657"/>
              <a:gd name="connsiteY10" fmla="*/ 7178 h 10000"/>
              <a:gd name="connsiteX11" fmla="*/ 1551 w 8657"/>
              <a:gd name="connsiteY11" fmla="*/ 8411 h 10000"/>
              <a:gd name="connsiteX12" fmla="*/ 1600 w 8657"/>
              <a:gd name="connsiteY12" fmla="*/ 8935 h 10000"/>
              <a:gd name="connsiteX13" fmla="*/ 5347 w 8657"/>
              <a:gd name="connsiteY13" fmla="*/ 8935 h 10000"/>
              <a:gd name="connsiteX14" fmla="*/ 5396 w 8657"/>
              <a:gd name="connsiteY14" fmla="*/ 8411 h 10000"/>
              <a:gd name="connsiteX15" fmla="*/ 5396 w 8657"/>
              <a:gd name="connsiteY15" fmla="*/ 523 h 10000"/>
              <a:gd name="connsiteX16" fmla="*/ 5444 w 8657"/>
              <a:gd name="connsiteY16" fmla="*/ 0 h 10000"/>
              <a:gd name="connsiteX17" fmla="*/ 6679 w 8657"/>
              <a:gd name="connsiteY17" fmla="*/ 0 h 10000"/>
              <a:gd name="connsiteX18" fmla="*/ 6730 w 8657"/>
              <a:gd name="connsiteY18" fmla="*/ 523 h 10000"/>
              <a:gd name="connsiteX19" fmla="*/ 6730 w 8657"/>
              <a:gd name="connsiteY19" fmla="*/ 7159 h 10000"/>
              <a:gd name="connsiteX20" fmla="*/ 6779 w 8657"/>
              <a:gd name="connsiteY20" fmla="*/ 7682 h 10000"/>
              <a:gd name="connsiteX21" fmla="*/ 8657 w 8657"/>
              <a:gd name="connsiteY21" fmla="*/ 7682 h 10000"/>
              <a:gd name="connsiteX0" fmla="*/ 0 w 10000"/>
              <a:gd name="connsiteY0" fmla="*/ 5583 h 10000"/>
              <a:gd name="connsiteX1" fmla="*/ 368 w 10000"/>
              <a:gd name="connsiteY1" fmla="*/ 5607 h 10000"/>
              <a:gd name="connsiteX2" fmla="*/ 426 w 10000"/>
              <a:gd name="connsiteY2" fmla="*/ 6131 h 10000"/>
              <a:gd name="connsiteX3" fmla="*/ 426 w 10000"/>
              <a:gd name="connsiteY3" fmla="*/ 9477 h 10000"/>
              <a:gd name="connsiteX4" fmla="*/ 487 w 10000"/>
              <a:gd name="connsiteY4" fmla="*/ 10000 h 10000"/>
              <a:gd name="connsiteX5" fmla="*/ 995 w 10000"/>
              <a:gd name="connsiteY5" fmla="*/ 10000 h 10000"/>
              <a:gd name="connsiteX6" fmla="*/ 1051 w 10000"/>
              <a:gd name="connsiteY6" fmla="*/ 9477 h 10000"/>
              <a:gd name="connsiteX7" fmla="*/ 1051 w 10000"/>
              <a:gd name="connsiteY7" fmla="*/ 7178 h 10000"/>
              <a:gd name="connsiteX8" fmla="*/ 1105 w 10000"/>
              <a:gd name="connsiteY8" fmla="*/ 6654 h 10000"/>
              <a:gd name="connsiteX9" fmla="*/ 1733 w 10000"/>
              <a:gd name="connsiteY9" fmla="*/ 6654 h 10000"/>
              <a:gd name="connsiteX10" fmla="*/ 1792 w 10000"/>
              <a:gd name="connsiteY10" fmla="*/ 7178 h 10000"/>
              <a:gd name="connsiteX11" fmla="*/ 1792 w 10000"/>
              <a:gd name="connsiteY11" fmla="*/ 8411 h 10000"/>
              <a:gd name="connsiteX12" fmla="*/ 1848 w 10000"/>
              <a:gd name="connsiteY12" fmla="*/ 8935 h 10000"/>
              <a:gd name="connsiteX13" fmla="*/ 6177 w 10000"/>
              <a:gd name="connsiteY13" fmla="*/ 8935 h 10000"/>
              <a:gd name="connsiteX14" fmla="*/ 6233 w 10000"/>
              <a:gd name="connsiteY14" fmla="*/ 8411 h 10000"/>
              <a:gd name="connsiteX15" fmla="*/ 6233 w 10000"/>
              <a:gd name="connsiteY15" fmla="*/ 523 h 10000"/>
              <a:gd name="connsiteX16" fmla="*/ 6289 w 10000"/>
              <a:gd name="connsiteY16" fmla="*/ 0 h 10000"/>
              <a:gd name="connsiteX17" fmla="*/ 7715 w 10000"/>
              <a:gd name="connsiteY17" fmla="*/ 0 h 10000"/>
              <a:gd name="connsiteX18" fmla="*/ 7774 w 10000"/>
              <a:gd name="connsiteY18" fmla="*/ 523 h 10000"/>
              <a:gd name="connsiteX19" fmla="*/ 7774 w 10000"/>
              <a:gd name="connsiteY19" fmla="*/ 7159 h 10000"/>
              <a:gd name="connsiteX20" fmla="*/ 7831 w 10000"/>
              <a:gd name="connsiteY20" fmla="*/ 7682 h 10000"/>
              <a:gd name="connsiteX21" fmla="*/ 10000 w 10000"/>
              <a:gd name="connsiteY21" fmla="*/ 7682 h 10000"/>
              <a:gd name="connsiteX0" fmla="*/ 0 w 10000"/>
              <a:gd name="connsiteY0" fmla="*/ 5583 h 10000"/>
              <a:gd name="connsiteX1" fmla="*/ 368 w 10000"/>
              <a:gd name="connsiteY1" fmla="*/ 5607 h 10000"/>
              <a:gd name="connsiteX2" fmla="*/ 426 w 10000"/>
              <a:gd name="connsiteY2" fmla="*/ 6131 h 10000"/>
              <a:gd name="connsiteX3" fmla="*/ 426 w 10000"/>
              <a:gd name="connsiteY3" fmla="*/ 9477 h 10000"/>
              <a:gd name="connsiteX4" fmla="*/ 487 w 10000"/>
              <a:gd name="connsiteY4" fmla="*/ 10000 h 10000"/>
              <a:gd name="connsiteX5" fmla="*/ 995 w 10000"/>
              <a:gd name="connsiteY5" fmla="*/ 10000 h 10000"/>
              <a:gd name="connsiteX6" fmla="*/ 1051 w 10000"/>
              <a:gd name="connsiteY6" fmla="*/ 9477 h 10000"/>
              <a:gd name="connsiteX7" fmla="*/ 1051 w 10000"/>
              <a:gd name="connsiteY7" fmla="*/ 7178 h 10000"/>
              <a:gd name="connsiteX8" fmla="*/ 1105 w 10000"/>
              <a:gd name="connsiteY8" fmla="*/ 6654 h 10000"/>
              <a:gd name="connsiteX9" fmla="*/ 1733 w 10000"/>
              <a:gd name="connsiteY9" fmla="*/ 6654 h 10000"/>
              <a:gd name="connsiteX10" fmla="*/ 1792 w 10000"/>
              <a:gd name="connsiteY10" fmla="*/ 7178 h 10000"/>
              <a:gd name="connsiteX11" fmla="*/ 1792 w 10000"/>
              <a:gd name="connsiteY11" fmla="*/ 8411 h 10000"/>
              <a:gd name="connsiteX12" fmla="*/ 1848 w 10000"/>
              <a:gd name="connsiteY12" fmla="*/ 8935 h 10000"/>
              <a:gd name="connsiteX13" fmla="*/ 6177 w 10000"/>
              <a:gd name="connsiteY13" fmla="*/ 8935 h 10000"/>
              <a:gd name="connsiteX14" fmla="*/ 6233 w 10000"/>
              <a:gd name="connsiteY14" fmla="*/ 8411 h 10000"/>
              <a:gd name="connsiteX15" fmla="*/ 6233 w 10000"/>
              <a:gd name="connsiteY15" fmla="*/ 523 h 10000"/>
              <a:gd name="connsiteX16" fmla="*/ 6289 w 10000"/>
              <a:gd name="connsiteY16" fmla="*/ 0 h 10000"/>
              <a:gd name="connsiteX17" fmla="*/ 7715 w 10000"/>
              <a:gd name="connsiteY17" fmla="*/ 0 h 10000"/>
              <a:gd name="connsiteX18" fmla="*/ 7774 w 10000"/>
              <a:gd name="connsiteY18" fmla="*/ 523 h 10000"/>
              <a:gd name="connsiteX19" fmla="*/ 7774 w 10000"/>
              <a:gd name="connsiteY19" fmla="*/ 7159 h 10000"/>
              <a:gd name="connsiteX20" fmla="*/ 7831 w 10000"/>
              <a:gd name="connsiteY20" fmla="*/ 7682 h 10000"/>
              <a:gd name="connsiteX21" fmla="*/ 10000 w 10000"/>
              <a:gd name="connsiteY21" fmla="*/ 7682 h 10000"/>
              <a:gd name="connsiteX0" fmla="*/ 0 w 10000"/>
              <a:gd name="connsiteY0" fmla="*/ 5609 h 10000"/>
              <a:gd name="connsiteX1" fmla="*/ 368 w 10000"/>
              <a:gd name="connsiteY1" fmla="*/ 5607 h 10000"/>
              <a:gd name="connsiteX2" fmla="*/ 426 w 10000"/>
              <a:gd name="connsiteY2" fmla="*/ 6131 h 10000"/>
              <a:gd name="connsiteX3" fmla="*/ 426 w 10000"/>
              <a:gd name="connsiteY3" fmla="*/ 9477 h 10000"/>
              <a:gd name="connsiteX4" fmla="*/ 487 w 10000"/>
              <a:gd name="connsiteY4" fmla="*/ 10000 h 10000"/>
              <a:gd name="connsiteX5" fmla="*/ 995 w 10000"/>
              <a:gd name="connsiteY5" fmla="*/ 10000 h 10000"/>
              <a:gd name="connsiteX6" fmla="*/ 1051 w 10000"/>
              <a:gd name="connsiteY6" fmla="*/ 9477 h 10000"/>
              <a:gd name="connsiteX7" fmla="*/ 1051 w 10000"/>
              <a:gd name="connsiteY7" fmla="*/ 7178 h 10000"/>
              <a:gd name="connsiteX8" fmla="*/ 1105 w 10000"/>
              <a:gd name="connsiteY8" fmla="*/ 6654 h 10000"/>
              <a:gd name="connsiteX9" fmla="*/ 1733 w 10000"/>
              <a:gd name="connsiteY9" fmla="*/ 6654 h 10000"/>
              <a:gd name="connsiteX10" fmla="*/ 1792 w 10000"/>
              <a:gd name="connsiteY10" fmla="*/ 7178 h 10000"/>
              <a:gd name="connsiteX11" fmla="*/ 1792 w 10000"/>
              <a:gd name="connsiteY11" fmla="*/ 8411 h 10000"/>
              <a:gd name="connsiteX12" fmla="*/ 1848 w 10000"/>
              <a:gd name="connsiteY12" fmla="*/ 8935 h 10000"/>
              <a:gd name="connsiteX13" fmla="*/ 6177 w 10000"/>
              <a:gd name="connsiteY13" fmla="*/ 8935 h 10000"/>
              <a:gd name="connsiteX14" fmla="*/ 6233 w 10000"/>
              <a:gd name="connsiteY14" fmla="*/ 8411 h 10000"/>
              <a:gd name="connsiteX15" fmla="*/ 6233 w 10000"/>
              <a:gd name="connsiteY15" fmla="*/ 523 h 10000"/>
              <a:gd name="connsiteX16" fmla="*/ 6289 w 10000"/>
              <a:gd name="connsiteY16" fmla="*/ 0 h 10000"/>
              <a:gd name="connsiteX17" fmla="*/ 7715 w 10000"/>
              <a:gd name="connsiteY17" fmla="*/ 0 h 10000"/>
              <a:gd name="connsiteX18" fmla="*/ 7774 w 10000"/>
              <a:gd name="connsiteY18" fmla="*/ 523 h 10000"/>
              <a:gd name="connsiteX19" fmla="*/ 7774 w 10000"/>
              <a:gd name="connsiteY19" fmla="*/ 7159 h 10000"/>
              <a:gd name="connsiteX20" fmla="*/ 7831 w 10000"/>
              <a:gd name="connsiteY20" fmla="*/ 7682 h 10000"/>
              <a:gd name="connsiteX21" fmla="*/ 10000 w 10000"/>
              <a:gd name="connsiteY21" fmla="*/ 7682 h 10000"/>
              <a:gd name="connsiteX0" fmla="*/ 0 w 8282"/>
              <a:gd name="connsiteY0" fmla="*/ 5609 h 10000"/>
              <a:gd name="connsiteX1" fmla="*/ 368 w 8282"/>
              <a:gd name="connsiteY1" fmla="*/ 5607 h 10000"/>
              <a:gd name="connsiteX2" fmla="*/ 426 w 8282"/>
              <a:gd name="connsiteY2" fmla="*/ 6131 h 10000"/>
              <a:gd name="connsiteX3" fmla="*/ 426 w 8282"/>
              <a:gd name="connsiteY3" fmla="*/ 9477 h 10000"/>
              <a:gd name="connsiteX4" fmla="*/ 487 w 8282"/>
              <a:gd name="connsiteY4" fmla="*/ 10000 h 10000"/>
              <a:gd name="connsiteX5" fmla="*/ 995 w 8282"/>
              <a:gd name="connsiteY5" fmla="*/ 10000 h 10000"/>
              <a:gd name="connsiteX6" fmla="*/ 1051 w 8282"/>
              <a:gd name="connsiteY6" fmla="*/ 9477 h 10000"/>
              <a:gd name="connsiteX7" fmla="*/ 1051 w 8282"/>
              <a:gd name="connsiteY7" fmla="*/ 7178 h 10000"/>
              <a:gd name="connsiteX8" fmla="*/ 1105 w 8282"/>
              <a:gd name="connsiteY8" fmla="*/ 6654 h 10000"/>
              <a:gd name="connsiteX9" fmla="*/ 1733 w 8282"/>
              <a:gd name="connsiteY9" fmla="*/ 6654 h 10000"/>
              <a:gd name="connsiteX10" fmla="*/ 1792 w 8282"/>
              <a:gd name="connsiteY10" fmla="*/ 7178 h 10000"/>
              <a:gd name="connsiteX11" fmla="*/ 1792 w 8282"/>
              <a:gd name="connsiteY11" fmla="*/ 8411 h 10000"/>
              <a:gd name="connsiteX12" fmla="*/ 1848 w 8282"/>
              <a:gd name="connsiteY12" fmla="*/ 8935 h 10000"/>
              <a:gd name="connsiteX13" fmla="*/ 6177 w 8282"/>
              <a:gd name="connsiteY13" fmla="*/ 8935 h 10000"/>
              <a:gd name="connsiteX14" fmla="*/ 6233 w 8282"/>
              <a:gd name="connsiteY14" fmla="*/ 8411 h 10000"/>
              <a:gd name="connsiteX15" fmla="*/ 6233 w 8282"/>
              <a:gd name="connsiteY15" fmla="*/ 523 h 10000"/>
              <a:gd name="connsiteX16" fmla="*/ 6289 w 8282"/>
              <a:gd name="connsiteY16" fmla="*/ 0 h 10000"/>
              <a:gd name="connsiteX17" fmla="*/ 7715 w 8282"/>
              <a:gd name="connsiteY17" fmla="*/ 0 h 10000"/>
              <a:gd name="connsiteX18" fmla="*/ 7774 w 8282"/>
              <a:gd name="connsiteY18" fmla="*/ 523 h 10000"/>
              <a:gd name="connsiteX19" fmla="*/ 7774 w 8282"/>
              <a:gd name="connsiteY19" fmla="*/ 7159 h 10000"/>
              <a:gd name="connsiteX20" fmla="*/ 7831 w 8282"/>
              <a:gd name="connsiteY20" fmla="*/ 7682 h 10000"/>
              <a:gd name="connsiteX21" fmla="*/ 8282 w 8282"/>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58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017" h="10000">
                <a:moveTo>
                  <a:pt x="0" y="5609"/>
                </a:moveTo>
                <a:lnTo>
                  <a:pt x="436" y="5607"/>
                </a:lnTo>
                <a:cubicBezTo>
                  <a:pt x="477" y="5607"/>
                  <a:pt x="514" y="5832"/>
                  <a:pt x="514" y="6131"/>
                </a:cubicBezTo>
                <a:lnTo>
                  <a:pt x="514" y="9477"/>
                </a:lnTo>
                <a:cubicBezTo>
                  <a:pt x="514" y="9757"/>
                  <a:pt x="548" y="10000"/>
                  <a:pt x="588" y="10000"/>
                </a:cubicBezTo>
                <a:lnTo>
                  <a:pt x="1201" y="10000"/>
                </a:lnTo>
                <a:cubicBezTo>
                  <a:pt x="1235" y="10000"/>
                  <a:pt x="1269" y="9757"/>
                  <a:pt x="1269" y="9477"/>
                </a:cubicBezTo>
                <a:lnTo>
                  <a:pt x="1269" y="7178"/>
                </a:lnTo>
                <a:cubicBezTo>
                  <a:pt x="1269" y="6897"/>
                  <a:pt x="1297" y="6654"/>
                  <a:pt x="1334" y="6654"/>
                </a:cubicBezTo>
                <a:lnTo>
                  <a:pt x="2092" y="6654"/>
                </a:lnTo>
                <a:cubicBezTo>
                  <a:pt x="2132" y="6654"/>
                  <a:pt x="2164" y="6897"/>
                  <a:pt x="2164" y="7178"/>
                </a:cubicBezTo>
                <a:lnTo>
                  <a:pt x="2164" y="8411"/>
                </a:lnTo>
                <a:cubicBezTo>
                  <a:pt x="2164" y="8710"/>
                  <a:pt x="2193" y="8935"/>
                  <a:pt x="2231" y="8935"/>
                </a:cubicBezTo>
                <a:lnTo>
                  <a:pt x="7458" y="8935"/>
                </a:lnTo>
                <a:cubicBezTo>
                  <a:pt x="7496" y="8935"/>
                  <a:pt x="7526" y="8710"/>
                  <a:pt x="7526" y="8411"/>
                </a:cubicBezTo>
                <a:lnTo>
                  <a:pt x="7526" y="523"/>
                </a:lnTo>
                <a:cubicBezTo>
                  <a:pt x="7526" y="224"/>
                  <a:pt x="7557" y="0"/>
                  <a:pt x="7594" y="0"/>
                </a:cubicBezTo>
                <a:lnTo>
                  <a:pt x="9315" y="0"/>
                </a:lnTo>
                <a:cubicBezTo>
                  <a:pt x="9356" y="0"/>
                  <a:pt x="9387" y="224"/>
                  <a:pt x="9387" y="523"/>
                </a:cubicBezTo>
                <a:lnTo>
                  <a:pt x="9387" y="7159"/>
                </a:lnTo>
                <a:cubicBezTo>
                  <a:pt x="9387" y="7439"/>
                  <a:pt x="9416" y="7682"/>
                  <a:pt x="9455" y="7682"/>
                </a:cubicBezTo>
                <a:lnTo>
                  <a:pt x="10017" y="7682"/>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Freeform 9"/>
          <p:cNvSpPr>
            <a:spLocks/>
          </p:cNvSpPr>
          <p:nvPr/>
        </p:nvSpPr>
        <p:spPr bwMode="gray">
          <a:xfrm>
            <a:off x="-7917" y="4480919"/>
            <a:ext cx="9161634" cy="1894152"/>
          </a:xfrm>
          <a:custGeom>
            <a:avLst/>
            <a:gdLst>
              <a:gd name="T0" fmla="*/ 0 w 8479"/>
              <a:gd name="T1" fmla="*/ 0 h 835"/>
              <a:gd name="T2" fmla="*/ 1311 w 8479"/>
              <a:gd name="T3" fmla="*/ 0 h 835"/>
              <a:gd name="T4" fmla="*/ 1339 w 8479"/>
              <a:gd name="T5" fmla="*/ 28 h 835"/>
              <a:gd name="T6" fmla="*/ 1339 w 8479"/>
              <a:gd name="T7" fmla="*/ 629 h 835"/>
              <a:gd name="T8" fmla="*/ 1366 w 8479"/>
              <a:gd name="T9" fmla="*/ 657 h 835"/>
              <a:gd name="T10" fmla="*/ 2615 w 8479"/>
              <a:gd name="T11" fmla="*/ 657 h 835"/>
              <a:gd name="T12" fmla="*/ 2643 w 8479"/>
              <a:gd name="T13" fmla="*/ 629 h 835"/>
              <a:gd name="T14" fmla="*/ 2643 w 8479"/>
              <a:gd name="T15" fmla="*/ 150 h 835"/>
              <a:gd name="T16" fmla="*/ 2671 w 8479"/>
              <a:gd name="T17" fmla="*/ 122 h 835"/>
              <a:gd name="T18" fmla="*/ 3930 w 8479"/>
              <a:gd name="T19" fmla="*/ 122 h 835"/>
              <a:gd name="T20" fmla="*/ 3958 w 8479"/>
              <a:gd name="T21" fmla="*/ 150 h 835"/>
              <a:gd name="T22" fmla="*/ 3958 w 8479"/>
              <a:gd name="T23" fmla="*/ 807 h 835"/>
              <a:gd name="T24" fmla="*/ 3986 w 8479"/>
              <a:gd name="T25" fmla="*/ 835 h 835"/>
              <a:gd name="T26" fmla="*/ 4855 w 8479"/>
              <a:gd name="T27" fmla="*/ 835 h 835"/>
              <a:gd name="T28" fmla="*/ 4883 w 8479"/>
              <a:gd name="T29" fmla="*/ 807 h 835"/>
              <a:gd name="T30" fmla="*/ 4883 w 8479"/>
              <a:gd name="T31" fmla="*/ 28 h 835"/>
              <a:gd name="T32" fmla="*/ 4911 w 8479"/>
              <a:gd name="T33" fmla="*/ 0 h 835"/>
              <a:gd name="T34" fmla="*/ 5536 w 8479"/>
              <a:gd name="T35" fmla="*/ 0 h 835"/>
              <a:gd name="T36" fmla="*/ 5564 w 8479"/>
              <a:gd name="T37" fmla="*/ 28 h 835"/>
              <a:gd name="T38" fmla="*/ 5564 w 8479"/>
              <a:gd name="T39" fmla="*/ 716 h 835"/>
              <a:gd name="T40" fmla="*/ 5592 w 8479"/>
              <a:gd name="T41" fmla="*/ 744 h 835"/>
              <a:gd name="T42" fmla="*/ 6859 w 8479"/>
              <a:gd name="T43" fmla="*/ 744 h 835"/>
              <a:gd name="T44" fmla="*/ 6887 w 8479"/>
              <a:gd name="T45" fmla="*/ 716 h 835"/>
              <a:gd name="T46" fmla="*/ 6887 w 8479"/>
              <a:gd name="T47" fmla="*/ 148 h 835"/>
              <a:gd name="T48" fmla="*/ 6915 w 8479"/>
              <a:gd name="T49" fmla="*/ 120 h 835"/>
              <a:gd name="T50" fmla="*/ 7337 w 8479"/>
              <a:gd name="T51" fmla="*/ 120 h 835"/>
              <a:gd name="T52" fmla="*/ 7364 w 8479"/>
              <a:gd name="T53" fmla="*/ 148 h 835"/>
              <a:gd name="T54" fmla="*/ 7364 w 8479"/>
              <a:gd name="T55" fmla="*/ 269 h 835"/>
              <a:gd name="T56" fmla="*/ 7392 w 8479"/>
              <a:gd name="T57" fmla="*/ 297 h 835"/>
              <a:gd name="T58" fmla="*/ 8479 w 8479"/>
              <a:gd name="T59" fmla="*/ 297 h 835"/>
              <a:gd name="connsiteX0" fmla="*/ 0 w 8454"/>
              <a:gd name="connsiteY0" fmla="*/ 0 h 10000"/>
              <a:gd name="connsiteX1" fmla="*/ 33 w 8454"/>
              <a:gd name="connsiteY1" fmla="*/ 335 h 10000"/>
              <a:gd name="connsiteX2" fmla="*/ 33 w 8454"/>
              <a:gd name="connsiteY2" fmla="*/ 7533 h 10000"/>
              <a:gd name="connsiteX3" fmla="*/ 65 w 8454"/>
              <a:gd name="connsiteY3" fmla="*/ 7868 h 10000"/>
              <a:gd name="connsiteX4" fmla="*/ 1538 w 8454"/>
              <a:gd name="connsiteY4" fmla="*/ 7868 h 10000"/>
              <a:gd name="connsiteX5" fmla="*/ 1571 w 8454"/>
              <a:gd name="connsiteY5" fmla="*/ 7533 h 10000"/>
              <a:gd name="connsiteX6" fmla="*/ 1571 w 8454"/>
              <a:gd name="connsiteY6" fmla="*/ 1796 h 10000"/>
              <a:gd name="connsiteX7" fmla="*/ 1604 w 8454"/>
              <a:gd name="connsiteY7" fmla="*/ 1461 h 10000"/>
              <a:gd name="connsiteX8" fmla="*/ 3089 w 8454"/>
              <a:gd name="connsiteY8" fmla="*/ 1461 h 10000"/>
              <a:gd name="connsiteX9" fmla="*/ 3122 w 8454"/>
              <a:gd name="connsiteY9" fmla="*/ 1796 h 10000"/>
              <a:gd name="connsiteX10" fmla="*/ 3122 w 8454"/>
              <a:gd name="connsiteY10" fmla="*/ 9665 h 10000"/>
              <a:gd name="connsiteX11" fmla="*/ 3155 w 8454"/>
              <a:gd name="connsiteY11" fmla="*/ 10000 h 10000"/>
              <a:gd name="connsiteX12" fmla="*/ 4180 w 8454"/>
              <a:gd name="connsiteY12" fmla="*/ 10000 h 10000"/>
              <a:gd name="connsiteX13" fmla="*/ 4213 w 8454"/>
              <a:gd name="connsiteY13" fmla="*/ 9665 h 10000"/>
              <a:gd name="connsiteX14" fmla="*/ 4213 w 8454"/>
              <a:gd name="connsiteY14" fmla="*/ 335 h 10000"/>
              <a:gd name="connsiteX15" fmla="*/ 4246 w 8454"/>
              <a:gd name="connsiteY15" fmla="*/ 0 h 10000"/>
              <a:gd name="connsiteX16" fmla="*/ 4983 w 8454"/>
              <a:gd name="connsiteY16" fmla="*/ 0 h 10000"/>
              <a:gd name="connsiteX17" fmla="*/ 5016 w 8454"/>
              <a:gd name="connsiteY17" fmla="*/ 335 h 10000"/>
              <a:gd name="connsiteX18" fmla="*/ 5016 w 8454"/>
              <a:gd name="connsiteY18" fmla="*/ 8575 h 10000"/>
              <a:gd name="connsiteX19" fmla="*/ 5049 w 8454"/>
              <a:gd name="connsiteY19" fmla="*/ 8910 h 10000"/>
              <a:gd name="connsiteX20" fmla="*/ 6543 w 8454"/>
              <a:gd name="connsiteY20" fmla="*/ 8910 h 10000"/>
              <a:gd name="connsiteX21" fmla="*/ 6576 w 8454"/>
              <a:gd name="connsiteY21" fmla="*/ 8575 h 10000"/>
              <a:gd name="connsiteX22" fmla="*/ 6576 w 8454"/>
              <a:gd name="connsiteY22" fmla="*/ 1772 h 10000"/>
              <a:gd name="connsiteX23" fmla="*/ 6609 w 8454"/>
              <a:gd name="connsiteY23" fmla="*/ 1437 h 10000"/>
              <a:gd name="connsiteX24" fmla="*/ 7107 w 8454"/>
              <a:gd name="connsiteY24" fmla="*/ 1437 h 10000"/>
              <a:gd name="connsiteX25" fmla="*/ 7139 w 8454"/>
              <a:gd name="connsiteY25" fmla="*/ 1772 h 10000"/>
              <a:gd name="connsiteX26" fmla="*/ 7139 w 8454"/>
              <a:gd name="connsiteY26" fmla="*/ 3222 h 10000"/>
              <a:gd name="connsiteX27" fmla="*/ 7172 w 8454"/>
              <a:gd name="connsiteY27" fmla="*/ 3557 h 10000"/>
              <a:gd name="connsiteX28" fmla="*/ 8454 w 8454"/>
              <a:gd name="connsiteY28" fmla="*/ 3557 h 10000"/>
              <a:gd name="connsiteX0" fmla="*/ 0 w 9961"/>
              <a:gd name="connsiteY0" fmla="*/ 335 h 10000"/>
              <a:gd name="connsiteX1" fmla="*/ 0 w 9961"/>
              <a:gd name="connsiteY1" fmla="*/ 7533 h 10000"/>
              <a:gd name="connsiteX2" fmla="*/ 38 w 9961"/>
              <a:gd name="connsiteY2" fmla="*/ 7868 h 10000"/>
              <a:gd name="connsiteX3" fmla="*/ 1780 w 9961"/>
              <a:gd name="connsiteY3" fmla="*/ 7868 h 10000"/>
              <a:gd name="connsiteX4" fmla="*/ 1819 w 9961"/>
              <a:gd name="connsiteY4" fmla="*/ 7533 h 10000"/>
              <a:gd name="connsiteX5" fmla="*/ 1819 w 9961"/>
              <a:gd name="connsiteY5" fmla="*/ 1796 h 10000"/>
              <a:gd name="connsiteX6" fmla="*/ 1858 w 9961"/>
              <a:gd name="connsiteY6" fmla="*/ 1461 h 10000"/>
              <a:gd name="connsiteX7" fmla="*/ 3615 w 9961"/>
              <a:gd name="connsiteY7" fmla="*/ 1461 h 10000"/>
              <a:gd name="connsiteX8" fmla="*/ 3654 w 9961"/>
              <a:gd name="connsiteY8" fmla="*/ 1796 h 10000"/>
              <a:gd name="connsiteX9" fmla="*/ 3654 w 9961"/>
              <a:gd name="connsiteY9" fmla="*/ 9665 h 10000"/>
              <a:gd name="connsiteX10" fmla="*/ 3693 w 9961"/>
              <a:gd name="connsiteY10" fmla="*/ 10000 h 10000"/>
              <a:gd name="connsiteX11" fmla="*/ 4905 w 9961"/>
              <a:gd name="connsiteY11" fmla="*/ 10000 h 10000"/>
              <a:gd name="connsiteX12" fmla="*/ 4944 w 9961"/>
              <a:gd name="connsiteY12" fmla="*/ 9665 h 10000"/>
              <a:gd name="connsiteX13" fmla="*/ 4944 w 9961"/>
              <a:gd name="connsiteY13" fmla="*/ 335 h 10000"/>
              <a:gd name="connsiteX14" fmla="*/ 4983 w 9961"/>
              <a:gd name="connsiteY14" fmla="*/ 0 h 10000"/>
              <a:gd name="connsiteX15" fmla="*/ 5855 w 9961"/>
              <a:gd name="connsiteY15" fmla="*/ 0 h 10000"/>
              <a:gd name="connsiteX16" fmla="*/ 5894 w 9961"/>
              <a:gd name="connsiteY16" fmla="*/ 335 h 10000"/>
              <a:gd name="connsiteX17" fmla="*/ 5894 w 9961"/>
              <a:gd name="connsiteY17" fmla="*/ 8575 h 10000"/>
              <a:gd name="connsiteX18" fmla="*/ 5933 w 9961"/>
              <a:gd name="connsiteY18" fmla="*/ 8910 h 10000"/>
              <a:gd name="connsiteX19" fmla="*/ 7701 w 9961"/>
              <a:gd name="connsiteY19" fmla="*/ 8910 h 10000"/>
              <a:gd name="connsiteX20" fmla="*/ 7740 w 9961"/>
              <a:gd name="connsiteY20" fmla="*/ 8575 h 10000"/>
              <a:gd name="connsiteX21" fmla="*/ 7740 w 9961"/>
              <a:gd name="connsiteY21" fmla="*/ 1772 h 10000"/>
              <a:gd name="connsiteX22" fmla="*/ 7779 w 9961"/>
              <a:gd name="connsiteY22" fmla="*/ 1437 h 10000"/>
              <a:gd name="connsiteX23" fmla="*/ 8368 w 9961"/>
              <a:gd name="connsiteY23" fmla="*/ 1437 h 10000"/>
              <a:gd name="connsiteX24" fmla="*/ 8406 w 9961"/>
              <a:gd name="connsiteY24" fmla="*/ 1772 h 10000"/>
              <a:gd name="connsiteX25" fmla="*/ 8406 w 9961"/>
              <a:gd name="connsiteY25" fmla="*/ 3222 h 10000"/>
              <a:gd name="connsiteX26" fmla="*/ 8445 w 9961"/>
              <a:gd name="connsiteY26" fmla="*/ 3557 h 10000"/>
              <a:gd name="connsiteX27" fmla="*/ 9961 w 9961"/>
              <a:gd name="connsiteY27" fmla="*/ 3557 h 10000"/>
              <a:gd name="connsiteX0" fmla="*/ 0 w 10000"/>
              <a:gd name="connsiteY0" fmla="*/ 7533 h 10000"/>
              <a:gd name="connsiteX1" fmla="*/ 38 w 10000"/>
              <a:gd name="connsiteY1" fmla="*/ 7868 h 10000"/>
              <a:gd name="connsiteX2" fmla="*/ 1787 w 10000"/>
              <a:gd name="connsiteY2" fmla="*/ 7868 h 10000"/>
              <a:gd name="connsiteX3" fmla="*/ 1826 w 10000"/>
              <a:gd name="connsiteY3" fmla="*/ 7533 h 10000"/>
              <a:gd name="connsiteX4" fmla="*/ 1826 w 10000"/>
              <a:gd name="connsiteY4" fmla="*/ 1796 h 10000"/>
              <a:gd name="connsiteX5" fmla="*/ 1865 w 10000"/>
              <a:gd name="connsiteY5" fmla="*/ 1461 h 10000"/>
              <a:gd name="connsiteX6" fmla="*/ 3629 w 10000"/>
              <a:gd name="connsiteY6" fmla="*/ 1461 h 10000"/>
              <a:gd name="connsiteX7" fmla="*/ 3668 w 10000"/>
              <a:gd name="connsiteY7" fmla="*/ 1796 h 10000"/>
              <a:gd name="connsiteX8" fmla="*/ 3668 w 10000"/>
              <a:gd name="connsiteY8" fmla="*/ 9665 h 10000"/>
              <a:gd name="connsiteX9" fmla="*/ 3707 w 10000"/>
              <a:gd name="connsiteY9" fmla="*/ 10000 h 10000"/>
              <a:gd name="connsiteX10" fmla="*/ 4924 w 10000"/>
              <a:gd name="connsiteY10" fmla="*/ 10000 h 10000"/>
              <a:gd name="connsiteX11" fmla="*/ 4963 w 10000"/>
              <a:gd name="connsiteY11" fmla="*/ 9665 h 10000"/>
              <a:gd name="connsiteX12" fmla="*/ 4963 w 10000"/>
              <a:gd name="connsiteY12" fmla="*/ 335 h 10000"/>
              <a:gd name="connsiteX13" fmla="*/ 5003 w 10000"/>
              <a:gd name="connsiteY13" fmla="*/ 0 h 10000"/>
              <a:gd name="connsiteX14" fmla="*/ 5878 w 10000"/>
              <a:gd name="connsiteY14" fmla="*/ 0 h 10000"/>
              <a:gd name="connsiteX15" fmla="*/ 5917 w 10000"/>
              <a:gd name="connsiteY15" fmla="*/ 335 h 10000"/>
              <a:gd name="connsiteX16" fmla="*/ 5917 w 10000"/>
              <a:gd name="connsiteY16" fmla="*/ 8575 h 10000"/>
              <a:gd name="connsiteX17" fmla="*/ 5956 w 10000"/>
              <a:gd name="connsiteY17" fmla="*/ 8910 h 10000"/>
              <a:gd name="connsiteX18" fmla="*/ 7731 w 10000"/>
              <a:gd name="connsiteY18" fmla="*/ 8910 h 10000"/>
              <a:gd name="connsiteX19" fmla="*/ 7770 w 10000"/>
              <a:gd name="connsiteY19" fmla="*/ 8575 h 10000"/>
              <a:gd name="connsiteX20" fmla="*/ 7770 w 10000"/>
              <a:gd name="connsiteY20" fmla="*/ 1772 h 10000"/>
              <a:gd name="connsiteX21" fmla="*/ 7809 w 10000"/>
              <a:gd name="connsiteY21" fmla="*/ 1437 h 10000"/>
              <a:gd name="connsiteX22" fmla="*/ 8401 w 10000"/>
              <a:gd name="connsiteY22" fmla="*/ 1437 h 10000"/>
              <a:gd name="connsiteX23" fmla="*/ 8439 w 10000"/>
              <a:gd name="connsiteY23" fmla="*/ 1772 h 10000"/>
              <a:gd name="connsiteX24" fmla="*/ 8439 w 10000"/>
              <a:gd name="connsiteY24" fmla="*/ 3222 h 10000"/>
              <a:gd name="connsiteX25" fmla="*/ 8478 w 10000"/>
              <a:gd name="connsiteY25" fmla="*/ 3557 h 10000"/>
              <a:gd name="connsiteX26" fmla="*/ 10000 w 10000"/>
              <a:gd name="connsiteY26" fmla="*/ 3557 h 10000"/>
              <a:gd name="connsiteX0" fmla="*/ 0 w 9962"/>
              <a:gd name="connsiteY0" fmla="*/ 7868 h 10000"/>
              <a:gd name="connsiteX1" fmla="*/ 1749 w 9962"/>
              <a:gd name="connsiteY1" fmla="*/ 7868 h 10000"/>
              <a:gd name="connsiteX2" fmla="*/ 1788 w 9962"/>
              <a:gd name="connsiteY2" fmla="*/ 7533 h 10000"/>
              <a:gd name="connsiteX3" fmla="*/ 1788 w 9962"/>
              <a:gd name="connsiteY3" fmla="*/ 1796 h 10000"/>
              <a:gd name="connsiteX4" fmla="*/ 1827 w 9962"/>
              <a:gd name="connsiteY4" fmla="*/ 1461 h 10000"/>
              <a:gd name="connsiteX5" fmla="*/ 3591 w 9962"/>
              <a:gd name="connsiteY5" fmla="*/ 1461 h 10000"/>
              <a:gd name="connsiteX6" fmla="*/ 3630 w 9962"/>
              <a:gd name="connsiteY6" fmla="*/ 1796 h 10000"/>
              <a:gd name="connsiteX7" fmla="*/ 3630 w 9962"/>
              <a:gd name="connsiteY7" fmla="*/ 9665 h 10000"/>
              <a:gd name="connsiteX8" fmla="*/ 3669 w 9962"/>
              <a:gd name="connsiteY8" fmla="*/ 10000 h 10000"/>
              <a:gd name="connsiteX9" fmla="*/ 4886 w 9962"/>
              <a:gd name="connsiteY9" fmla="*/ 10000 h 10000"/>
              <a:gd name="connsiteX10" fmla="*/ 4925 w 9962"/>
              <a:gd name="connsiteY10" fmla="*/ 9665 h 10000"/>
              <a:gd name="connsiteX11" fmla="*/ 4925 w 9962"/>
              <a:gd name="connsiteY11" fmla="*/ 335 h 10000"/>
              <a:gd name="connsiteX12" fmla="*/ 4965 w 9962"/>
              <a:gd name="connsiteY12" fmla="*/ 0 h 10000"/>
              <a:gd name="connsiteX13" fmla="*/ 5840 w 9962"/>
              <a:gd name="connsiteY13" fmla="*/ 0 h 10000"/>
              <a:gd name="connsiteX14" fmla="*/ 5879 w 9962"/>
              <a:gd name="connsiteY14" fmla="*/ 335 h 10000"/>
              <a:gd name="connsiteX15" fmla="*/ 5879 w 9962"/>
              <a:gd name="connsiteY15" fmla="*/ 8575 h 10000"/>
              <a:gd name="connsiteX16" fmla="*/ 5918 w 9962"/>
              <a:gd name="connsiteY16" fmla="*/ 8910 h 10000"/>
              <a:gd name="connsiteX17" fmla="*/ 7693 w 9962"/>
              <a:gd name="connsiteY17" fmla="*/ 8910 h 10000"/>
              <a:gd name="connsiteX18" fmla="*/ 7732 w 9962"/>
              <a:gd name="connsiteY18" fmla="*/ 8575 h 10000"/>
              <a:gd name="connsiteX19" fmla="*/ 7732 w 9962"/>
              <a:gd name="connsiteY19" fmla="*/ 1772 h 10000"/>
              <a:gd name="connsiteX20" fmla="*/ 7771 w 9962"/>
              <a:gd name="connsiteY20" fmla="*/ 1437 h 10000"/>
              <a:gd name="connsiteX21" fmla="*/ 8363 w 9962"/>
              <a:gd name="connsiteY21" fmla="*/ 1437 h 10000"/>
              <a:gd name="connsiteX22" fmla="*/ 8401 w 9962"/>
              <a:gd name="connsiteY22" fmla="*/ 1772 h 10000"/>
              <a:gd name="connsiteX23" fmla="*/ 8401 w 9962"/>
              <a:gd name="connsiteY23" fmla="*/ 3222 h 10000"/>
              <a:gd name="connsiteX24" fmla="*/ 8440 w 9962"/>
              <a:gd name="connsiteY24" fmla="*/ 3557 h 10000"/>
              <a:gd name="connsiteX25" fmla="*/ 9962 w 9962"/>
              <a:gd name="connsiteY25" fmla="*/ 3557 h 10000"/>
              <a:gd name="connsiteX0" fmla="*/ 0 w 8472"/>
              <a:gd name="connsiteY0" fmla="*/ 7868 h 10000"/>
              <a:gd name="connsiteX1" fmla="*/ 1756 w 8472"/>
              <a:gd name="connsiteY1" fmla="*/ 7868 h 10000"/>
              <a:gd name="connsiteX2" fmla="*/ 1795 w 8472"/>
              <a:gd name="connsiteY2" fmla="*/ 7533 h 10000"/>
              <a:gd name="connsiteX3" fmla="*/ 1795 w 8472"/>
              <a:gd name="connsiteY3" fmla="*/ 1796 h 10000"/>
              <a:gd name="connsiteX4" fmla="*/ 1834 w 8472"/>
              <a:gd name="connsiteY4" fmla="*/ 1461 h 10000"/>
              <a:gd name="connsiteX5" fmla="*/ 3605 w 8472"/>
              <a:gd name="connsiteY5" fmla="*/ 1461 h 10000"/>
              <a:gd name="connsiteX6" fmla="*/ 3644 w 8472"/>
              <a:gd name="connsiteY6" fmla="*/ 1796 h 10000"/>
              <a:gd name="connsiteX7" fmla="*/ 3644 w 8472"/>
              <a:gd name="connsiteY7" fmla="*/ 9665 h 10000"/>
              <a:gd name="connsiteX8" fmla="*/ 3683 w 8472"/>
              <a:gd name="connsiteY8" fmla="*/ 10000 h 10000"/>
              <a:gd name="connsiteX9" fmla="*/ 4905 w 8472"/>
              <a:gd name="connsiteY9" fmla="*/ 10000 h 10000"/>
              <a:gd name="connsiteX10" fmla="*/ 4944 w 8472"/>
              <a:gd name="connsiteY10" fmla="*/ 9665 h 10000"/>
              <a:gd name="connsiteX11" fmla="*/ 4944 w 8472"/>
              <a:gd name="connsiteY11" fmla="*/ 335 h 10000"/>
              <a:gd name="connsiteX12" fmla="*/ 4984 w 8472"/>
              <a:gd name="connsiteY12" fmla="*/ 0 h 10000"/>
              <a:gd name="connsiteX13" fmla="*/ 5862 w 8472"/>
              <a:gd name="connsiteY13" fmla="*/ 0 h 10000"/>
              <a:gd name="connsiteX14" fmla="*/ 5901 w 8472"/>
              <a:gd name="connsiteY14" fmla="*/ 335 h 10000"/>
              <a:gd name="connsiteX15" fmla="*/ 5901 w 8472"/>
              <a:gd name="connsiteY15" fmla="*/ 8575 h 10000"/>
              <a:gd name="connsiteX16" fmla="*/ 5941 w 8472"/>
              <a:gd name="connsiteY16" fmla="*/ 8910 h 10000"/>
              <a:gd name="connsiteX17" fmla="*/ 7722 w 8472"/>
              <a:gd name="connsiteY17" fmla="*/ 8910 h 10000"/>
              <a:gd name="connsiteX18" fmla="*/ 7761 w 8472"/>
              <a:gd name="connsiteY18" fmla="*/ 8575 h 10000"/>
              <a:gd name="connsiteX19" fmla="*/ 7761 w 8472"/>
              <a:gd name="connsiteY19" fmla="*/ 1772 h 10000"/>
              <a:gd name="connsiteX20" fmla="*/ 7801 w 8472"/>
              <a:gd name="connsiteY20" fmla="*/ 1437 h 10000"/>
              <a:gd name="connsiteX21" fmla="*/ 8395 w 8472"/>
              <a:gd name="connsiteY21" fmla="*/ 1437 h 10000"/>
              <a:gd name="connsiteX22" fmla="*/ 8433 w 8472"/>
              <a:gd name="connsiteY22" fmla="*/ 1772 h 10000"/>
              <a:gd name="connsiteX23" fmla="*/ 8433 w 8472"/>
              <a:gd name="connsiteY23" fmla="*/ 3222 h 10000"/>
              <a:gd name="connsiteX24" fmla="*/ 8472 w 8472"/>
              <a:gd name="connsiteY24" fmla="*/ 3557 h 10000"/>
              <a:gd name="connsiteX0" fmla="*/ 0 w 9954"/>
              <a:gd name="connsiteY0" fmla="*/ 7868 h 10000"/>
              <a:gd name="connsiteX1" fmla="*/ 2073 w 9954"/>
              <a:gd name="connsiteY1" fmla="*/ 7868 h 10000"/>
              <a:gd name="connsiteX2" fmla="*/ 2119 w 9954"/>
              <a:gd name="connsiteY2" fmla="*/ 7533 h 10000"/>
              <a:gd name="connsiteX3" fmla="*/ 2119 w 9954"/>
              <a:gd name="connsiteY3" fmla="*/ 1796 h 10000"/>
              <a:gd name="connsiteX4" fmla="*/ 2165 w 9954"/>
              <a:gd name="connsiteY4" fmla="*/ 1461 h 10000"/>
              <a:gd name="connsiteX5" fmla="*/ 4255 w 9954"/>
              <a:gd name="connsiteY5" fmla="*/ 1461 h 10000"/>
              <a:gd name="connsiteX6" fmla="*/ 4301 w 9954"/>
              <a:gd name="connsiteY6" fmla="*/ 1796 h 10000"/>
              <a:gd name="connsiteX7" fmla="*/ 4301 w 9954"/>
              <a:gd name="connsiteY7" fmla="*/ 9665 h 10000"/>
              <a:gd name="connsiteX8" fmla="*/ 4347 w 9954"/>
              <a:gd name="connsiteY8" fmla="*/ 10000 h 10000"/>
              <a:gd name="connsiteX9" fmla="*/ 5790 w 9954"/>
              <a:gd name="connsiteY9" fmla="*/ 10000 h 10000"/>
              <a:gd name="connsiteX10" fmla="*/ 5836 w 9954"/>
              <a:gd name="connsiteY10" fmla="*/ 9665 h 10000"/>
              <a:gd name="connsiteX11" fmla="*/ 5836 w 9954"/>
              <a:gd name="connsiteY11" fmla="*/ 335 h 10000"/>
              <a:gd name="connsiteX12" fmla="*/ 5883 w 9954"/>
              <a:gd name="connsiteY12" fmla="*/ 0 h 10000"/>
              <a:gd name="connsiteX13" fmla="*/ 6919 w 9954"/>
              <a:gd name="connsiteY13" fmla="*/ 0 h 10000"/>
              <a:gd name="connsiteX14" fmla="*/ 6965 w 9954"/>
              <a:gd name="connsiteY14" fmla="*/ 335 h 10000"/>
              <a:gd name="connsiteX15" fmla="*/ 6965 w 9954"/>
              <a:gd name="connsiteY15" fmla="*/ 8575 h 10000"/>
              <a:gd name="connsiteX16" fmla="*/ 7013 w 9954"/>
              <a:gd name="connsiteY16" fmla="*/ 8910 h 10000"/>
              <a:gd name="connsiteX17" fmla="*/ 9115 w 9954"/>
              <a:gd name="connsiteY17" fmla="*/ 8910 h 10000"/>
              <a:gd name="connsiteX18" fmla="*/ 9161 w 9954"/>
              <a:gd name="connsiteY18" fmla="*/ 8575 h 10000"/>
              <a:gd name="connsiteX19" fmla="*/ 9161 w 9954"/>
              <a:gd name="connsiteY19" fmla="*/ 1772 h 10000"/>
              <a:gd name="connsiteX20" fmla="*/ 9208 w 9954"/>
              <a:gd name="connsiteY20" fmla="*/ 1437 h 10000"/>
              <a:gd name="connsiteX21" fmla="*/ 9909 w 9954"/>
              <a:gd name="connsiteY21" fmla="*/ 1437 h 10000"/>
              <a:gd name="connsiteX22" fmla="*/ 9954 w 9954"/>
              <a:gd name="connsiteY22" fmla="*/ 1772 h 10000"/>
              <a:gd name="connsiteX23" fmla="*/ 9954 w 9954"/>
              <a:gd name="connsiteY23" fmla="*/ 3222 h 10000"/>
              <a:gd name="connsiteX0" fmla="*/ 0 w 10000"/>
              <a:gd name="connsiteY0" fmla="*/ 7868 h 10000"/>
              <a:gd name="connsiteX1" fmla="*/ 2083 w 10000"/>
              <a:gd name="connsiteY1" fmla="*/ 7868 h 10000"/>
              <a:gd name="connsiteX2" fmla="*/ 2129 w 10000"/>
              <a:gd name="connsiteY2" fmla="*/ 7533 h 10000"/>
              <a:gd name="connsiteX3" fmla="*/ 2129 w 10000"/>
              <a:gd name="connsiteY3" fmla="*/ 1796 h 10000"/>
              <a:gd name="connsiteX4" fmla="*/ 2175 w 10000"/>
              <a:gd name="connsiteY4" fmla="*/ 1461 h 10000"/>
              <a:gd name="connsiteX5" fmla="*/ 4275 w 10000"/>
              <a:gd name="connsiteY5" fmla="*/ 1461 h 10000"/>
              <a:gd name="connsiteX6" fmla="*/ 4321 w 10000"/>
              <a:gd name="connsiteY6" fmla="*/ 1796 h 10000"/>
              <a:gd name="connsiteX7" fmla="*/ 4321 w 10000"/>
              <a:gd name="connsiteY7" fmla="*/ 9665 h 10000"/>
              <a:gd name="connsiteX8" fmla="*/ 4367 w 10000"/>
              <a:gd name="connsiteY8" fmla="*/ 10000 h 10000"/>
              <a:gd name="connsiteX9" fmla="*/ 5817 w 10000"/>
              <a:gd name="connsiteY9" fmla="*/ 10000 h 10000"/>
              <a:gd name="connsiteX10" fmla="*/ 5863 w 10000"/>
              <a:gd name="connsiteY10" fmla="*/ 9665 h 10000"/>
              <a:gd name="connsiteX11" fmla="*/ 5863 w 10000"/>
              <a:gd name="connsiteY11" fmla="*/ 335 h 10000"/>
              <a:gd name="connsiteX12" fmla="*/ 5910 w 10000"/>
              <a:gd name="connsiteY12" fmla="*/ 0 h 10000"/>
              <a:gd name="connsiteX13" fmla="*/ 6951 w 10000"/>
              <a:gd name="connsiteY13" fmla="*/ 0 h 10000"/>
              <a:gd name="connsiteX14" fmla="*/ 6997 w 10000"/>
              <a:gd name="connsiteY14" fmla="*/ 335 h 10000"/>
              <a:gd name="connsiteX15" fmla="*/ 6997 w 10000"/>
              <a:gd name="connsiteY15" fmla="*/ 8575 h 10000"/>
              <a:gd name="connsiteX16" fmla="*/ 7045 w 10000"/>
              <a:gd name="connsiteY16" fmla="*/ 8910 h 10000"/>
              <a:gd name="connsiteX17" fmla="*/ 9157 w 10000"/>
              <a:gd name="connsiteY17" fmla="*/ 8910 h 10000"/>
              <a:gd name="connsiteX18" fmla="*/ 9203 w 10000"/>
              <a:gd name="connsiteY18" fmla="*/ 8575 h 10000"/>
              <a:gd name="connsiteX19" fmla="*/ 9203 w 10000"/>
              <a:gd name="connsiteY19" fmla="*/ 1772 h 10000"/>
              <a:gd name="connsiteX20" fmla="*/ 9251 w 10000"/>
              <a:gd name="connsiteY20" fmla="*/ 1437 h 10000"/>
              <a:gd name="connsiteX21" fmla="*/ 9955 w 10000"/>
              <a:gd name="connsiteY21" fmla="*/ 1437 h 10000"/>
              <a:gd name="connsiteX22" fmla="*/ 10000 w 10000"/>
              <a:gd name="connsiteY22" fmla="*/ 1772 h 10000"/>
              <a:gd name="connsiteX0" fmla="*/ 0 w 9955"/>
              <a:gd name="connsiteY0" fmla="*/ 7868 h 10000"/>
              <a:gd name="connsiteX1" fmla="*/ 2083 w 9955"/>
              <a:gd name="connsiteY1" fmla="*/ 7868 h 10000"/>
              <a:gd name="connsiteX2" fmla="*/ 2129 w 9955"/>
              <a:gd name="connsiteY2" fmla="*/ 7533 h 10000"/>
              <a:gd name="connsiteX3" fmla="*/ 2129 w 9955"/>
              <a:gd name="connsiteY3" fmla="*/ 1796 h 10000"/>
              <a:gd name="connsiteX4" fmla="*/ 2175 w 9955"/>
              <a:gd name="connsiteY4" fmla="*/ 1461 h 10000"/>
              <a:gd name="connsiteX5" fmla="*/ 4275 w 9955"/>
              <a:gd name="connsiteY5" fmla="*/ 1461 h 10000"/>
              <a:gd name="connsiteX6" fmla="*/ 4321 w 9955"/>
              <a:gd name="connsiteY6" fmla="*/ 1796 h 10000"/>
              <a:gd name="connsiteX7" fmla="*/ 4321 w 9955"/>
              <a:gd name="connsiteY7" fmla="*/ 9665 h 10000"/>
              <a:gd name="connsiteX8" fmla="*/ 4367 w 9955"/>
              <a:gd name="connsiteY8" fmla="*/ 10000 h 10000"/>
              <a:gd name="connsiteX9" fmla="*/ 5817 w 9955"/>
              <a:gd name="connsiteY9" fmla="*/ 10000 h 10000"/>
              <a:gd name="connsiteX10" fmla="*/ 5863 w 9955"/>
              <a:gd name="connsiteY10" fmla="*/ 9665 h 10000"/>
              <a:gd name="connsiteX11" fmla="*/ 5863 w 9955"/>
              <a:gd name="connsiteY11" fmla="*/ 335 h 10000"/>
              <a:gd name="connsiteX12" fmla="*/ 5910 w 9955"/>
              <a:gd name="connsiteY12" fmla="*/ 0 h 10000"/>
              <a:gd name="connsiteX13" fmla="*/ 6951 w 9955"/>
              <a:gd name="connsiteY13" fmla="*/ 0 h 10000"/>
              <a:gd name="connsiteX14" fmla="*/ 6997 w 9955"/>
              <a:gd name="connsiteY14" fmla="*/ 335 h 10000"/>
              <a:gd name="connsiteX15" fmla="*/ 6997 w 9955"/>
              <a:gd name="connsiteY15" fmla="*/ 8575 h 10000"/>
              <a:gd name="connsiteX16" fmla="*/ 7045 w 9955"/>
              <a:gd name="connsiteY16" fmla="*/ 8910 h 10000"/>
              <a:gd name="connsiteX17" fmla="*/ 9157 w 9955"/>
              <a:gd name="connsiteY17" fmla="*/ 8910 h 10000"/>
              <a:gd name="connsiteX18" fmla="*/ 9203 w 9955"/>
              <a:gd name="connsiteY18" fmla="*/ 8575 h 10000"/>
              <a:gd name="connsiteX19" fmla="*/ 9203 w 9955"/>
              <a:gd name="connsiteY19" fmla="*/ 1772 h 10000"/>
              <a:gd name="connsiteX20" fmla="*/ 9251 w 9955"/>
              <a:gd name="connsiteY20" fmla="*/ 1437 h 10000"/>
              <a:gd name="connsiteX21" fmla="*/ 9955 w 9955"/>
              <a:gd name="connsiteY21" fmla="*/ 1437 h 10000"/>
              <a:gd name="connsiteX0" fmla="*/ 0 w 9293"/>
              <a:gd name="connsiteY0" fmla="*/ 7868 h 10000"/>
              <a:gd name="connsiteX1" fmla="*/ 2092 w 9293"/>
              <a:gd name="connsiteY1" fmla="*/ 7868 h 10000"/>
              <a:gd name="connsiteX2" fmla="*/ 2139 w 9293"/>
              <a:gd name="connsiteY2" fmla="*/ 7533 h 10000"/>
              <a:gd name="connsiteX3" fmla="*/ 2139 w 9293"/>
              <a:gd name="connsiteY3" fmla="*/ 1796 h 10000"/>
              <a:gd name="connsiteX4" fmla="*/ 2185 w 9293"/>
              <a:gd name="connsiteY4" fmla="*/ 1461 h 10000"/>
              <a:gd name="connsiteX5" fmla="*/ 4294 w 9293"/>
              <a:gd name="connsiteY5" fmla="*/ 1461 h 10000"/>
              <a:gd name="connsiteX6" fmla="*/ 4341 w 9293"/>
              <a:gd name="connsiteY6" fmla="*/ 1796 h 10000"/>
              <a:gd name="connsiteX7" fmla="*/ 4341 w 9293"/>
              <a:gd name="connsiteY7" fmla="*/ 9665 h 10000"/>
              <a:gd name="connsiteX8" fmla="*/ 4387 w 9293"/>
              <a:gd name="connsiteY8" fmla="*/ 10000 h 10000"/>
              <a:gd name="connsiteX9" fmla="*/ 5843 w 9293"/>
              <a:gd name="connsiteY9" fmla="*/ 10000 h 10000"/>
              <a:gd name="connsiteX10" fmla="*/ 5890 w 9293"/>
              <a:gd name="connsiteY10" fmla="*/ 9665 h 10000"/>
              <a:gd name="connsiteX11" fmla="*/ 5890 w 9293"/>
              <a:gd name="connsiteY11" fmla="*/ 335 h 10000"/>
              <a:gd name="connsiteX12" fmla="*/ 5937 w 9293"/>
              <a:gd name="connsiteY12" fmla="*/ 0 h 10000"/>
              <a:gd name="connsiteX13" fmla="*/ 6982 w 9293"/>
              <a:gd name="connsiteY13" fmla="*/ 0 h 10000"/>
              <a:gd name="connsiteX14" fmla="*/ 7029 w 9293"/>
              <a:gd name="connsiteY14" fmla="*/ 335 h 10000"/>
              <a:gd name="connsiteX15" fmla="*/ 7029 w 9293"/>
              <a:gd name="connsiteY15" fmla="*/ 8575 h 10000"/>
              <a:gd name="connsiteX16" fmla="*/ 7077 w 9293"/>
              <a:gd name="connsiteY16" fmla="*/ 8910 h 10000"/>
              <a:gd name="connsiteX17" fmla="*/ 9198 w 9293"/>
              <a:gd name="connsiteY17" fmla="*/ 8910 h 10000"/>
              <a:gd name="connsiteX18" fmla="*/ 9245 w 9293"/>
              <a:gd name="connsiteY18" fmla="*/ 8575 h 10000"/>
              <a:gd name="connsiteX19" fmla="*/ 9245 w 9293"/>
              <a:gd name="connsiteY19" fmla="*/ 1772 h 10000"/>
              <a:gd name="connsiteX20" fmla="*/ 9293 w 9293"/>
              <a:gd name="connsiteY20" fmla="*/ 1437 h 10000"/>
              <a:gd name="connsiteX0" fmla="*/ 0 w 9948"/>
              <a:gd name="connsiteY0" fmla="*/ 7868 h 10000"/>
              <a:gd name="connsiteX1" fmla="*/ 2251 w 9948"/>
              <a:gd name="connsiteY1" fmla="*/ 7868 h 10000"/>
              <a:gd name="connsiteX2" fmla="*/ 2302 w 9948"/>
              <a:gd name="connsiteY2" fmla="*/ 7533 h 10000"/>
              <a:gd name="connsiteX3" fmla="*/ 2302 w 9948"/>
              <a:gd name="connsiteY3" fmla="*/ 1796 h 10000"/>
              <a:gd name="connsiteX4" fmla="*/ 2351 w 9948"/>
              <a:gd name="connsiteY4" fmla="*/ 1461 h 10000"/>
              <a:gd name="connsiteX5" fmla="*/ 4621 w 9948"/>
              <a:gd name="connsiteY5" fmla="*/ 1461 h 10000"/>
              <a:gd name="connsiteX6" fmla="*/ 4671 w 9948"/>
              <a:gd name="connsiteY6" fmla="*/ 1796 h 10000"/>
              <a:gd name="connsiteX7" fmla="*/ 4671 w 9948"/>
              <a:gd name="connsiteY7" fmla="*/ 9665 h 10000"/>
              <a:gd name="connsiteX8" fmla="*/ 4721 w 9948"/>
              <a:gd name="connsiteY8" fmla="*/ 10000 h 10000"/>
              <a:gd name="connsiteX9" fmla="*/ 6288 w 9948"/>
              <a:gd name="connsiteY9" fmla="*/ 10000 h 10000"/>
              <a:gd name="connsiteX10" fmla="*/ 6338 w 9948"/>
              <a:gd name="connsiteY10" fmla="*/ 9665 h 10000"/>
              <a:gd name="connsiteX11" fmla="*/ 6338 w 9948"/>
              <a:gd name="connsiteY11" fmla="*/ 335 h 10000"/>
              <a:gd name="connsiteX12" fmla="*/ 6389 w 9948"/>
              <a:gd name="connsiteY12" fmla="*/ 0 h 10000"/>
              <a:gd name="connsiteX13" fmla="*/ 7513 w 9948"/>
              <a:gd name="connsiteY13" fmla="*/ 0 h 10000"/>
              <a:gd name="connsiteX14" fmla="*/ 7564 w 9948"/>
              <a:gd name="connsiteY14" fmla="*/ 335 h 10000"/>
              <a:gd name="connsiteX15" fmla="*/ 7564 w 9948"/>
              <a:gd name="connsiteY15" fmla="*/ 8575 h 10000"/>
              <a:gd name="connsiteX16" fmla="*/ 7615 w 9948"/>
              <a:gd name="connsiteY16" fmla="*/ 8910 h 10000"/>
              <a:gd name="connsiteX17" fmla="*/ 9898 w 9948"/>
              <a:gd name="connsiteY17" fmla="*/ 8910 h 10000"/>
              <a:gd name="connsiteX18" fmla="*/ 9948 w 9948"/>
              <a:gd name="connsiteY18" fmla="*/ 8575 h 10000"/>
              <a:gd name="connsiteX19" fmla="*/ 9948 w 9948"/>
              <a:gd name="connsiteY19" fmla="*/ 1772 h 10000"/>
              <a:gd name="connsiteX0" fmla="*/ 0 w 10000"/>
              <a:gd name="connsiteY0" fmla="*/ 7868 h 10000"/>
              <a:gd name="connsiteX1" fmla="*/ 2263 w 10000"/>
              <a:gd name="connsiteY1" fmla="*/ 7868 h 10000"/>
              <a:gd name="connsiteX2" fmla="*/ 2314 w 10000"/>
              <a:gd name="connsiteY2" fmla="*/ 7533 h 10000"/>
              <a:gd name="connsiteX3" fmla="*/ 2314 w 10000"/>
              <a:gd name="connsiteY3" fmla="*/ 1796 h 10000"/>
              <a:gd name="connsiteX4" fmla="*/ 2363 w 10000"/>
              <a:gd name="connsiteY4" fmla="*/ 1461 h 10000"/>
              <a:gd name="connsiteX5" fmla="*/ 4645 w 10000"/>
              <a:gd name="connsiteY5" fmla="*/ 1461 h 10000"/>
              <a:gd name="connsiteX6" fmla="*/ 4695 w 10000"/>
              <a:gd name="connsiteY6" fmla="*/ 1796 h 10000"/>
              <a:gd name="connsiteX7" fmla="*/ 4695 w 10000"/>
              <a:gd name="connsiteY7" fmla="*/ 9665 h 10000"/>
              <a:gd name="connsiteX8" fmla="*/ 4746 w 10000"/>
              <a:gd name="connsiteY8" fmla="*/ 10000 h 10000"/>
              <a:gd name="connsiteX9" fmla="*/ 6321 w 10000"/>
              <a:gd name="connsiteY9" fmla="*/ 10000 h 10000"/>
              <a:gd name="connsiteX10" fmla="*/ 6371 w 10000"/>
              <a:gd name="connsiteY10" fmla="*/ 9665 h 10000"/>
              <a:gd name="connsiteX11" fmla="*/ 6371 w 10000"/>
              <a:gd name="connsiteY11" fmla="*/ 335 h 10000"/>
              <a:gd name="connsiteX12" fmla="*/ 6422 w 10000"/>
              <a:gd name="connsiteY12" fmla="*/ 0 h 10000"/>
              <a:gd name="connsiteX13" fmla="*/ 7552 w 10000"/>
              <a:gd name="connsiteY13" fmla="*/ 0 h 10000"/>
              <a:gd name="connsiteX14" fmla="*/ 7604 w 10000"/>
              <a:gd name="connsiteY14" fmla="*/ 335 h 10000"/>
              <a:gd name="connsiteX15" fmla="*/ 7604 w 10000"/>
              <a:gd name="connsiteY15" fmla="*/ 8575 h 10000"/>
              <a:gd name="connsiteX16" fmla="*/ 7655 w 10000"/>
              <a:gd name="connsiteY16" fmla="*/ 8910 h 10000"/>
              <a:gd name="connsiteX17" fmla="*/ 9950 w 10000"/>
              <a:gd name="connsiteY17" fmla="*/ 8910 h 10000"/>
              <a:gd name="connsiteX18" fmla="*/ 10000 w 10000"/>
              <a:gd name="connsiteY18" fmla="*/ 8575 h 10000"/>
              <a:gd name="connsiteX0" fmla="*/ 0 w 8266"/>
              <a:gd name="connsiteY0" fmla="*/ 7916 h 10000"/>
              <a:gd name="connsiteX1" fmla="*/ 529 w 8266"/>
              <a:gd name="connsiteY1" fmla="*/ 7868 h 10000"/>
              <a:gd name="connsiteX2" fmla="*/ 580 w 8266"/>
              <a:gd name="connsiteY2" fmla="*/ 7533 h 10000"/>
              <a:gd name="connsiteX3" fmla="*/ 580 w 8266"/>
              <a:gd name="connsiteY3" fmla="*/ 1796 h 10000"/>
              <a:gd name="connsiteX4" fmla="*/ 629 w 8266"/>
              <a:gd name="connsiteY4" fmla="*/ 1461 h 10000"/>
              <a:gd name="connsiteX5" fmla="*/ 2911 w 8266"/>
              <a:gd name="connsiteY5" fmla="*/ 1461 h 10000"/>
              <a:gd name="connsiteX6" fmla="*/ 2961 w 8266"/>
              <a:gd name="connsiteY6" fmla="*/ 1796 h 10000"/>
              <a:gd name="connsiteX7" fmla="*/ 2961 w 8266"/>
              <a:gd name="connsiteY7" fmla="*/ 9665 h 10000"/>
              <a:gd name="connsiteX8" fmla="*/ 3012 w 8266"/>
              <a:gd name="connsiteY8" fmla="*/ 10000 h 10000"/>
              <a:gd name="connsiteX9" fmla="*/ 4587 w 8266"/>
              <a:gd name="connsiteY9" fmla="*/ 10000 h 10000"/>
              <a:gd name="connsiteX10" fmla="*/ 4637 w 8266"/>
              <a:gd name="connsiteY10" fmla="*/ 9665 h 10000"/>
              <a:gd name="connsiteX11" fmla="*/ 4637 w 8266"/>
              <a:gd name="connsiteY11" fmla="*/ 335 h 10000"/>
              <a:gd name="connsiteX12" fmla="*/ 4688 w 8266"/>
              <a:gd name="connsiteY12" fmla="*/ 0 h 10000"/>
              <a:gd name="connsiteX13" fmla="*/ 5818 w 8266"/>
              <a:gd name="connsiteY13" fmla="*/ 0 h 10000"/>
              <a:gd name="connsiteX14" fmla="*/ 5870 w 8266"/>
              <a:gd name="connsiteY14" fmla="*/ 335 h 10000"/>
              <a:gd name="connsiteX15" fmla="*/ 5870 w 8266"/>
              <a:gd name="connsiteY15" fmla="*/ 8575 h 10000"/>
              <a:gd name="connsiteX16" fmla="*/ 5921 w 8266"/>
              <a:gd name="connsiteY16" fmla="*/ 8910 h 10000"/>
              <a:gd name="connsiteX17" fmla="*/ 8216 w 8266"/>
              <a:gd name="connsiteY17" fmla="*/ 8910 h 10000"/>
              <a:gd name="connsiteX18" fmla="*/ 8266 w 8266"/>
              <a:gd name="connsiteY18" fmla="*/ 8575 h 10000"/>
              <a:gd name="connsiteX0" fmla="*/ 0 w 10000"/>
              <a:gd name="connsiteY0" fmla="*/ 7916 h 10000"/>
              <a:gd name="connsiteX1" fmla="*/ 640 w 10000"/>
              <a:gd name="connsiteY1" fmla="*/ 7868 h 10000"/>
              <a:gd name="connsiteX2" fmla="*/ 702 w 10000"/>
              <a:gd name="connsiteY2" fmla="*/ 7533 h 10000"/>
              <a:gd name="connsiteX3" fmla="*/ 702 w 10000"/>
              <a:gd name="connsiteY3" fmla="*/ 1796 h 10000"/>
              <a:gd name="connsiteX4" fmla="*/ 761 w 10000"/>
              <a:gd name="connsiteY4" fmla="*/ 1461 h 10000"/>
              <a:gd name="connsiteX5" fmla="*/ 3522 w 10000"/>
              <a:gd name="connsiteY5" fmla="*/ 1461 h 10000"/>
              <a:gd name="connsiteX6" fmla="*/ 3582 w 10000"/>
              <a:gd name="connsiteY6" fmla="*/ 1796 h 10000"/>
              <a:gd name="connsiteX7" fmla="*/ 3582 w 10000"/>
              <a:gd name="connsiteY7" fmla="*/ 9665 h 10000"/>
              <a:gd name="connsiteX8" fmla="*/ 3644 w 10000"/>
              <a:gd name="connsiteY8" fmla="*/ 10000 h 10000"/>
              <a:gd name="connsiteX9" fmla="*/ 5549 w 10000"/>
              <a:gd name="connsiteY9" fmla="*/ 10000 h 10000"/>
              <a:gd name="connsiteX10" fmla="*/ 5610 w 10000"/>
              <a:gd name="connsiteY10" fmla="*/ 9665 h 10000"/>
              <a:gd name="connsiteX11" fmla="*/ 5610 w 10000"/>
              <a:gd name="connsiteY11" fmla="*/ 335 h 10000"/>
              <a:gd name="connsiteX12" fmla="*/ 5671 w 10000"/>
              <a:gd name="connsiteY12" fmla="*/ 0 h 10000"/>
              <a:gd name="connsiteX13" fmla="*/ 7038 w 10000"/>
              <a:gd name="connsiteY13" fmla="*/ 0 h 10000"/>
              <a:gd name="connsiteX14" fmla="*/ 7101 w 10000"/>
              <a:gd name="connsiteY14" fmla="*/ 335 h 10000"/>
              <a:gd name="connsiteX15" fmla="*/ 7101 w 10000"/>
              <a:gd name="connsiteY15" fmla="*/ 8575 h 10000"/>
              <a:gd name="connsiteX16" fmla="*/ 7163 w 10000"/>
              <a:gd name="connsiteY16" fmla="*/ 8910 h 10000"/>
              <a:gd name="connsiteX17" fmla="*/ 9940 w 10000"/>
              <a:gd name="connsiteY17" fmla="*/ 8910 h 10000"/>
              <a:gd name="connsiteX18" fmla="*/ 10000 w 10000"/>
              <a:gd name="connsiteY18" fmla="*/ 8575 h 10000"/>
              <a:gd name="connsiteX0" fmla="*/ 0 w 9964"/>
              <a:gd name="connsiteY0" fmla="*/ 7882 h 10000"/>
              <a:gd name="connsiteX1" fmla="*/ 604 w 9964"/>
              <a:gd name="connsiteY1" fmla="*/ 7868 h 10000"/>
              <a:gd name="connsiteX2" fmla="*/ 666 w 9964"/>
              <a:gd name="connsiteY2" fmla="*/ 7533 h 10000"/>
              <a:gd name="connsiteX3" fmla="*/ 666 w 9964"/>
              <a:gd name="connsiteY3" fmla="*/ 1796 h 10000"/>
              <a:gd name="connsiteX4" fmla="*/ 725 w 9964"/>
              <a:gd name="connsiteY4" fmla="*/ 1461 h 10000"/>
              <a:gd name="connsiteX5" fmla="*/ 3486 w 9964"/>
              <a:gd name="connsiteY5" fmla="*/ 1461 h 10000"/>
              <a:gd name="connsiteX6" fmla="*/ 3546 w 9964"/>
              <a:gd name="connsiteY6" fmla="*/ 1796 h 10000"/>
              <a:gd name="connsiteX7" fmla="*/ 3546 w 9964"/>
              <a:gd name="connsiteY7" fmla="*/ 9665 h 10000"/>
              <a:gd name="connsiteX8" fmla="*/ 3608 w 9964"/>
              <a:gd name="connsiteY8" fmla="*/ 10000 h 10000"/>
              <a:gd name="connsiteX9" fmla="*/ 5513 w 9964"/>
              <a:gd name="connsiteY9" fmla="*/ 10000 h 10000"/>
              <a:gd name="connsiteX10" fmla="*/ 5574 w 9964"/>
              <a:gd name="connsiteY10" fmla="*/ 9665 h 10000"/>
              <a:gd name="connsiteX11" fmla="*/ 5574 w 9964"/>
              <a:gd name="connsiteY11" fmla="*/ 335 h 10000"/>
              <a:gd name="connsiteX12" fmla="*/ 5635 w 9964"/>
              <a:gd name="connsiteY12" fmla="*/ 0 h 10000"/>
              <a:gd name="connsiteX13" fmla="*/ 7002 w 9964"/>
              <a:gd name="connsiteY13" fmla="*/ 0 h 10000"/>
              <a:gd name="connsiteX14" fmla="*/ 7065 w 9964"/>
              <a:gd name="connsiteY14" fmla="*/ 335 h 10000"/>
              <a:gd name="connsiteX15" fmla="*/ 7065 w 9964"/>
              <a:gd name="connsiteY15" fmla="*/ 8575 h 10000"/>
              <a:gd name="connsiteX16" fmla="*/ 7127 w 9964"/>
              <a:gd name="connsiteY16" fmla="*/ 8910 h 10000"/>
              <a:gd name="connsiteX17" fmla="*/ 9904 w 9964"/>
              <a:gd name="connsiteY17" fmla="*/ 8910 h 10000"/>
              <a:gd name="connsiteX18" fmla="*/ 9964 w 9964"/>
              <a:gd name="connsiteY18" fmla="*/ 8575 h 10000"/>
              <a:gd name="connsiteX0" fmla="*/ 0 w 10018"/>
              <a:gd name="connsiteY0" fmla="*/ 7882 h 10000"/>
              <a:gd name="connsiteX1" fmla="*/ 624 w 10018"/>
              <a:gd name="connsiteY1" fmla="*/ 7868 h 10000"/>
              <a:gd name="connsiteX2" fmla="*/ 686 w 10018"/>
              <a:gd name="connsiteY2" fmla="*/ 7533 h 10000"/>
              <a:gd name="connsiteX3" fmla="*/ 686 w 10018"/>
              <a:gd name="connsiteY3" fmla="*/ 1796 h 10000"/>
              <a:gd name="connsiteX4" fmla="*/ 746 w 10018"/>
              <a:gd name="connsiteY4" fmla="*/ 1461 h 10000"/>
              <a:gd name="connsiteX5" fmla="*/ 3517 w 10018"/>
              <a:gd name="connsiteY5" fmla="*/ 1461 h 10000"/>
              <a:gd name="connsiteX6" fmla="*/ 3577 w 10018"/>
              <a:gd name="connsiteY6" fmla="*/ 1796 h 10000"/>
              <a:gd name="connsiteX7" fmla="*/ 3577 w 10018"/>
              <a:gd name="connsiteY7" fmla="*/ 9665 h 10000"/>
              <a:gd name="connsiteX8" fmla="*/ 3639 w 10018"/>
              <a:gd name="connsiteY8" fmla="*/ 10000 h 10000"/>
              <a:gd name="connsiteX9" fmla="*/ 5551 w 10018"/>
              <a:gd name="connsiteY9" fmla="*/ 10000 h 10000"/>
              <a:gd name="connsiteX10" fmla="*/ 5612 w 10018"/>
              <a:gd name="connsiteY10" fmla="*/ 9665 h 10000"/>
              <a:gd name="connsiteX11" fmla="*/ 5612 w 10018"/>
              <a:gd name="connsiteY11" fmla="*/ 335 h 10000"/>
              <a:gd name="connsiteX12" fmla="*/ 5673 w 10018"/>
              <a:gd name="connsiteY12" fmla="*/ 0 h 10000"/>
              <a:gd name="connsiteX13" fmla="*/ 7045 w 10018"/>
              <a:gd name="connsiteY13" fmla="*/ 0 h 10000"/>
              <a:gd name="connsiteX14" fmla="*/ 7109 w 10018"/>
              <a:gd name="connsiteY14" fmla="*/ 335 h 10000"/>
              <a:gd name="connsiteX15" fmla="*/ 7109 w 10018"/>
              <a:gd name="connsiteY15" fmla="*/ 8575 h 10000"/>
              <a:gd name="connsiteX16" fmla="*/ 7171 w 10018"/>
              <a:gd name="connsiteY16" fmla="*/ 8910 h 10000"/>
              <a:gd name="connsiteX17" fmla="*/ 9958 w 10018"/>
              <a:gd name="connsiteY17" fmla="*/ 8910 h 10000"/>
              <a:gd name="connsiteX18" fmla="*/ 10018 w 10018"/>
              <a:gd name="connsiteY18" fmla="*/ 8575 h 10000"/>
              <a:gd name="connsiteX0" fmla="*/ 0 w 10023"/>
              <a:gd name="connsiteY0" fmla="*/ 7857 h 10000"/>
              <a:gd name="connsiteX1" fmla="*/ 629 w 10023"/>
              <a:gd name="connsiteY1" fmla="*/ 7868 h 10000"/>
              <a:gd name="connsiteX2" fmla="*/ 691 w 10023"/>
              <a:gd name="connsiteY2" fmla="*/ 7533 h 10000"/>
              <a:gd name="connsiteX3" fmla="*/ 691 w 10023"/>
              <a:gd name="connsiteY3" fmla="*/ 1796 h 10000"/>
              <a:gd name="connsiteX4" fmla="*/ 751 w 10023"/>
              <a:gd name="connsiteY4" fmla="*/ 1461 h 10000"/>
              <a:gd name="connsiteX5" fmla="*/ 3522 w 10023"/>
              <a:gd name="connsiteY5" fmla="*/ 1461 h 10000"/>
              <a:gd name="connsiteX6" fmla="*/ 3582 w 10023"/>
              <a:gd name="connsiteY6" fmla="*/ 1796 h 10000"/>
              <a:gd name="connsiteX7" fmla="*/ 3582 w 10023"/>
              <a:gd name="connsiteY7" fmla="*/ 9665 h 10000"/>
              <a:gd name="connsiteX8" fmla="*/ 3644 w 10023"/>
              <a:gd name="connsiteY8" fmla="*/ 10000 h 10000"/>
              <a:gd name="connsiteX9" fmla="*/ 5556 w 10023"/>
              <a:gd name="connsiteY9" fmla="*/ 10000 h 10000"/>
              <a:gd name="connsiteX10" fmla="*/ 5617 w 10023"/>
              <a:gd name="connsiteY10" fmla="*/ 9665 h 10000"/>
              <a:gd name="connsiteX11" fmla="*/ 5617 w 10023"/>
              <a:gd name="connsiteY11" fmla="*/ 335 h 10000"/>
              <a:gd name="connsiteX12" fmla="*/ 5678 w 10023"/>
              <a:gd name="connsiteY12" fmla="*/ 0 h 10000"/>
              <a:gd name="connsiteX13" fmla="*/ 7050 w 10023"/>
              <a:gd name="connsiteY13" fmla="*/ 0 h 10000"/>
              <a:gd name="connsiteX14" fmla="*/ 7114 w 10023"/>
              <a:gd name="connsiteY14" fmla="*/ 335 h 10000"/>
              <a:gd name="connsiteX15" fmla="*/ 7114 w 10023"/>
              <a:gd name="connsiteY15" fmla="*/ 8575 h 10000"/>
              <a:gd name="connsiteX16" fmla="*/ 7176 w 10023"/>
              <a:gd name="connsiteY16" fmla="*/ 8910 h 10000"/>
              <a:gd name="connsiteX17" fmla="*/ 9963 w 10023"/>
              <a:gd name="connsiteY17" fmla="*/ 8910 h 10000"/>
              <a:gd name="connsiteX18" fmla="*/ 10023 w 10023"/>
              <a:gd name="connsiteY18" fmla="*/ 8575 h 10000"/>
              <a:gd name="connsiteX0" fmla="*/ 0 w 10023"/>
              <a:gd name="connsiteY0" fmla="*/ 7857 h 10000"/>
              <a:gd name="connsiteX1" fmla="*/ 629 w 10023"/>
              <a:gd name="connsiteY1" fmla="*/ 7868 h 10000"/>
              <a:gd name="connsiteX2" fmla="*/ 691 w 10023"/>
              <a:gd name="connsiteY2" fmla="*/ 7533 h 10000"/>
              <a:gd name="connsiteX3" fmla="*/ 691 w 10023"/>
              <a:gd name="connsiteY3" fmla="*/ 1796 h 10000"/>
              <a:gd name="connsiteX4" fmla="*/ 751 w 10023"/>
              <a:gd name="connsiteY4" fmla="*/ 1461 h 10000"/>
              <a:gd name="connsiteX5" fmla="*/ 3522 w 10023"/>
              <a:gd name="connsiteY5" fmla="*/ 1461 h 10000"/>
              <a:gd name="connsiteX6" fmla="*/ 3582 w 10023"/>
              <a:gd name="connsiteY6" fmla="*/ 1796 h 10000"/>
              <a:gd name="connsiteX7" fmla="*/ 3582 w 10023"/>
              <a:gd name="connsiteY7" fmla="*/ 9665 h 10000"/>
              <a:gd name="connsiteX8" fmla="*/ 3644 w 10023"/>
              <a:gd name="connsiteY8" fmla="*/ 10000 h 10000"/>
              <a:gd name="connsiteX9" fmla="*/ 5556 w 10023"/>
              <a:gd name="connsiteY9" fmla="*/ 10000 h 10000"/>
              <a:gd name="connsiteX10" fmla="*/ 5617 w 10023"/>
              <a:gd name="connsiteY10" fmla="*/ 9665 h 10000"/>
              <a:gd name="connsiteX11" fmla="*/ 5617 w 10023"/>
              <a:gd name="connsiteY11" fmla="*/ 335 h 10000"/>
              <a:gd name="connsiteX12" fmla="*/ 5678 w 10023"/>
              <a:gd name="connsiteY12" fmla="*/ 0 h 10000"/>
              <a:gd name="connsiteX13" fmla="*/ 7050 w 10023"/>
              <a:gd name="connsiteY13" fmla="*/ 0 h 10000"/>
              <a:gd name="connsiteX14" fmla="*/ 7114 w 10023"/>
              <a:gd name="connsiteY14" fmla="*/ 335 h 10000"/>
              <a:gd name="connsiteX15" fmla="*/ 7114 w 10023"/>
              <a:gd name="connsiteY15" fmla="*/ 8575 h 10000"/>
              <a:gd name="connsiteX16" fmla="*/ 7176 w 10023"/>
              <a:gd name="connsiteY16" fmla="*/ 8910 h 10000"/>
              <a:gd name="connsiteX17" fmla="*/ 10023 w 10023"/>
              <a:gd name="connsiteY17" fmla="*/ 8575 h 10000"/>
              <a:gd name="connsiteX0" fmla="*/ 0 w 8783"/>
              <a:gd name="connsiteY0" fmla="*/ 7857 h 10000"/>
              <a:gd name="connsiteX1" fmla="*/ 629 w 8783"/>
              <a:gd name="connsiteY1" fmla="*/ 7868 h 10000"/>
              <a:gd name="connsiteX2" fmla="*/ 691 w 8783"/>
              <a:gd name="connsiteY2" fmla="*/ 7533 h 10000"/>
              <a:gd name="connsiteX3" fmla="*/ 691 w 8783"/>
              <a:gd name="connsiteY3" fmla="*/ 1796 h 10000"/>
              <a:gd name="connsiteX4" fmla="*/ 751 w 8783"/>
              <a:gd name="connsiteY4" fmla="*/ 1461 h 10000"/>
              <a:gd name="connsiteX5" fmla="*/ 3522 w 8783"/>
              <a:gd name="connsiteY5" fmla="*/ 1461 h 10000"/>
              <a:gd name="connsiteX6" fmla="*/ 3582 w 8783"/>
              <a:gd name="connsiteY6" fmla="*/ 1796 h 10000"/>
              <a:gd name="connsiteX7" fmla="*/ 3582 w 8783"/>
              <a:gd name="connsiteY7" fmla="*/ 9665 h 10000"/>
              <a:gd name="connsiteX8" fmla="*/ 3644 w 8783"/>
              <a:gd name="connsiteY8" fmla="*/ 10000 h 10000"/>
              <a:gd name="connsiteX9" fmla="*/ 5556 w 8783"/>
              <a:gd name="connsiteY9" fmla="*/ 10000 h 10000"/>
              <a:gd name="connsiteX10" fmla="*/ 5617 w 8783"/>
              <a:gd name="connsiteY10" fmla="*/ 9665 h 10000"/>
              <a:gd name="connsiteX11" fmla="*/ 5617 w 8783"/>
              <a:gd name="connsiteY11" fmla="*/ 335 h 10000"/>
              <a:gd name="connsiteX12" fmla="*/ 5678 w 8783"/>
              <a:gd name="connsiteY12" fmla="*/ 0 h 10000"/>
              <a:gd name="connsiteX13" fmla="*/ 7050 w 8783"/>
              <a:gd name="connsiteY13" fmla="*/ 0 h 10000"/>
              <a:gd name="connsiteX14" fmla="*/ 7114 w 8783"/>
              <a:gd name="connsiteY14" fmla="*/ 335 h 10000"/>
              <a:gd name="connsiteX15" fmla="*/ 7114 w 8783"/>
              <a:gd name="connsiteY15" fmla="*/ 8575 h 10000"/>
              <a:gd name="connsiteX16" fmla="*/ 7176 w 8783"/>
              <a:gd name="connsiteY16" fmla="*/ 8910 h 10000"/>
              <a:gd name="connsiteX17" fmla="*/ 8783 w 8783"/>
              <a:gd name="connsiteY17" fmla="*/ 8893 h 10000"/>
              <a:gd name="connsiteX0" fmla="*/ 0 w 9997"/>
              <a:gd name="connsiteY0" fmla="*/ 7857 h 10000"/>
              <a:gd name="connsiteX1" fmla="*/ 716 w 9997"/>
              <a:gd name="connsiteY1" fmla="*/ 7868 h 10000"/>
              <a:gd name="connsiteX2" fmla="*/ 787 w 9997"/>
              <a:gd name="connsiteY2" fmla="*/ 7533 h 10000"/>
              <a:gd name="connsiteX3" fmla="*/ 787 w 9997"/>
              <a:gd name="connsiteY3" fmla="*/ 1796 h 10000"/>
              <a:gd name="connsiteX4" fmla="*/ 855 w 9997"/>
              <a:gd name="connsiteY4" fmla="*/ 1461 h 10000"/>
              <a:gd name="connsiteX5" fmla="*/ 4010 w 9997"/>
              <a:gd name="connsiteY5" fmla="*/ 1461 h 10000"/>
              <a:gd name="connsiteX6" fmla="*/ 4078 w 9997"/>
              <a:gd name="connsiteY6" fmla="*/ 1796 h 10000"/>
              <a:gd name="connsiteX7" fmla="*/ 4078 w 9997"/>
              <a:gd name="connsiteY7" fmla="*/ 9665 h 10000"/>
              <a:gd name="connsiteX8" fmla="*/ 4149 w 9997"/>
              <a:gd name="connsiteY8" fmla="*/ 10000 h 10000"/>
              <a:gd name="connsiteX9" fmla="*/ 6326 w 9997"/>
              <a:gd name="connsiteY9" fmla="*/ 10000 h 10000"/>
              <a:gd name="connsiteX10" fmla="*/ 6395 w 9997"/>
              <a:gd name="connsiteY10" fmla="*/ 9665 h 10000"/>
              <a:gd name="connsiteX11" fmla="*/ 6395 w 9997"/>
              <a:gd name="connsiteY11" fmla="*/ 335 h 10000"/>
              <a:gd name="connsiteX12" fmla="*/ 6465 w 9997"/>
              <a:gd name="connsiteY12" fmla="*/ 0 h 10000"/>
              <a:gd name="connsiteX13" fmla="*/ 8027 w 9997"/>
              <a:gd name="connsiteY13" fmla="*/ 0 h 10000"/>
              <a:gd name="connsiteX14" fmla="*/ 8100 w 9997"/>
              <a:gd name="connsiteY14" fmla="*/ 335 h 10000"/>
              <a:gd name="connsiteX15" fmla="*/ 8100 w 9997"/>
              <a:gd name="connsiteY15" fmla="*/ 8575 h 10000"/>
              <a:gd name="connsiteX16" fmla="*/ 8170 w 9997"/>
              <a:gd name="connsiteY16" fmla="*/ 8910 h 10000"/>
              <a:gd name="connsiteX17" fmla="*/ 9997 w 9997"/>
              <a:gd name="connsiteY17" fmla="*/ 8927 h 10000"/>
              <a:gd name="connsiteX0" fmla="*/ 0 w 10000"/>
              <a:gd name="connsiteY0" fmla="*/ 7857 h 10000"/>
              <a:gd name="connsiteX1" fmla="*/ 71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1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1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35 h 10000"/>
              <a:gd name="connsiteX17" fmla="*/ 10000 w 10000"/>
              <a:gd name="connsiteY17" fmla="*/ 8927 h 10000"/>
              <a:gd name="connsiteX0" fmla="*/ 0 w 10008"/>
              <a:gd name="connsiteY0" fmla="*/ 7857 h 10000"/>
              <a:gd name="connsiteX1" fmla="*/ 726 w 10008"/>
              <a:gd name="connsiteY1" fmla="*/ 7855 h 10000"/>
              <a:gd name="connsiteX2" fmla="*/ 787 w 10008"/>
              <a:gd name="connsiteY2" fmla="*/ 7533 h 10000"/>
              <a:gd name="connsiteX3" fmla="*/ 787 w 10008"/>
              <a:gd name="connsiteY3" fmla="*/ 1796 h 10000"/>
              <a:gd name="connsiteX4" fmla="*/ 855 w 10008"/>
              <a:gd name="connsiteY4" fmla="*/ 1461 h 10000"/>
              <a:gd name="connsiteX5" fmla="*/ 4011 w 10008"/>
              <a:gd name="connsiteY5" fmla="*/ 1461 h 10000"/>
              <a:gd name="connsiteX6" fmla="*/ 4079 w 10008"/>
              <a:gd name="connsiteY6" fmla="*/ 1796 h 10000"/>
              <a:gd name="connsiteX7" fmla="*/ 4079 w 10008"/>
              <a:gd name="connsiteY7" fmla="*/ 9665 h 10000"/>
              <a:gd name="connsiteX8" fmla="*/ 4150 w 10008"/>
              <a:gd name="connsiteY8" fmla="*/ 10000 h 10000"/>
              <a:gd name="connsiteX9" fmla="*/ 6328 w 10008"/>
              <a:gd name="connsiteY9" fmla="*/ 10000 h 10000"/>
              <a:gd name="connsiteX10" fmla="*/ 6397 w 10008"/>
              <a:gd name="connsiteY10" fmla="*/ 9665 h 10000"/>
              <a:gd name="connsiteX11" fmla="*/ 6397 w 10008"/>
              <a:gd name="connsiteY11" fmla="*/ 335 h 10000"/>
              <a:gd name="connsiteX12" fmla="*/ 6467 w 10008"/>
              <a:gd name="connsiteY12" fmla="*/ 0 h 10000"/>
              <a:gd name="connsiteX13" fmla="*/ 8029 w 10008"/>
              <a:gd name="connsiteY13" fmla="*/ 0 h 10000"/>
              <a:gd name="connsiteX14" fmla="*/ 8102 w 10008"/>
              <a:gd name="connsiteY14" fmla="*/ 335 h 10000"/>
              <a:gd name="connsiteX15" fmla="*/ 8102 w 10008"/>
              <a:gd name="connsiteY15" fmla="*/ 8575 h 10000"/>
              <a:gd name="connsiteX16" fmla="*/ 8172 w 10008"/>
              <a:gd name="connsiteY16" fmla="*/ 8935 h 10000"/>
              <a:gd name="connsiteX17" fmla="*/ 10008 w 10008"/>
              <a:gd name="connsiteY17" fmla="*/ 8927 h 10000"/>
              <a:gd name="connsiteX0" fmla="*/ 0 w 10016"/>
              <a:gd name="connsiteY0" fmla="*/ 7857 h 10000"/>
              <a:gd name="connsiteX1" fmla="*/ 726 w 10016"/>
              <a:gd name="connsiteY1" fmla="*/ 7855 h 10000"/>
              <a:gd name="connsiteX2" fmla="*/ 787 w 10016"/>
              <a:gd name="connsiteY2" fmla="*/ 7533 h 10000"/>
              <a:gd name="connsiteX3" fmla="*/ 787 w 10016"/>
              <a:gd name="connsiteY3" fmla="*/ 1796 h 10000"/>
              <a:gd name="connsiteX4" fmla="*/ 855 w 10016"/>
              <a:gd name="connsiteY4" fmla="*/ 1461 h 10000"/>
              <a:gd name="connsiteX5" fmla="*/ 4011 w 10016"/>
              <a:gd name="connsiteY5" fmla="*/ 1461 h 10000"/>
              <a:gd name="connsiteX6" fmla="*/ 4079 w 10016"/>
              <a:gd name="connsiteY6" fmla="*/ 1796 h 10000"/>
              <a:gd name="connsiteX7" fmla="*/ 4079 w 10016"/>
              <a:gd name="connsiteY7" fmla="*/ 9665 h 10000"/>
              <a:gd name="connsiteX8" fmla="*/ 4150 w 10016"/>
              <a:gd name="connsiteY8" fmla="*/ 10000 h 10000"/>
              <a:gd name="connsiteX9" fmla="*/ 6328 w 10016"/>
              <a:gd name="connsiteY9" fmla="*/ 10000 h 10000"/>
              <a:gd name="connsiteX10" fmla="*/ 6397 w 10016"/>
              <a:gd name="connsiteY10" fmla="*/ 9665 h 10000"/>
              <a:gd name="connsiteX11" fmla="*/ 6397 w 10016"/>
              <a:gd name="connsiteY11" fmla="*/ 335 h 10000"/>
              <a:gd name="connsiteX12" fmla="*/ 6467 w 10016"/>
              <a:gd name="connsiteY12" fmla="*/ 0 h 10000"/>
              <a:gd name="connsiteX13" fmla="*/ 8029 w 10016"/>
              <a:gd name="connsiteY13" fmla="*/ 0 h 10000"/>
              <a:gd name="connsiteX14" fmla="*/ 8102 w 10016"/>
              <a:gd name="connsiteY14" fmla="*/ 335 h 10000"/>
              <a:gd name="connsiteX15" fmla="*/ 8102 w 10016"/>
              <a:gd name="connsiteY15" fmla="*/ 8575 h 10000"/>
              <a:gd name="connsiteX16" fmla="*/ 8172 w 10016"/>
              <a:gd name="connsiteY16" fmla="*/ 8935 h 10000"/>
              <a:gd name="connsiteX17" fmla="*/ 10016 w 10016"/>
              <a:gd name="connsiteY17" fmla="*/ 8940 h 10000"/>
              <a:gd name="connsiteX0" fmla="*/ 0 w 10016"/>
              <a:gd name="connsiteY0" fmla="*/ 7857 h 10000"/>
              <a:gd name="connsiteX1" fmla="*/ 726 w 10016"/>
              <a:gd name="connsiteY1" fmla="*/ 7855 h 10000"/>
              <a:gd name="connsiteX2" fmla="*/ 787 w 10016"/>
              <a:gd name="connsiteY2" fmla="*/ 7533 h 10000"/>
              <a:gd name="connsiteX3" fmla="*/ 787 w 10016"/>
              <a:gd name="connsiteY3" fmla="*/ 1796 h 10000"/>
              <a:gd name="connsiteX4" fmla="*/ 855 w 10016"/>
              <a:gd name="connsiteY4" fmla="*/ 1461 h 10000"/>
              <a:gd name="connsiteX5" fmla="*/ 4011 w 10016"/>
              <a:gd name="connsiteY5" fmla="*/ 1461 h 10000"/>
              <a:gd name="connsiteX6" fmla="*/ 4079 w 10016"/>
              <a:gd name="connsiteY6" fmla="*/ 1796 h 10000"/>
              <a:gd name="connsiteX7" fmla="*/ 4079 w 10016"/>
              <a:gd name="connsiteY7" fmla="*/ 9665 h 10000"/>
              <a:gd name="connsiteX8" fmla="*/ 4150 w 10016"/>
              <a:gd name="connsiteY8" fmla="*/ 10000 h 10000"/>
              <a:gd name="connsiteX9" fmla="*/ 6328 w 10016"/>
              <a:gd name="connsiteY9" fmla="*/ 10000 h 10000"/>
              <a:gd name="connsiteX10" fmla="*/ 6397 w 10016"/>
              <a:gd name="connsiteY10" fmla="*/ 9665 h 10000"/>
              <a:gd name="connsiteX11" fmla="*/ 6397 w 10016"/>
              <a:gd name="connsiteY11" fmla="*/ 335 h 10000"/>
              <a:gd name="connsiteX12" fmla="*/ 6467 w 10016"/>
              <a:gd name="connsiteY12" fmla="*/ 0 h 10000"/>
              <a:gd name="connsiteX13" fmla="*/ 8029 w 10016"/>
              <a:gd name="connsiteY13" fmla="*/ 0 h 10000"/>
              <a:gd name="connsiteX14" fmla="*/ 8102 w 10016"/>
              <a:gd name="connsiteY14" fmla="*/ 335 h 10000"/>
              <a:gd name="connsiteX15" fmla="*/ 8102 w 10016"/>
              <a:gd name="connsiteY15" fmla="*/ 8575 h 10000"/>
              <a:gd name="connsiteX16" fmla="*/ 8172 w 10016"/>
              <a:gd name="connsiteY16" fmla="*/ 8935 h 10000"/>
              <a:gd name="connsiteX17" fmla="*/ 10016 w 10016"/>
              <a:gd name="connsiteY17" fmla="*/ 8927 h 10000"/>
              <a:gd name="connsiteX0" fmla="*/ 0 w 10050"/>
              <a:gd name="connsiteY0" fmla="*/ 7857 h 10000"/>
              <a:gd name="connsiteX1" fmla="*/ 726 w 10050"/>
              <a:gd name="connsiteY1" fmla="*/ 7855 h 10000"/>
              <a:gd name="connsiteX2" fmla="*/ 787 w 10050"/>
              <a:gd name="connsiteY2" fmla="*/ 7533 h 10000"/>
              <a:gd name="connsiteX3" fmla="*/ 787 w 10050"/>
              <a:gd name="connsiteY3" fmla="*/ 1796 h 10000"/>
              <a:gd name="connsiteX4" fmla="*/ 855 w 10050"/>
              <a:gd name="connsiteY4" fmla="*/ 1461 h 10000"/>
              <a:gd name="connsiteX5" fmla="*/ 4011 w 10050"/>
              <a:gd name="connsiteY5" fmla="*/ 1461 h 10000"/>
              <a:gd name="connsiteX6" fmla="*/ 4079 w 10050"/>
              <a:gd name="connsiteY6" fmla="*/ 1796 h 10000"/>
              <a:gd name="connsiteX7" fmla="*/ 4079 w 10050"/>
              <a:gd name="connsiteY7" fmla="*/ 9665 h 10000"/>
              <a:gd name="connsiteX8" fmla="*/ 4150 w 10050"/>
              <a:gd name="connsiteY8" fmla="*/ 10000 h 10000"/>
              <a:gd name="connsiteX9" fmla="*/ 6328 w 10050"/>
              <a:gd name="connsiteY9" fmla="*/ 10000 h 10000"/>
              <a:gd name="connsiteX10" fmla="*/ 6397 w 10050"/>
              <a:gd name="connsiteY10" fmla="*/ 9665 h 10000"/>
              <a:gd name="connsiteX11" fmla="*/ 6397 w 10050"/>
              <a:gd name="connsiteY11" fmla="*/ 335 h 10000"/>
              <a:gd name="connsiteX12" fmla="*/ 6467 w 10050"/>
              <a:gd name="connsiteY12" fmla="*/ 0 h 10000"/>
              <a:gd name="connsiteX13" fmla="*/ 8029 w 10050"/>
              <a:gd name="connsiteY13" fmla="*/ 0 h 10000"/>
              <a:gd name="connsiteX14" fmla="*/ 8102 w 10050"/>
              <a:gd name="connsiteY14" fmla="*/ 335 h 10000"/>
              <a:gd name="connsiteX15" fmla="*/ 8102 w 10050"/>
              <a:gd name="connsiteY15" fmla="*/ 8575 h 10000"/>
              <a:gd name="connsiteX16" fmla="*/ 8172 w 10050"/>
              <a:gd name="connsiteY16" fmla="*/ 8935 h 10000"/>
              <a:gd name="connsiteX17" fmla="*/ 10050 w 10050"/>
              <a:gd name="connsiteY17" fmla="*/ 8927 h 10000"/>
              <a:gd name="connsiteX0" fmla="*/ 0 w 10037"/>
              <a:gd name="connsiteY0" fmla="*/ 7857 h 10000"/>
              <a:gd name="connsiteX1" fmla="*/ 726 w 10037"/>
              <a:gd name="connsiteY1" fmla="*/ 7855 h 10000"/>
              <a:gd name="connsiteX2" fmla="*/ 787 w 10037"/>
              <a:gd name="connsiteY2" fmla="*/ 7533 h 10000"/>
              <a:gd name="connsiteX3" fmla="*/ 787 w 10037"/>
              <a:gd name="connsiteY3" fmla="*/ 1796 h 10000"/>
              <a:gd name="connsiteX4" fmla="*/ 855 w 10037"/>
              <a:gd name="connsiteY4" fmla="*/ 1461 h 10000"/>
              <a:gd name="connsiteX5" fmla="*/ 4011 w 10037"/>
              <a:gd name="connsiteY5" fmla="*/ 1461 h 10000"/>
              <a:gd name="connsiteX6" fmla="*/ 4079 w 10037"/>
              <a:gd name="connsiteY6" fmla="*/ 1796 h 10000"/>
              <a:gd name="connsiteX7" fmla="*/ 4079 w 10037"/>
              <a:gd name="connsiteY7" fmla="*/ 9665 h 10000"/>
              <a:gd name="connsiteX8" fmla="*/ 4150 w 10037"/>
              <a:gd name="connsiteY8" fmla="*/ 10000 h 10000"/>
              <a:gd name="connsiteX9" fmla="*/ 6328 w 10037"/>
              <a:gd name="connsiteY9" fmla="*/ 10000 h 10000"/>
              <a:gd name="connsiteX10" fmla="*/ 6397 w 10037"/>
              <a:gd name="connsiteY10" fmla="*/ 9665 h 10000"/>
              <a:gd name="connsiteX11" fmla="*/ 6397 w 10037"/>
              <a:gd name="connsiteY11" fmla="*/ 335 h 10000"/>
              <a:gd name="connsiteX12" fmla="*/ 6467 w 10037"/>
              <a:gd name="connsiteY12" fmla="*/ 0 h 10000"/>
              <a:gd name="connsiteX13" fmla="*/ 8029 w 10037"/>
              <a:gd name="connsiteY13" fmla="*/ 0 h 10000"/>
              <a:gd name="connsiteX14" fmla="*/ 8102 w 10037"/>
              <a:gd name="connsiteY14" fmla="*/ 335 h 10000"/>
              <a:gd name="connsiteX15" fmla="*/ 8102 w 10037"/>
              <a:gd name="connsiteY15" fmla="*/ 8575 h 10000"/>
              <a:gd name="connsiteX16" fmla="*/ 8172 w 10037"/>
              <a:gd name="connsiteY16" fmla="*/ 8935 h 10000"/>
              <a:gd name="connsiteX17" fmla="*/ 10037 w 10037"/>
              <a:gd name="connsiteY17" fmla="*/ 8940 h 10000"/>
              <a:gd name="connsiteX0" fmla="*/ 0 w 10037"/>
              <a:gd name="connsiteY0" fmla="*/ 7857 h 10000"/>
              <a:gd name="connsiteX1" fmla="*/ 726 w 10037"/>
              <a:gd name="connsiteY1" fmla="*/ 7855 h 10000"/>
              <a:gd name="connsiteX2" fmla="*/ 787 w 10037"/>
              <a:gd name="connsiteY2" fmla="*/ 7533 h 10000"/>
              <a:gd name="connsiteX3" fmla="*/ 787 w 10037"/>
              <a:gd name="connsiteY3" fmla="*/ 1796 h 10000"/>
              <a:gd name="connsiteX4" fmla="*/ 855 w 10037"/>
              <a:gd name="connsiteY4" fmla="*/ 1461 h 10000"/>
              <a:gd name="connsiteX5" fmla="*/ 4011 w 10037"/>
              <a:gd name="connsiteY5" fmla="*/ 1461 h 10000"/>
              <a:gd name="connsiteX6" fmla="*/ 4079 w 10037"/>
              <a:gd name="connsiteY6" fmla="*/ 1796 h 10000"/>
              <a:gd name="connsiteX7" fmla="*/ 4079 w 10037"/>
              <a:gd name="connsiteY7" fmla="*/ 9665 h 10000"/>
              <a:gd name="connsiteX8" fmla="*/ 4150 w 10037"/>
              <a:gd name="connsiteY8" fmla="*/ 10000 h 10000"/>
              <a:gd name="connsiteX9" fmla="*/ 6328 w 10037"/>
              <a:gd name="connsiteY9" fmla="*/ 10000 h 10000"/>
              <a:gd name="connsiteX10" fmla="*/ 6397 w 10037"/>
              <a:gd name="connsiteY10" fmla="*/ 9665 h 10000"/>
              <a:gd name="connsiteX11" fmla="*/ 6397 w 10037"/>
              <a:gd name="connsiteY11" fmla="*/ 335 h 10000"/>
              <a:gd name="connsiteX12" fmla="*/ 6467 w 10037"/>
              <a:gd name="connsiteY12" fmla="*/ 0 h 10000"/>
              <a:gd name="connsiteX13" fmla="*/ 8029 w 10037"/>
              <a:gd name="connsiteY13" fmla="*/ 0 h 10000"/>
              <a:gd name="connsiteX14" fmla="*/ 8102 w 10037"/>
              <a:gd name="connsiteY14" fmla="*/ 335 h 10000"/>
              <a:gd name="connsiteX15" fmla="*/ 8102 w 10037"/>
              <a:gd name="connsiteY15" fmla="*/ 8575 h 10000"/>
              <a:gd name="connsiteX16" fmla="*/ 8172 w 10037"/>
              <a:gd name="connsiteY16" fmla="*/ 8935 h 10000"/>
              <a:gd name="connsiteX17" fmla="*/ 10037 w 10037"/>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28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28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66 h 10000"/>
              <a:gd name="connsiteX0" fmla="*/ 0 w 9995"/>
              <a:gd name="connsiteY0" fmla="*/ 7857 h 10000"/>
              <a:gd name="connsiteX1" fmla="*/ 726 w 9995"/>
              <a:gd name="connsiteY1" fmla="*/ 7855 h 10000"/>
              <a:gd name="connsiteX2" fmla="*/ 787 w 9995"/>
              <a:gd name="connsiteY2" fmla="*/ 7533 h 10000"/>
              <a:gd name="connsiteX3" fmla="*/ 787 w 9995"/>
              <a:gd name="connsiteY3" fmla="*/ 1796 h 10000"/>
              <a:gd name="connsiteX4" fmla="*/ 855 w 9995"/>
              <a:gd name="connsiteY4" fmla="*/ 1461 h 10000"/>
              <a:gd name="connsiteX5" fmla="*/ 4011 w 9995"/>
              <a:gd name="connsiteY5" fmla="*/ 1461 h 10000"/>
              <a:gd name="connsiteX6" fmla="*/ 4079 w 9995"/>
              <a:gd name="connsiteY6" fmla="*/ 1796 h 10000"/>
              <a:gd name="connsiteX7" fmla="*/ 4079 w 9995"/>
              <a:gd name="connsiteY7" fmla="*/ 9665 h 10000"/>
              <a:gd name="connsiteX8" fmla="*/ 4150 w 9995"/>
              <a:gd name="connsiteY8" fmla="*/ 10000 h 10000"/>
              <a:gd name="connsiteX9" fmla="*/ 6328 w 9995"/>
              <a:gd name="connsiteY9" fmla="*/ 10000 h 10000"/>
              <a:gd name="connsiteX10" fmla="*/ 6397 w 9995"/>
              <a:gd name="connsiteY10" fmla="*/ 9665 h 10000"/>
              <a:gd name="connsiteX11" fmla="*/ 6397 w 9995"/>
              <a:gd name="connsiteY11" fmla="*/ 335 h 10000"/>
              <a:gd name="connsiteX12" fmla="*/ 6467 w 9995"/>
              <a:gd name="connsiteY12" fmla="*/ 0 h 10000"/>
              <a:gd name="connsiteX13" fmla="*/ 8029 w 9995"/>
              <a:gd name="connsiteY13" fmla="*/ 0 h 10000"/>
              <a:gd name="connsiteX14" fmla="*/ 8102 w 9995"/>
              <a:gd name="connsiteY14" fmla="*/ 335 h 10000"/>
              <a:gd name="connsiteX15" fmla="*/ 8102 w 9995"/>
              <a:gd name="connsiteY15" fmla="*/ 8575 h 10000"/>
              <a:gd name="connsiteX16" fmla="*/ 8172 w 9995"/>
              <a:gd name="connsiteY16" fmla="*/ 8935 h 10000"/>
              <a:gd name="connsiteX17" fmla="*/ 9995 w 9995"/>
              <a:gd name="connsiteY17" fmla="*/ 8916 h 10000"/>
              <a:gd name="connsiteX0" fmla="*/ 0 w 10005"/>
              <a:gd name="connsiteY0" fmla="*/ 7857 h 10000"/>
              <a:gd name="connsiteX1" fmla="*/ 726 w 10005"/>
              <a:gd name="connsiteY1" fmla="*/ 7855 h 10000"/>
              <a:gd name="connsiteX2" fmla="*/ 787 w 10005"/>
              <a:gd name="connsiteY2" fmla="*/ 7533 h 10000"/>
              <a:gd name="connsiteX3" fmla="*/ 787 w 10005"/>
              <a:gd name="connsiteY3" fmla="*/ 1796 h 10000"/>
              <a:gd name="connsiteX4" fmla="*/ 855 w 10005"/>
              <a:gd name="connsiteY4" fmla="*/ 1461 h 10000"/>
              <a:gd name="connsiteX5" fmla="*/ 4013 w 10005"/>
              <a:gd name="connsiteY5" fmla="*/ 1461 h 10000"/>
              <a:gd name="connsiteX6" fmla="*/ 4081 w 10005"/>
              <a:gd name="connsiteY6" fmla="*/ 1796 h 10000"/>
              <a:gd name="connsiteX7" fmla="*/ 4081 w 10005"/>
              <a:gd name="connsiteY7" fmla="*/ 9665 h 10000"/>
              <a:gd name="connsiteX8" fmla="*/ 4152 w 10005"/>
              <a:gd name="connsiteY8" fmla="*/ 10000 h 10000"/>
              <a:gd name="connsiteX9" fmla="*/ 6331 w 10005"/>
              <a:gd name="connsiteY9" fmla="*/ 10000 h 10000"/>
              <a:gd name="connsiteX10" fmla="*/ 6400 w 10005"/>
              <a:gd name="connsiteY10" fmla="*/ 9665 h 10000"/>
              <a:gd name="connsiteX11" fmla="*/ 6400 w 10005"/>
              <a:gd name="connsiteY11" fmla="*/ 335 h 10000"/>
              <a:gd name="connsiteX12" fmla="*/ 6470 w 10005"/>
              <a:gd name="connsiteY12" fmla="*/ 0 h 10000"/>
              <a:gd name="connsiteX13" fmla="*/ 8033 w 10005"/>
              <a:gd name="connsiteY13" fmla="*/ 0 h 10000"/>
              <a:gd name="connsiteX14" fmla="*/ 8106 w 10005"/>
              <a:gd name="connsiteY14" fmla="*/ 335 h 10000"/>
              <a:gd name="connsiteX15" fmla="*/ 8106 w 10005"/>
              <a:gd name="connsiteY15" fmla="*/ 8575 h 10000"/>
              <a:gd name="connsiteX16" fmla="*/ 8176 w 10005"/>
              <a:gd name="connsiteY16" fmla="*/ 8935 h 10000"/>
              <a:gd name="connsiteX17" fmla="*/ 10005 w 10005"/>
              <a:gd name="connsiteY17" fmla="*/ 8941 h 10000"/>
              <a:gd name="connsiteX0" fmla="*/ 0 w 10005"/>
              <a:gd name="connsiteY0" fmla="*/ 7857 h 10000"/>
              <a:gd name="connsiteX1" fmla="*/ 726 w 10005"/>
              <a:gd name="connsiteY1" fmla="*/ 7855 h 10000"/>
              <a:gd name="connsiteX2" fmla="*/ 787 w 10005"/>
              <a:gd name="connsiteY2" fmla="*/ 7533 h 10000"/>
              <a:gd name="connsiteX3" fmla="*/ 787 w 10005"/>
              <a:gd name="connsiteY3" fmla="*/ 1796 h 10000"/>
              <a:gd name="connsiteX4" fmla="*/ 855 w 10005"/>
              <a:gd name="connsiteY4" fmla="*/ 1461 h 10000"/>
              <a:gd name="connsiteX5" fmla="*/ 4013 w 10005"/>
              <a:gd name="connsiteY5" fmla="*/ 1461 h 10000"/>
              <a:gd name="connsiteX6" fmla="*/ 4081 w 10005"/>
              <a:gd name="connsiteY6" fmla="*/ 1796 h 10000"/>
              <a:gd name="connsiteX7" fmla="*/ 4081 w 10005"/>
              <a:gd name="connsiteY7" fmla="*/ 9665 h 10000"/>
              <a:gd name="connsiteX8" fmla="*/ 4152 w 10005"/>
              <a:gd name="connsiteY8" fmla="*/ 10000 h 10000"/>
              <a:gd name="connsiteX9" fmla="*/ 6331 w 10005"/>
              <a:gd name="connsiteY9" fmla="*/ 10000 h 10000"/>
              <a:gd name="connsiteX10" fmla="*/ 6400 w 10005"/>
              <a:gd name="connsiteY10" fmla="*/ 9665 h 10000"/>
              <a:gd name="connsiteX11" fmla="*/ 6400 w 10005"/>
              <a:gd name="connsiteY11" fmla="*/ 335 h 10000"/>
              <a:gd name="connsiteX12" fmla="*/ 6470 w 10005"/>
              <a:gd name="connsiteY12" fmla="*/ 0 h 10000"/>
              <a:gd name="connsiteX13" fmla="*/ 8033 w 10005"/>
              <a:gd name="connsiteY13" fmla="*/ 0 h 10000"/>
              <a:gd name="connsiteX14" fmla="*/ 8106 w 10005"/>
              <a:gd name="connsiteY14" fmla="*/ 335 h 10000"/>
              <a:gd name="connsiteX15" fmla="*/ 8106 w 10005"/>
              <a:gd name="connsiteY15" fmla="*/ 8575 h 10000"/>
              <a:gd name="connsiteX16" fmla="*/ 8176 w 10005"/>
              <a:gd name="connsiteY16" fmla="*/ 8935 h 10000"/>
              <a:gd name="connsiteX17" fmla="*/ 10005 w 10005"/>
              <a:gd name="connsiteY17" fmla="*/ 8941 h 10000"/>
              <a:gd name="connsiteX0" fmla="*/ 0 w 10005"/>
              <a:gd name="connsiteY0" fmla="*/ 7857 h 10000"/>
              <a:gd name="connsiteX1" fmla="*/ 726 w 10005"/>
              <a:gd name="connsiteY1" fmla="*/ 7855 h 10000"/>
              <a:gd name="connsiteX2" fmla="*/ 787 w 10005"/>
              <a:gd name="connsiteY2" fmla="*/ 7533 h 10000"/>
              <a:gd name="connsiteX3" fmla="*/ 787 w 10005"/>
              <a:gd name="connsiteY3" fmla="*/ 1796 h 10000"/>
              <a:gd name="connsiteX4" fmla="*/ 855 w 10005"/>
              <a:gd name="connsiteY4" fmla="*/ 1461 h 10000"/>
              <a:gd name="connsiteX5" fmla="*/ 4013 w 10005"/>
              <a:gd name="connsiteY5" fmla="*/ 1461 h 10000"/>
              <a:gd name="connsiteX6" fmla="*/ 4081 w 10005"/>
              <a:gd name="connsiteY6" fmla="*/ 1796 h 10000"/>
              <a:gd name="connsiteX7" fmla="*/ 4081 w 10005"/>
              <a:gd name="connsiteY7" fmla="*/ 9665 h 10000"/>
              <a:gd name="connsiteX8" fmla="*/ 4152 w 10005"/>
              <a:gd name="connsiteY8" fmla="*/ 10000 h 10000"/>
              <a:gd name="connsiteX9" fmla="*/ 6331 w 10005"/>
              <a:gd name="connsiteY9" fmla="*/ 10000 h 10000"/>
              <a:gd name="connsiteX10" fmla="*/ 6400 w 10005"/>
              <a:gd name="connsiteY10" fmla="*/ 9665 h 10000"/>
              <a:gd name="connsiteX11" fmla="*/ 6400 w 10005"/>
              <a:gd name="connsiteY11" fmla="*/ 335 h 10000"/>
              <a:gd name="connsiteX12" fmla="*/ 6470 w 10005"/>
              <a:gd name="connsiteY12" fmla="*/ 0 h 10000"/>
              <a:gd name="connsiteX13" fmla="*/ 8033 w 10005"/>
              <a:gd name="connsiteY13" fmla="*/ 0 h 10000"/>
              <a:gd name="connsiteX14" fmla="*/ 8106 w 10005"/>
              <a:gd name="connsiteY14" fmla="*/ 335 h 10000"/>
              <a:gd name="connsiteX15" fmla="*/ 8106 w 10005"/>
              <a:gd name="connsiteY15" fmla="*/ 8575 h 10000"/>
              <a:gd name="connsiteX16" fmla="*/ 8176 w 10005"/>
              <a:gd name="connsiteY16" fmla="*/ 8935 h 10000"/>
              <a:gd name="connsiteX17" fmla="*/ 10005 w 10005"/>
              <a:gd name="connsiteY17" fmla="*/ 8941 h 10000"/>
              <a:gd name="connsiteX0" fmla="*/ 0 w 10015"/>
              <a:gd name="connsiteY0" fmla="*/ 7857 h 10000"/>
              <a:gd name="connsiteX1" fmla="*/ 726 w 10015"/>
              <a:gd name="connsiteY1" fmla="*/ 7855 h 10000"/>
              <a:gd name="connsiteX2" fmla="*/ 787 w 10015"/>
              <a:gd name="connsiteY2" fmla="*/ 7533 h 10000"/>
              <a:gd name="connsiteX3" fmla="*/ 787 w 10015"/>
              <a:gd name="connsiteY3" fmla="*/ 1796 h 10000"/>
              <a:gd name="connsiteX4" fmla="*/ 855 w 10015"/>
              <a:gd name="connsiteY4" fmla="*/ 1461 h 10000"/>
              <a:gd name="connsiteX5" fmla="*/ 4013 w 10015"/>
              <a:gd name="connsiteY5" fmla="*/ 1461 h 10000"/>
              <a:gd name="connsiteX6" fmla="*/ 4081 w 10015"/>
              <a:gd name="connsiteY6" fmla="*/ 1796 h 10000"/>
              <a:gd name="connsiteX7" fmla="*/ 4081 w 10015"/>
              <a:gd name="connsiteY7" fmla="*/ 9665 h 10000"/>
              <a:gd name="connsiteX8" fmla="*/ 4152 w 10015"/>
              <a:gd name="connsiteY8" fmla="*/ 10000 h 10000"/>
              <a:gd name="connsiteX9" fmla="*/ 6331 w 10015"/>
              <a:gd name="connsiteY9" fmla="*/ 10000 h 10000"/>
              <a:gd name="connsiteX10" fmla="*/ 6400 w 10015"/>
              <a:gd name="connsiteY10" fmla="*/ 9665 h 10000"/>
              <a:gd name="connsiteX11" fmla="*/ 6400 w 10015"/>
              <a:gd name="connsiteY11" fmla="*/ 335 h 10000"/>
              <a:gd name="connsiteX12" fmla="*/ 6470 w 10015"/>
              <a:gd name="connsiteY12" fmla="*/ 0 h 10000"/>
              <a:gd name="connsiteX13" fmla="*/ 8033 w 10015"/>
              <a:gd name="connsiteY13" fmla="*/ 0 h 10000"/>
              <a:gd name="connsiteX14" fmla="*/ 8106 w 10015"/>
              <a:gd name="connsiteY14" fmla="*/ 335 h 10000"/>
              <a:gd name="connsiteX15" fmla="*/ 8106 w 10015"/>
              <a:gd name="connsiteY15" fmla="*/ 8575 h 10000"/>
              <a:gd name="connsiteX16" fmla="*/ 8176 w 10015"/>
              <a:gd name="connsiteY16" fmla="*/ 8935 h 10000"/>
              <a:gd name="connsiteX17" fmla="*/ 10015 w 10015"/>
              <a:gd name="connsiteY17" fmla="*/ 894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015" h="10000">
                <a:moveTo>
                  <a:pt x="0" y="7857"/>
                </a:moveTo>
                <a:cubicBezTo>
                  <a:pt x="34" y="7853"/>
                  <a:pt x="360" y="7855"/>
                  <a:pt x="726" y="7855"/>
                </a:cubicBezTo>
                <a:cubicBezTo>
                  <a:pt x="766" y="7855"/>
                  <a:pt x="787" y="7713"/>
                  <a:pt x="787" y="7533"/>
                </a:cubicBezTo>
                <a:lnTo>
                  <a:pt x="787" y="1796"/>
                </a:lnTo>
                <a:cubicBezTo>
                  <a:pt x="787" y="1605"/>
                  <a:pt x="815" y="1461"/>
                  <a:pt x="855" y="1461"/>
                </a:cubicBezTo>
                <a:lnTo>
                  <a:pt x="4013" y="1461"/>
                </a:lnTo>
                <a:cubicBezTo>
                  <a:pt x="4049" y="1461"/>
                  <a:pt x="4081" y="1605"/>
                  <a:pt x="4081" y="1796"/>
                </a:cubicBezTo>
                <a:lnTo>
                  <a:pt x="4081" y="9665"/>
                </a:lnTo>
                <a:cubicBezTo>
                  <a:pt x="4081" y="9844"/>
                  <a:pt x="4112" y="10000"/>
                  <a:pt x="4152" y="10000"/>
                </a:cubicBezTo>
                <a:lnTo>
                  <a:pt x="6331" y="10000"/>
                </a:lnTo>
                <a:cubicBezTo>
                  <a:pt x="6371" y="10000"/>
                  <a:pt x="6400" y="9844"/>
                  <a:pt x="6400" y="9665"/>
                </a:cubicBezTo>
                <a:lnTo>
                  <a:pt x="6400" y="335"/>
                </a:lnTo>
                <a:cubicBezTo>
                  <a:pt x="6400" y="156"/>
                  <a:pt x="6432" y="0"/>
                  <a:pt x="6470" y="0"/>
                </a:cubicBezTo>
                <a:lnTo>
                  <a:pt x="8033" y="0"/>
                </a:lnTo>
                <a:cubicBezTo>
                  <a:pt x="8075" y="0"/>
                  <a:pt x="8106" y="156"/>
                  <a:pt x="8106" y="335"/>
                </a:cubicBezTo>
                <a:lnTo>
                  <a:pt x="8106" y="8575"/>
                </a:lnTo>
                <a:cubicBezTo>
                  <a:pt x="8106" y="8754"/>
                  <a:pt x="8138" y="8935"/>
                  <a:pt x="8176" y="8935"/>
                </a:cubicBezTo>
                <a:cubicBezTo>
                  <a:pt x="8276" y="8937"/>
                  <a:pt x="9405" y="8939"/>
                  <a:pt x="10015" y="8941"/>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Freeform 10"/>
          <p:cNvSpPr>
            <a:spLocks/>
          </p:cNvSpPr>
          <p:nvPr/>
        </p:nvSpPr>
        <p:spPr bwMode="gray">
          <a:xfrm>
            <a:off x="3" y="4482313"/>
            <a:ext cx="9143997" cy="1084634"/>
          </a:xfrm>
          <a:custGeom>
            <a:avLst/>
            <a:gdLst>
              <a:gd name="T0" fmla="*/ 0 w 8479"/>
              <a:gd name="T1" fmla="*/ 130 h 583"/>
              <a:gd name="T2" fmla="*/ 419 w 8479"/>
              <a:gd name="T3" fmla="*/ 130 h 583"/>
              <a:gd name="T4" fmla="*/ 447 w 8479"/>
              <a:gd name="T5" fmla="*/ 158 h 583"/>
              <a:gd name="T6" fmla="*/ 447 w 8479"/>
              <a:gd name="T7" fmla="*/ 458 h 583"/>
              <a:gd name="T8" fmla="*/ 475 w 8479"/>
              <a:gd name="T9" fmla="*/ 486 h 583"/>
              <a:gd name="T10" fmla="*/ 1724 w 8479"/>
              <a:gd name="T11" fmla="*/ 486 h 583"/>
              <a:gd name="T12" fmla="*/ 1752 w 8479"/>
              <a:gd name="T13" fmla="*/ 458 h 583"/>
              <a:gd name="T14" fmla="*/ 1752 w 8479"/>
              <a:gd name="T15" fmla="*/ 36 h 583"/>
              <a:gd name="T16" fmla="*/ 1780 w 8479"/>
              <a:gd name="T17" fmla="*/ 8 h 583"/>
              <a:gd name="T18" fmla="*/ 2675 w 8479"/>
              <a:gd name="T19" fmla="*/ 8 h 583"/>
              <a:gd name="T20" fmla="*/ 2703 w 8479"/>
              <a:gd name="T21" fmla="*/ 36 h 583"/>
              <a:gd name="T22" fmla="*/ 2703 w 8479"/>
              <a:gd name="T23" fmla="*/ 458 h 583"/>
              <a:gd name="T24" fmla="*/ 2731 w 8479"/>
              <a:gd name="T25" fmla="*/ 486 h 583"/>
              <a:gd name="T26" fmla="*/ 4228 w 8479"/>
              <a:gd name="T27" fmla="*/ 486 h 583"/>
              <a:gd name="T28" fmla="*/ 4256 w 8479"/>
              <a:gd name="T29" fmla="*/ 458 h 583"/>
              <a:gd name="T30" fmla="*/ 4256 w 8479"/>
              <a:gd name="T31" fmla="*/ 214 h 583"/>
              <a:gd name="T32" fmla="*/ 4284 w 8479"/>
              <a:gd name="T33" fmla="*/ 186 h 583"/>
              <a:gd name="T34" fmla="*/ 5867 w 8479"/>
              <a:gd name="T35" fmla="*/ 186 h 583"/>
              <a:gd name="T36" fmla="*/ 5895 w 8479"/>
              <a:gd name="T37" fmla="*/ 214 h 583"/>
              <a:gd name="T38" fmla="*/ 5895 w 8479"/>
              <a:gd name="T39" fmla="*/ 309 h 583"/>
              <a:gd name="T40" fmla="*/ 5923 w 8479"/>
              <a:gd name="T41" fmla="*/ 337 h 583"/>
              <a:gd name="T42" fmla="*/ 6495 w 8479"/>
              <a:gd name="T43" fmla="*/ 337 h 583"/>
              <a:gd name="T44" fmla="*/ 6523 w 8479"/>
              <a:gd name="T45" fmla="*/ 309 h 583"/>
              <a:gd name="T46" fmla="*/ 6523 w 8479"/>
              <a:gd name="T47" fmla="*/ 28 h 583"/>
              <a:gd name="T48" fmla="*/ 6551 w 8479"/>
              <a:gd name="T49" fmla="*/ 0 h 583"/>
              <a:gd name="T50" fmla="*/ 7543 w 8479"/>
              <a:gd name="T51" fmla="*/ 0 h 583"/>
              <a:gd name="T52" fmla="*/ 7571 w 8479"/>
              <a:gd name="T53" fmla="*/ 28 h 583"/>
              <a:gd name="T54" fmla="*/ 7571 w 8479"/>
              <a:gd name="T55" fmla="*/ 555 h 583"/>
              <a:gd name="T56" fmla="*/ 7599 w 8479"/>
              <a:gd name="T57" fmla="*/ 583 h 583"/>
              <a:gd name="T58" fmla="*/ 8479 w 8479"/>
              <a:gd name="T59" fmla="*/ 583 h 583"/>
              <a:gd name="connsiteX0" fmla="*/ 0 w 9506"/>
              <a:gd name="connsiteY0" fmla="*/ 2230 h 10000"/>
              <a:gd name="connsiteX1" fmla="*/ 33 w 9506"/>
              <a:gd name="connsiteY1" fmla="*/ 2710 h 10000"/>
              <a:gd name="connsiteX2" fmla="*/ 33 w 9506"/>
              <a:gd name="connsiteY2" fmla="*/ 7856 h 10000"/>
              <a:gd name="connsiteX3" fmla="*/ 66 w 9506"/>
              <a:gd name="connsiteY3" fmla="*/ 8336 h 10000"/>
              <a:gd name="connsiteX4" fmla="*/ 1539 w 9506"/>
              <a:gd name="connsiteY4" fmla="*/ 8336 h 10000"/>
              <a:gd name="connsiteX5" fmla="*/ 1572 w 9506"/>
              <a:gd name="connsiteY5" fmla="*/ 7856 h 10000"/>
              <a:gd name="connsiteX6" fmla="*/ 1572 w 9506"/>
              <a:gd name="connsiteY6" fmla="*/ 617 h 10000"/>
              <a:gd name="connsiteX7" fmla="*/ 1605 w 9506"/>
              <a:gd name="connsiteY7" fmla="*/ 137 h 10000"/>
              <a:gd name="connsiteX8" fmla="*/ 2661 w 9506"/>
              <a:gd name="connsiteY8" fmla="*/ 137 h 10000"/>
              <a:gd name="connsiteX9" fmla="*/ 2694 w 9506"/>
              <a:gd name="connsiteY9" fmla="*/ 617 h 10000"/>
              <a:gd name="connsiteX10" fmla="*/ 2694 w 9506"/>
              <a:gd name="connsiteY10" fmla="*/ 7856 h 10000"/>
              <a:gd name="connsiteX11" fmla="*/ 2727 w 9506"/>
              <a:gd name="connsiteY11" fmla="*/ 8336 h 10000"/>
              <a:gd name="connsiteX12" fmla="*/ 4492 w 9506"/>
              <a:gd name="connsiteY12" fmla="*/ 8336 h 10000"/>
              <a:gd name="connsiteX13" fmla="*/ 4525 w 9506"/>
              <a:gd name="connsiteY13" fmla="*/ 7856 h 10000"/>
              <a:gd name="connsiteX14" fmla="*/ 4525 w 9506"/>
              <a:gd name="connsiteY14" fmla="*/ 3671 h 10000"/>
              <a:gd name="connsiteX15" fmla="*/ 4558 w 9506"/>
              <a:gd name="connsiteY15" fmla="*/ 3190 h 10000"/>
              <a:gd name="connsiteX16" fmla="*/ 6425 w 9506"/>
              <a:gd name="connsiteY16" fmla="*/ 3190 h 10000"/>
              <a:gd name="connsiteX17" fmla="*/ 6458 w 9506"/>
              <a:gd name="connsiteY17" fmla="*/ 3671 h 10000"/>
              <a:gd name="connsiteX18" fmla="*/ 6458 w 9506"/>
              <a:gd name="connsiteY18" fmla="*/ 5300 h 10000"/>
              <a:gd name="connsiteX19" fmla="*/ 6491 w 9506"/>
              <a:gd name="connsiteY19" fmla="*/ 5780 h 10000"/>
              <a:gd name="connsiteX20" fmla="*/ 7166 w 9506"/>
              <a:gd name="connsiteY20" fmla="*/ 5780 h 10000"/>
              <a:gd name="connsiteX21" fmla="*/ 7199 w 9506"/>
              <a:gd name="connsiteY21" fmla="*/ 5300 h 10000"/>
              <a:gd name="connsiteX22" fmla="*/ 7199 w 9506"/>
              <a:gd name="connsiteY22" fmla="*/ 480 h 10000"/>
              <a:gd name="connsiteX23" fmla="*/ 7232 w 9506"/>
              <a:gd name="connsiteY23" fmla="*/ 0 h 10000"/>
              <a:gd name="connsiteX24" fmla="*/ 8402 w 9506"/>
              <a:gd name="connsiteY24" fmla="*/ 0 h 10000"/>
              <a:gd name="connsiteX25" fmla="*/ 8435 w 9506"/>
              <a:gd name="connsiteY25" fmla="*/ 480 h 10000"/>
              <a:gd name="connsiteX26" fmla="*/ 8435 w 9506"/>
              <a:gd name="connsiteY26" fmla="*/ 9520 h 10000"/>
              <a:gd name="connsiteX27" fmla="*/ 8468 w 9506"/>
              <a:gd name="connsiteY27" fmla="*/ 10000 h 10000"/>
              <a:gd name="connsiteX28" fmla="*/ 9506 w 9506"/>
              <a:gd name="connsiteY28" fmla="*/ 10000 h 10000"/>
              <a:gd name="connsiteX0" fmla="*/ 0 w 9965"/>
              <a:gd name="connsiteY0" fmla="*/ 2710 h 10000"/>
              <a:gd name="connsiteX1" fmla="*/ 0 w 9965"/>
              <a:gd name="connsiteY1" fmla="*/ 7856 h 10000"/>
              <a:gd name="connsiteX2" fmla="*/ 34 w 9965"/>
              <a:gd name="connsiteY2" fmla="*/ 8336 h 10000"/>
              <a:gd name="connsiteX3" fmla="*/ 1584 w 9965"/>
              <a:gd name="connsiteY3" fmla="*/ 8336 h 10000"/>
              <a:gd name="connsiteX4" fmla="*/ 1619 w 9965"/>
              <a:gd name="connsiteY4" fmla="*/ 7856 h 10000"/>
              <a:gd name="connsiteX5" fmla="*/ 1619 w 9965"/>
              <a:gd name="connsiteY5" fmla="*/ 617 h 10000"/>
              <a:gd name="connsiteX6" fmla="*/ 1653 w 9965"/>
              <a:gd name="connsiteY6" fmla="*/ 137 h 10000"/>
              <a:gd name="connsiteX7" fmla="*/ 2764 w 9965"/>
              <a:gd name="connsiteY7" fmla="*/ 137 h 10000"/>
              <a:gd name="connsiteX8" fmla="*/ 2799 w 9965"/>
              <a:gd name="connsiteY8" fmla="*/ 617 h 10000"/>
              <a:gd name="connsiteX9" fmla="*/ 2799 w 9965"/>
              <a:gd name="connsiteY9" fmla="*/ 7856 h 10000"/>
              <a:gd name="connsiteX10" fmla="*/ 2834 w 9965"/>
              <a:gd name="connsiteY10" fmla="*/ 8336 h 10000"/>
              <a:gd name="connsiteX11" fmla="*/ 4690 w 9965"/>
              <a:gd name="connsiteY11" fmla="*/ 8336 h 10000"/>
              <a:gd name="connsiteX12" fmla="*/ 4725 w 9965"/>
              <a:gd name="connsiteY12" fmla="*/ 7856 h 10000"/>
              <a:gd name="connsiteX13" fmla="*/ 4725 w 9965"/>
              <a:gd name="connsiteY13" fmla="*/ 3671 h 10000"/>
              <a:gd name="connsiteX14" fmla="*/ 4760 w 9965"/>
              <a:gd name="connsiteY14" fmla="*/ 3190 h 10000"/>
              <a:gd name="connsiteX15" fmla="*/ 6724 w 9965"/>
              <a:gd name="connsiteY15" fmla="*/ 3190 h 10000"/>
              <a:gd name="connsiteX16" fmla="*/ 6759 w 9965"/>
              <a:gd name="connsiteY16" fmla="*/ 3671 h 10000"/>
              <a:gd name="connsiteX17" fmla="*/ 6759 w 9965"/>
              <a:gd name="connsiteY17" fmla="*/ 5300 h 10000"/>
              <a:gd name="connsiteX18" fmla="*/ 6793 w 9965"/>
              <a:gd name="connsiteY18" fmla="*/ 5780 h 10000"/>
              <a:gd name="connsiteX19" fmla="*/ 7503 w 9965"/>
              <a:gd name="connsiteY19" fmla="*/ 5780 h 10000"/>
              <a:gd name="connsiteX20" fmla="*/ 7538 w 9965"/>
              <a:gd name="connsiteY20" fmla="*/ 5300 h 10000"/>
              <a:gd name="connsiteX21" fmla="*/ 7538 w 9965"/>
              <a:gd name="connsiteY21" fmla="*/ 480 h 10000"/>
              <a:gd name="connsiteX22" fmla="*/ 7573 w 9965"/>
              <a:gd name="connsiteY22" fmla="*/ 0 h 10000"/>
              <a:gd name="connsiteX23" fmla="*/ 8804 w 9965"/>
              <a:gd name="connsiteY23" fmla="*/ 0 h 10000"/>
              <a:gd name="connsiteX24" fmla="*/ 8838 w 9965"/>
              <a:gd name="connsiteY24" fmla="*/ 480 h 10000"/>
              <a:gd name="connsiteX25" fmla="*/ 8838 w 9965"/>
              <a:gd name="connsiteY25" fmla="*/ 9520 h 10000"/>
              <a:gd name="connsiteX26" fmla="*/ 8873 w 9965"/>
              <a:gd name="connsiteY26" fmla="*/ 10000 h 10000"/>
              <a:gd name="connsiteX27" fmla="*/ 9965 w 9965"/>
              <a:gd name="connsiteY27" fmla="*/ 10000 h 10000"/>
              <a:gd name="connsiteX0" fmla="*/ 0 w 10000"/>
              <a:gd name="connsiteY0" fmla="*/ 7856 h 10000"/>
              <a:gd name="connsiteX1" fmla="*/ 34 w 10000"/>
              <a:gd name="connsiteY1" fmla="*/ 8336 h 10000"/>
              <a:gd name="connsiteX2" fmla="*/ 1590 w 10000"/>
              <a:gd name="connsiteY2" fmla="*/ 8336 h 10000"/>
              <a:gd name="connsiteX3" fmla="*/ 1625 w 10000"/>
              <a:gd name="connsiteY3" fmla="*/ 7856 h 10000"/>
              <a:gd name="connsiteX4" fmla="*/ 1625 w 10000"/>
              <a:gd name="connsiteY4" fmla="*/ 617 h 10000"/>
              <a:gd name="connsiteX5" fmla="*/ 1659 w 10000"/>
              <a:gd name="connsiteY5" fmla="*/ 137 h 10000"/>
              <a:gd name="connsiteX6" fmla="*/ 2774 w 10000"/>
              <a:gd name="connsiteY6" fmla="*/ 137 h 10000"/>
              <a:gd name="connsiteX7" fmla="*/ 2809 w 10000"/>
              <a:gd name="connsiteY7" fmla="*/ 617 h 10000"/>
              <a:gd name="connsiteX8" fmla="*/ 2809 w 10000"/>
              <a:gd name="connsiteY8" fmla="*/ 7856 h 10000"/>
              <a:gd name="connsiteX9" fmla="*/ 2844 w 10000"/>
              <a:gd name="connsiteY9" fmla="*/ 8336 h 10000"/>
              <a:gd name="connsiteX10" fmla="*/ 4706 w 10000"/>
              <a:gd name="connsiteY10" fmla="*/ 8336 h 10000"/>
              <a:gd name="connsiteX11" fmla="*/ 4742 w 10000"/>
              <a:gd name="connsiteY11" fmla="*/ 7856 h 10000"/>
              <a:gd name="connsiteX12" fmla="*/ 4742 w 10000"/>
              <a:gd name="connsiteY12" fmla="*/ 3671 h 10000"/>
              <a:gd name="connsiteX13" fmla="*/ 4777 w 10000"/>
              <a:gd name="connsiteY13" fmla="*/ 3190 h 10000"/>
              <a:gd name="connsiteX14" fmla="*/ 6748 w 10000"/>
              <a:gd name="connsiteY14" fmla="*/ 3190 h 10000"/>
              <a:gd name="connsiteX15" fmla="*/ 6783 w 10000"/>
              <a:gd name="connsiteY15" fmla="*/ 3671 h 10000"/>
              <a:gd name="connsiteX16" fmla="*/ 6783 w 10000"/>
              <a:gd name="connsiteY16" fmla="*/ 5300 h 10000"/>
              <a:gd name="connsiteX17" fmla="*/ 6817 w 10000"/>
              <a:gd name="connsiteY17" fmla="*/ 5780 h 10000"/>
              <a:gd name="connsiteX18" fmla="*/ 7529 w 10000"/>
              <a:gd name="connsiteY18" fmla="*/ 5780 h 10000"/>
              <a:gd name="connsiteX19" fmla="*/ 7564 w 10000"/>
              <a:gd name="connsiteY19" fmla="*/ 5300 h 10000"/>
              <a:gd name="connsiteX20" fmla="*/ 7564 w 10000"/>
              <a:gd name="connsiteY20" fmla="*/ 480 h 10000"/>
              <a:gd name="connsiteX21" fmla="*/ 7600 w 10000"/>
              <a:gd name="connsiteY21" fmla="*/ 0 h 10000"/>
              <a:gd name="connsiteX22" fmla="*/ 8835 w 10000"/>
              <a:gd name="connsiteY22" fmla="*/ 0 h 10000"/>
              <a:gd name="connsiteX23" fmla="*/ 8869 w 10000"/>
              <a:gd name="connsiteY23" fmla="*/ 480 h 10000"/>
              <a:gd name="connsiteX24" fmla="*/ 8869 w 10000"/>
              <a:gd name="connsiteY24" fmla="*/ 9520 h 10000"/>
              <a:gd name="connsiteX25" fmla="*/ 8904 w 10000"/>
              <a:gd name="connsiteY25" fmla="*/ 10000 h 10000"/>
              <a:gd name="connsiteX26" fmla="*/ 10000 w 10000"/>
              <a:gd name="connsiteY26" fmla="*/ 10000 h 10000"/>
              <a:gd name="connsiteX0" fmla="*/ 0 w 9966"/>
              <a:gd name="connsiteY0" fmla="*/ 8336 h 10000"/>
              <a:gd name="connsiteX1" fmla="*/ 1556 w 9966"/>
              <a:gd name="connsiteY1" fmla="*/ 8336 h 10000"/>
              <a:gd name="connsiteX2" fmla="*/ 1591 w 9966"/>
              <a:gd name="connsiteY2" fmla="*/ 7856 h 10000"/>
              <a:gd name="connsiteX3" fmla="*/ 1591 w 9966"/>
              <a:gd name="connsiteY3" fmla="*/ 617 h 10000"/>
              <a:gd name="connsiteX4" fmla="*/ 1625 w 9966"/>
              <a:gd name="connsiteY4" fmla="*/ 137 h 10000"/>
              <a:gd name="connsiteX5" fmla="*/ 2740 w 9966"/>
              <a:gd name="connsiteY5" fmla="*/ 137 h 10000"/>
              <a:gd name="connsiteX6" fmla="*/ 2775 w 9966"/>
              <a:gd name="connsiteY6" fmla="*/ 617 h 10000"/>
              <a:gd name="connsiteX7" fmla="*/ 2775 w 9966"/>
              <a:gd name="connsiteY7" fmla="*/ 7856 h 10000"/>
              <a:gd name="connsiteX8" fmla="*/ 2810 w 9966"/>
              <a:gd name="connsiteY8" fmla="*/ 8336 h 10000"/>
              <a:gd name="connsiteX9" fmla="*/ 4672 w 9966"/>
              <a:gd name="connsiteY9" fmla="*/ 8336 h 10000"/>
              <a:gd name="connsiteX10" fmla="*/ 4708 w 9966"/>
              <a:gd name="connsiteY10" fmla="*/ 7856 h 10000"/>
              <a:gd name="connsiteX11" fmla="*/ 4708 w 9966"/>
              <a:gd name="connsiteY11" fmla="*/ 3671 h 10000"/>
              <a:gd name="connsiteX12" fmla="*/ 4743 w 9966"/>
              <a:gd name="connsiteY12" fmla="*/ 3190 h 10000"/>
              <a:gd name="connsiteX13" fmla="*/ 6714 w 9966"/>
              <a:gd name="connsiteY13" fmla="*/ 3190 h 10000"/>
              <a:gd name="connsiteX14" fmla="*/ 6749 w 9966"/>
              <a:gd name="connsiteY14" fmla="*/ 3671 h 10000"/>
              <a:gd name="connsiteX15" fmla="*/ 6749 w 9966"/>
              <a:gd name="connsiteY15" fmla="*/ 5300 h 10000"/>
              <a:gd name="connsiteX16" fmla="*/ 6783 w 9966"/>
              <a:gd name="connsiteY16" fmla="*/ 5780 h 10000"/>
              <a:gd name="connsiteX17" fmla="*/ 7495 w 9966"/>
              <a:gd name="connsiteY17" fmla="*/ 5780 h 10000"/>
              <a:gd name="connsiteX18" fmla="*/ 7530 w 9966"/>
              <a:gd name="connsiteY18" fmla="*/ 5300 h 10000"/>
              <a:gd name="connsiteX19" fmla="*/ 7530 w 9966"/>
              <a:gd name="connsiteY19" fmla="*/ 480 h 10000"/>
              <a:gd name="connsiteX20" fmla="*/ 7566 w 9966"/>
              <a:gd name="connsiteY20" fmla="*/ 0 h 10000"/>
              <a:gd name="connsiteX21" fmla="*/ 8801 w 9966"/>
              <a:gd name="connsiteY21" fmla="*/ 0 h 10000"/>
              <a:gd name="connsiteX22" fmla="*/ 8835 w 9966"/>
              <a:gd name="connsiteY22" fmla="*/ 480 h 10000"/>
              <a:gd name="connsiteX23" fmla="*/ 8835 w 9966"/>
              <a:gd name="connsiteY23" fmla="*/ 9520 h 10000"/>
              <a:gd name="connsiteX24" fmla="*/ 8870 w 9966"/>
              <a:gd name="connsiteY24" fmla="*/ 10000 h 10000"/>
              <a:gd name="connsiteX25" fmla="*/ 9966 w 9966"/>
              <a:gd name="connsiteY25" fmla="*/ 10000 h 10000"/>
              <a:gd name="connsiteX0" fmla="*/ 0 w 8439"/>
              <a:gd name="connsiteY0" fmla="*/ 8336 h 10000"/>
              <a:gd name="connsiteX1" fmla="*/ 35 w 8439"/>
              <a:gd name="connsiteY1" fmla="*/ 7856 h 10000"/>
              <a:gd name="connsiteX2" fmla="*/ 35 w 8439"/>
              <a:gd name="connsiteY2" fmla="*/ 617 h 10000"/>
              <a:gd name="connsiteX3" fmla="*/ 70 w 8439"/>
              <a:gd name="connsiteY3" fmla="*/ 137 h 10000"/>
              <a:gd name="connsiteX4" fmla="*/ 1188 w 8439"/>
              <a:gd name="connsiteY4" fmla="*/ 137 h 10000"/>
              <a:gd name="connsiteX5" fmla="*/ 1223 w 8439"/>
              <a:gd name="connsiteY5" fmla="*/ 617 h 10000"/>
              <a:gd name="connsiteX6" fmla="*/ 1223 w 8439"/>
              <a:gd name="connsiteY6" fmla="*/ 7856 h 10000"/>
              <a:gd name="connsiteX7" fmla="*/ 1259 w 8439"/>
              <a:gd name="connsiteY7" fmla="*/ 8336 h 10000"/>
              <a:gd name="connsiteX8" fmla="*/ 3127 w 8439"/>
              <a:gd name="connsiteY8" fmla="*/ 8336 h 10000"/>
              <a:gd name="connsiteX9" fmla="*/ 3163 w 8439"/>
              <a:gd name="connsiteY9" fmla="*/ 7856 h 10000"/>
              <a:gd name="connsiteX10" fmla="*/ 3163 w 8439"/>
              <a:gd name="connsiteY10" fmla="*/ 3671 h 10000"/>
              <a:gd name="connsiteX11" fmla="*/ 3198 w 8439"/>
              <a:gd name="connsiteY11" fmla="*/ 3190 h 10000"/>
              <a:gd name="connsiteX12" fmla="*/ 5176 w 8439"/>
              <a:gd name="connsiteY12" fmla="*/ 3190 h 10000"/>
              <a:gd name="connsiteX13" fmla="*/ 5211 w 8439"/>
              <a:gd name="connsiteY13" fmla="*/ 3671 h 10000"/>
              <a:gd name="connsiteX14" fmla="*/ 5211 w 8439"/>
              <a:gd name="connsiteY14" fmla="*/ 5300 h 10000"/>
              <a:gd name="connsiteX15" fmla="*/ 5245 w 8439"/>
              <a:gd name="connsiteY15" fmla="*/ 5780 h 10000"/>
              <a:gd name="connsiteX16" fmla="*/ 5960 w 8439"/>
              <a:gd name="connsiteY16" fmla="*/ 5780 h 10000"/>
              <a:gd name="connsiteX17" fmla="*/ 5995 w 8439"/>
              <a:gd name="connsiteY17" fmla="*/ 5300 h 10000"/>
              <a:gd name="connsiteX18" fmla="*/ 5995 w 8439"/>
              <a:gd name="connsiteY18" fmla="*/ 480 h 10000"/>
              <a:gd name="connsiteX19" fmla="*/ 6031 w 8439"/>
              <a:gd name="connsiteY19" fmla="*/ 0 h 10000"/>
              <a:gd name="connsiteX20" fmla="*/ 7270 w 8439"/>
              <a:gd name="connsiteY20" fmla="*/ 0 h 10000"/>
              <a:gd name="connsiteX21" fmla="*/ 7304 w 8439"/>
              <a:gd name="connsiteY21" fmla="*/ 480 h 10000"/>
              <a:gd name="connsiteX22" fmla="*/ 7304 w 8439"/>
              <a:gd name="connsiteY22" fmla="*/ 9520 h 10000"/>
              <a:gd name="connsiteX23" fmla="*/ 7339 w 8439"/>
              <a:gd name="connsiteY23" fmla="*/ 10000 h 10000"/>
              <a:gd name="connsiteX24" fmla="*/ 8439 w 8439"/>
              <a:gd name="connsiteY24" fmla="*/ 10000 h 10000"/>
              <a:gd name="connsiteX0" fmla="*/ 0 w 9959"/>
              <a:gd name="connsiteY0" fmla="*/ 7856 h 10000"/>
              <a:gd name="connsiteX1" fmla="*/ 0 w 9959"/>
              <a:gd name="connsiteY1" fmla="*/ 617 h 10000"/>
              <a:gd name="connsiteX2" fmla="*/ 42 w 9959"/>
              <a:gd name="connsiteY2" fmla="*/ 137 h 10000"/>
              <a:gd name="connsiteX3" fmla="*/ 1367 w 9959"/>
              <a:gd name="connsiteY3" fmla="*/ 137 h 10000"/>
              <a:gd name="connsiteX4" fmla="*/ 1408 w 9959"/>
              <a:gd name="connsiteY4" fmla="*/ 617 h 10000"/>
              <a:gd name="connsiteX5" fmla="*/ 1408 w 9959"/>
              <a:gd name="connsiteY5" fmla="*/ 7856 h 10000"/>
              <a:gd name="connsiteX6" fmla="*/ 1451 w 9959"/>
              <a:gd name="connsiteY6" fmla="*/ 8336 h 10000"/>
              <a:gd name="connsiteX7" fmla="*/ 3664 w 9959"/>
              <a:gd name="connsiteY7" fmla="*/ 8336 h 10000"/>
              <a:gd name="connsiteX8" fmla="*/ 3707 w 9959"/>
              <a:gd name="connsiteY8" fmla="*/ 7856 h 10000"/>
              <a:gd name="connsiteX9" fmla="*/ 3707 w 9959"/>
              <a:gd name="connsiteY9" fmla="*/ 3671 h 10000"/>
              <a:gd name="connsiteX10" fmla="*/ 3749 w 9959"/>
              <a:gd name="connsiteY10" fmla="*/ 3190 h 10000"/>
              <a:gd name="connsiteX11" fmla="*/ 6092 w 9959"/>
              <a:gd name="connsiteY11" fmla="*/ 3190 h 10000"/>
              <a:gd name="connsiteX12" fmla="*/ 6134 w 9959"/>
              <a:gd name="connsiteY12" fmla="*/ 3671 h 10000"/>
              <a:gd name="connsiteX13" fmla="*/ 6134 w 9959"/>
              <a:gd name="connsiteY13" fmla="*/ 5300 h 10000"/>
              <a:gd name="connsiteX14" fmla="*/ 6174 w 9959"/>
              <a:gd name="connsiteY14" fmla="*/ 5780 h 10000"/>
              <a:gd name="connsiteX15" fmla="*/ 7021 w 9959"/>
              <a:gd name="connsiteY15" fmla="*/ 5780 h 10000"/>
              <a:gd name="connsiteX16" fmla="*/ 7063 w 9959"/>
              <a:gd name="connsiteY16" fmla="*/ 5300 h 10000"/>
              <a:gd name="connsiteX17" fmla="*/ 7063 w 9959"/>
              <a:gd name="connsiteY17" fmla="*/ 480 h 10000"/>
              <a:gd name="connsiteX18" fmla="*/ 7106 w 9959"/>
              <a:gd name="connsiteY18" fmla="*/ 0 h 10000"/>
              <a:gd name="connsiteX19" fmla="*/ 8574 w 9959"/>
              <a:gd name="connsiteY19" fmla="*/ 0 h 10000"/>
              <a:gd name="connsiteX20" fmla="*/ 8614 w 9959"/>
              <a:gd name="connsiteY20" fmla="*/ 480 h 10000"/>
              <a:gd name="connsiteX21" fmla="*/ 8614 w 9959"/>
              <a:gd name="connsiteY21" fmla="*/ 9520 h 10000"/>
              <a:gd name="connsiteX22" fmla="*/ 8656 w 9959"/>
              <a:gd name="connsiteY22" fmla="*/ 10000 h 10000"/>
              <a:gd name="connsiteX23" fmla="*/ 9959 w 9959"/>
              <a:gd name="connsiteY23" fmla="*/ 10000 h 10000"/>
              <a:gd name="connsiteX0" fmla="*/ 0 w 10000"/>
              <a:gd name="connsiteY0" fmla="*/ 617 h 10000"/>
              <a:gd name="connsiteX1" fmla="*/ 42 w 10000"/>
              <a:gd name="connsiteY1" fmla="*/ 137 h 10000"/>
              <a:gd name="connsiteX2" fmla="*/ 1373 w 10000"/>
              <a:gd name="connsiteY2" fmla="*/ 137 h 10000"/>
              <a:gd name="connsiteX3" fmla="*/ 1414 w 10000"/>
              <a:gd name="connsiteY3" fmla="*/ 617 h 10000"/>
              <a:gd name="connsiteX4" fmla="*/ 1414 w 10000"/>
              <a:gd name="connsiteY4" fmla="*/ 7856 h 10000"/>
              <a:gd name="connsiteX5" fmla="*/ 1457 w 10000"/>
              <a:gd name="connsiteY5" fmla="*/ 8336 h 10000"/>
              <a:gd name="connsiteX6" fmla="*/ 3679 w 10000"/>
              <a:gd name="connsiteY6" fmla="*/ 8336 h 10000"/>
              <a:gd name="connsiteX7" fmla="*/ 3722 w 10000"/>
              <a:gd name="connsiteY7" fmla="*/ 7856 h 10000"/>
              <a:gd name="connsiteX8" fmla="*/ 3722 w 10000"/>
              <a:gd name="connsiteY8" fmla="*/ 3671 h 10000"/>
              <a:gd name="connsiteX9" fmla="*/ 3764 w 10000"/>
              <a:gd name="connsiteY9" fmla="*/ 3190 h 10000"/>
              <a:gd name="connsiteX10" fmla="*/ 6117 w 10000"/>
              <a:gd name="connsiteY10" fmla="*/ 3190 h 10000"/>
              <a:gd name="connsiteX11" fmla="*/ 6159 w 10000"/>
              <a:gd name="connsiteY11" fmla="*/ 3671 h 10000"/>
              <a:gd name="connsiteX12" fmla="*/ 6159 w 10000"/>
              <a:gd name="connsiteY12" fmla="*/ 5300 h 10000"/>
              <a:gd name="connsiteX13" fmla="*/ 6199 w 10000"/>
              <a:gd name="connsiteY13" fmla="*/ 5780 h 10000"/>
              <a:gd name="connsiteX14" fmla="*/ 7050 w 10000"/>
              <a:gd name="connsiteY14" fmla="*/ 5780 h 10000"/>
              <a:gd name="connsiteX15" fmla="*/ 7092 w 10000"/>
              <a:gd name="connsiteY15" fmla="*/ 5300 h 10000"/>
              <a:gd name="connsiteX16" fmla="*/ 7092 w 10000"/>
              <a:gd name="connsiteY16" fmla="*/ 480 h 10000"/>
              <a:gd name="connsiteX17" fmla="*/ 7135 w 10000"/>
              <a:gd name="connsiteY17" fmla="*/ 0 h 10000"/>
              <a:gd name="connsiteX18" fmla="*/ 8609 w 10000"/>
              <a:gd name="connsiteY18" fmla="*/ 0 h 10000"/>
              <a:gd name="connsiteX19" fmla="*/ 8649 w 10000"/>
              <a:gd name="connsiteY19" fmla="*/ 480 h 10000"/>
              <a:gd name="connsiteX20" fmla="*/ 8649 w 10000"/>
              <a:gd name="connsiteY20" fmla="*/ 9520 h 10000"/>
              <a:gd name="connsiteX21" fmla="*/ 8692 w 10000"/>
              <a:gd name="connsiteY21" fmla="*/ 10000 h 10000"/>
              <a:gd name="connsiteX22" fmla="*/ 10000 w 10000"/>
              <a:gd name="connsiteY22" fmla="*/ 10000 h 10000"/>
              <a:gd name="connsiteX0" fmla="*/ 0 w 8692"/>
              <a:gd name="connsiteY0" fmla="*/ 617 h 10000"/>
              <a:gd name="connsiteX1" fmla="*/ 42 w 8692"/>
              <a:gd name="connsiteY1" fmla="*/ 137 h 10000"/>
              <a:gd name="connsiteX2" fmla="*/ 1373 w 8692"/>
              <a:gd name="connsiteY2" fmla="*/ 137 h 10000"/>
              <a:gd name="connsiteX3" fmla="*/ 1414 w 8692"/>
              <a:gd name="connsiteY3" fmla="*/ 617 h 10000"/>
              <a:gd name="connsiteX4" fmla="*/ 1414 w 8692"/>
              <a:gd name="connsiteY4" fmla="*/ 7856 h 10000"/>
              <a:gd name="connsiteX5" fmla="*/ 1457 w 8692"/>
              <a:gd name="connsiteY5" fmla="*/ 8336 h 10000"/>
              <a:gd name="connsiteX6" fmla="*/ 3679 w 8692"/>
              <a:gd name="connsiteY6" fmla="*/ 8336 h 10000"/>
              <a:gd name="connsiteX7" fmla="*/ 3722 w 8692"/>
              <a:gd name="connsiteY7" fmla="*/ 7856 h 10000"/>
              <a:gd name="connsiteX8" fmla="*/ 3722 w 8692"/>
              <a:gd name="connsiteY8" fmla="*/ 3671 h 10000"/>
              <a:gd name="connsiteX9" fmla="*/ 3764 w 8692"/>
              <a:gd name="connsiteY9" fmla="*/ 3190 h 10000"/>
              <a:gd name="connsiteX10" fmla="*/ 6117 w 8692"/>
              <a:gd name="connsiteY10" fmla="*/ 3190 h 10000"/>
              <a:gd name="connsiteX11" fmla="*/ 6159 w 8692"/>
              <a:gd name="connsiteY11" fmla="*/ 3671 h 10000"/>
              <a:gd name="connsiteX12" fmla="*/ 6159 w 8692"/>
              <a:gd name="connsiteY12" fmla="*/ 5300 h 10000"/>
              <a:gd name="connsiteX13" fmla="*/ 6199 w 8692"/>
              <a:gd name="connsiteY13" fmla="*/ 5780 h 10000"/>
              <a:gd name="connsiteX14" fmla="*/ 7050 w 8692"/>
              <a:gd name="connsiteY14" fmla="*/ 5780 h 10000"/>
              <a:gd name="connsiteX15" fmla="*/ 7092 w 8692"/>
              <a:gd name="connsiteY15" fmla="*/ 5300 h 10000"/>
              <a:gd name="connsiteX16" fmla="*/ 7092 w 8692"/>
              <a:gd name="connsiteY16" fmla="*/ 480 h 10000"/>
              <a:gd name="connsiteX17" fmla="*/ 7135 w 8692"/>
              <a:gd name="connsiteY17" fmla="*/ 0 h 10000"/>
              <a:gd name="connsiteX18" fmla="*/ 8609 w 8692"/>
              <a:gd name="connsiteY18" fmla="*/ 0 h 10000"/>
              <a:gd name="connsiteX19" fmla="*/ 8649 w 8692"/>
              <a:gd name="connsiteY19" fmla="*/ 480 h 10000"/>
              <a:gd name="connsiteX20" fmla="*/ 8649 w 8692"/>
              <a:gd name="connsiteY20" fmla="*/ 9520 h 10000"/>
              <a:gd name="connsiteX21" fmla="*/ 8692 w 8692"/>
              <a:gd name="connsiteY21" fmla="*/ 10000 h 10000"/>
              <a:gd name="connsiteX0" fmla="*/ 0 w 9951"/>
              <a:gd name="connsiteY0" fmla="*/ 617 h 9520"/>
              <a:gd name="connsiteX1" fmla="*/ 48 w 9951"/>
              <a:gd name="connsiteY1" fmla="*/ 137 h 9520"/>
              <a:gd name="connsiteX2" fmla="*/ 1580 w 9951"/>
              <a:gd name="connsiteY2" fmla="*/ 137 h 9520"/>
              <a:gd name="connsiteX3" fmla="*/ 1627 w 9951"/>
              <a:gd name="connsiteY3" fmla="*/ 617 h 9520"/>
              <a:gd name="connsiteX4" fmla="*/ 1627 w 9951"/>
              <a:gd name="connsiteY4" fmla="*/ 7856 h 9520"/>
              <a:gd name="connsiteX5" fmla="*/ 1676 w 9951"/>
              <a:gd name="connsiteY5" fmla="*/ 8336 h 9520"/>
              <a:gd name="connsiteX6" fmla="*/ 4233 w 9951"/>
              <a:gd name="connsiteY6" fmla="*/ 8336 h 9520"/>
              <a:gd name="connsiteX7" fmla="*/ 4282 w 9951"/>
              <a:gd name="connsiteY7" fmla="*/ 7856 h 9520"/>
              <a:gd name="connsiteX8" fmla="*/ 4282 w 9951"/>
              <a:gd name="connsiteY8" fmla="*/ 3671 h 9520"/>
              <a:gd name="connsiteX9" fmla="*/ 4330 w 9951"/>
              <a:gd name="connsiteY9" fmla="*/ 3190 h 9520"/>
              <a:gd name="connsiteX10" fmla="*/ 7038 w 9951"/>
              <a:gd name="connsiteY10" fmla="*/ 3190 h 9520"/>
              <a:gd name="connsiteX11" fmla="*/ 7086 w 9951"/>
              <a:gd name="connsiteY11" fmla="*/ 3671 h 9520"/>
              <a:gd name="connsiteX12" fmla="*/ 7086 w 9951"/>
              <a:gd name="connsiteY12" fmla="*/ 5300 h 9520"/>
              <a:gd name="connsiteX13" fmla="*/ 7132 w 9951"/>
              <a:gd name="connsiteY13" fmla="*/ 5780 h 9520"/>
              <a:gd name="connsiteX14" fmla="*/ 8111 w 9951"/>
              <a:gd name="connsiteY14" fmla="*/ 5780 h 9520"/>
              <a:gd name="connsiteX15" fmla="*/ 8159 w 9951"/>
              <a:gd name="connsiteY15" fmla="*/ 5300 h 9520"/>
              <a:gd name="connsiteX16" fmla="*/ 8159 w 9951"/>
              <a:gd name="connsiteY16" fmla="*/ 480 h 9520"/>
              <a:gd name="connsiteX17" fmla="*/ 8209 w 9951"/>
              <a:gd name="connsiteY17" fmla="*/ 0 h 9520"/>
              <a:gd name="connsiteX18" fmla="*/ 9905 w 9951"/>
              <a:gd name="connsiteY18" fmla="*/ 0 h 9520"/>
              <a:gd name="connsiteX19" fmla="*/ 9951 w 9951"/>
              <a:gd name="connsiteY19" fmla="*/ 480 h 9520"/>
              <a:gd name="connsiteX20" fmla="*/ 9951 w 9951"/>
              <a:gd name="connsiteY20" fmla="*/ 9520 h 9520"/>
              <a:gd name="connsiteX0" fmla="*/ 0 w 10000"/>
              <a:gd name="connsiteY0" fmla="*/ 648 h 8756"/>
              <a:gd name="connsiteX1" fmla="*/ 48 w 10000"/>
              <a:gd name="connsiteY1" fmla="*/ 144 h 8756"/>
              <a:gd name="connsiteX2" fmla="*/ 1588 w 10000"/>
              <a:gd name="connsiteY2" fmla="*/ 144 h 8756"/>
              <a:gd name="connsiteX3" fmla="*/ 1635 w 10000"/>
              <a:gd name="connsiteY3" fmla="*/ 648 h 8756"/>
              <a:gd name="connsiteX4" fmla="*/ 1635 w 10000"/>
              <a:gd name="connsiteY4" fmla="*/ 8252 h 8756"/>
              <a:gd name="connsiteX5" fmla="*/ 1684 w 10000"/>
              <a:gd name="connsiteY5" fmla="*/ 8756 h 8756"/>
              <a:gd name="connsiteX6" fmla="*/ 4254 w 10000"/>
              <a:gd name="connsiteY6" fmla="*/ 8756 h 8756"/>
              <a:gd name="connsiteX7" fmla="*/ 4303 w 10000"/>
              <a:gd name="connsiteY7" fmla="*/ 8252 h 8756"/>
              <a:gd name="connsiteX8" fmla="*/ 4303 w 10000"/>
              <a:gd name="connsiteY8" fmla="*/ 3856 h 8756"/>
              <a:gd name="connsiteX9" fmla="*/ 4351 w 10000"/>
              <a:gd name="connsiteY9" fmla="*/ 3351 h 8756"/>
              <a:gd name="connsiteX10" fmla="*/ 7073 w 10000"/>
              <a:gd name="connsiteY10" fmla="*/ 3351 h 8756"/>
              <a:gd name="connsiteX11" fmla="*/ 7121 w 10000"/>
              <a:gd name="connsiteY11" fmla="*/ 3856 h 8756"/>
              <a:gd name="connsiteX12" fmla="*/ 7121 w 10000"/>
              <a:gd name="connsiteY12" fmla="*/ 5567 h 8756"/>
              <a:gd name="connsiteX13" fmla="*/ 7167 w 10000"/>
              <a:gd name="connsiteY13" fmla="*/ 6071 h 8756"/>
              <a:gd name="connsiteX14" fmla="*/ 8151 w 10000"/>
              <a:gd name="connsiteY14" fmla="*/ 6071 h 8756"/>
              <a:gd name="connsiteX15" fmla="*/ 8199 w 10000"/>
              <a:gd name="connsiteY15" fmla="*/ 5567 h 8756"/>
              <a:gd name="connsiteX16" fmla="*/ 8199 w 10000"/>
              <a:gd name="connsiteY16" fmla="*/ 504 h 8756"/>
              <a:gd name="connsiteX17" fmla="*/ 8249 w 10000"/>
              <a:gd name="connsiteY17" fmla="*/ 0 h 8756"/>
              <a:gd name="connsiteX18" fmla="*/ 9954 w 10000"/>
              <a:gd name="connsiteY18" fmla="*/ 0 h 8756"/>
              <a:gd name="connsiteX19" fmla="*/ 10000 w 10000"/>
              <a:gd name="connsiteY19" fmla="*/ 504 h 8756"/>
              <a:gd name="connsiteX0" fmla="*/ 0 w 9954"/>
              <a:gd name="connsiteY0" fmla="*/ 740 h 10000"/>
              <a:gd name="connsiteX1" fmla="*/ 48 w 9954"/>
              <a:gd name="connsiteY1" fmla="*/ 164 h 10000"/>
              <a:gd name="connsiteX2" fmla="*/ 1588 w 9954"/>
              <a:gd name="connsiteY2" fmla="*/ 164 h 10000"/>
              <a:gd name="connsiteX3" fmla="*/ 1635 w 9954"/>
              <a:gd name="connsiteY3" fmla="*/ 740 h 10000"/>
              <a:gd name="connsiteX4" fmla="*/ 1635 w 9954"/>
              <a:gd name="connsiteY4" fmla="*/ 9424 h 10000"/>
              <a:gd name="connsiteX5" fmla="*/ 1684 w 9954"/>
              <a:gd name="connsiteY5" fmla="*/ 10000 h 10000"/>
              <a:gd name="connsiteX6" fmla="*/ 4254 w 9954"/>
              <a:gd name="connsiteY6" fmla="*/ 10000 h 10000"/>
              <a:gd name="connsiteX7" fmla="*/ 4303 w 9954"/>
              <a:gd name="connsiteY7" fmla="*/ 9424 h 10000"/>
              <a:gd name="connsiteX8" fmla="*/ 4303 w 9954"/>
              <a:gd name="connsiteY8" fmla="*/ 4404 h 10000"/>
              <a:gd name="connsiteX9" fmla="*/ 4351 w 9954"/>
              <a:gd name="connsiteY9" fmla="*/ 3827 h 10000"/>
              <a:gd name="connsiteX10" fmla="*/ 7073 w 9954"/>
              <a:gd name="connsiteY10" fmla="*/ 3827 h 10000"/>
              <a:gd name="connsiteX11" fmla="*/ 7121 w 9954"/>
              <a:gd name="connsiteY11" fmla="*/ 4404 h 10000"/>
              <a:gd name="connsiteX12" fmla="*/ 7121 w 9954"/>
              <a:gd name="connsiteY12" fmla="*/ 6358 h 10000"/>
              <a:gd name="connsiteX13" fmla="*/ 7167 w 9954"/>
              <a:gd name="connsiteY13" fmla="*/ 6934 h 10000"/>
              <a:gd name="connsiteX14" fmla="*/ 8151 w 9954"/>
              <a:gd name="connsiteY14" fmla="*/ 6934 h 10000"/>
              <a:gd name="connsiteX15" fmla="*/ 8199 w 9954"/>
              <a:gd name="connsiteY15" fmla="*/ 6358 h 10000"/>
              <a:gd name="connsiteX16" fmla="*/ 8199 w 9954"/>
              <a:gd name="connsiteY16" fmla="*/ 576 h 10000"/>
              <a:gd name="connsiteX17" fmla="*/ 8249 w 9954"/>
              <a:gd name="connsiteY17" fmla="*/ 0 h 10000"/>
              <a:gd name="connsiteX18" fmla="*/ 9954 w 9954"/>
              <a:gd name="connsiteY18" fmla="*/ 0 h 10000"/>
              <a:gd name="connsiteX0" fmla="*/ 0 w 8287"/>
              <a:gd name="connsiteY0" fmla="*/ 740 h 10000"/>
              <a:gd name="connsiteX1" fmla="*/ 48 w 8287"/>
              <a:gd name="connsiteY1" fmla="*/ 164 h 10000"/>
              <a:gd name="connsiteX2" fmla="*/ 1595 w 8287"/>
              <a:gd name="connsiteY2" fmla="*/ 164 h 10000"/>
              <a:gd name="connsiteX3" fmla="*/ 1643 w 8287"/>
              <a:gd name="connsiteY3" fmla="*/ 740 h 10000"/>
              <a:gd name="connsiteX4" fmla="*/ 1643 w 8287"/>
              <a:gd name="connsiteY4" fmla="*/ 9424 h 10000"/>
              <a:gd name="connsiteX5" fmla="*/ 1692 w 8287"/>
              <a:gd name="connsiteY5" fmla="*/ 10000 h 10000"/>
              <a:gd name="connsiteX6" fmla="*/ 4274 w 8287"/>
              <a:gd name="connsiteY6" fmla="*/ 10000 h 10000"/>
              <a:gd name="connsiteX7" fmla="*/ 4323 w 8287"/>
              <a:gd name="connsiteY7" fmla="*/ 9424 h 10000"/>
              <a:gd name="connsiteX8" fmla="*/ 4323 w 8287"/>
              <a:gd name="connsiteY8" fmla="*/ 4404 h 10000"/>
              <a:gd name="connsiteX9" fmla="*/ 4371 w 8287"/>
              <a:gd name="connsiteY9" fmla="*/ 3827 h 10000"/>
              <a:gd name="connsiteX10" fmla="*/ 7106 w 8287"/>
              <a:gd name="connsiteY10" fmla="*/ 3827 h 10000"/>
              <a:gd name="connsiteX11" fmla="*/ 7154 w 8287"/>
              <a:gd name="connsiteY11" fmla="*/ 4404 h 10000"/>
              <a:gd name="connsiteX12" fmla="*/ 7154 w 8287"/>
              <a:gd name="connsiteY12" fmla="*/ 6358 h 10000"/>
              <a:gd name="connsiteX13" fmla="*/ 7200 w 8287"/>
              <a:gd name="connsiteY13" fmla="*/ 6934 h 10000"/>
              <a:gd name="connsiteX14" fmla="*/ 8189 w 8287"/>
              <a:gd name="connsiteY14" fmla="*/ 6934 h 10000"/>
              <a:gd name="connsiteX15" fmla="*/ 8237 w 8287"/>
              <a:gd name="connsiteY15" fmla="*/ 6358 h 10000"/>
              <a:gd name="connsiteX16" fmla="*/ 8237 w 8287"/>
              <a:gd name="connsiteY16" fmla="*/ 576 h 10000"/>
              <a:gd name="connsiteX17" fmla="*/ 8287 w 8287"/>
              <a:gd name="connsiteY17" fmla="*/ 0 h 10000"/>
              <a:gd name="connsiteX0" fmla="*/ 0 w 9940"/>
              <a:gd name="connsiteY0" fmla="*/ 576 h 9836"/>
              <a:gd name="connsiteX1" fmla="*/ 58 w 9940"/>
              <a:gd name="connsiteY1" fmla="*/ 0 h 9836"/>
              <a:gd name="connsiteX2" fmla="*/ 1925 w 9940"/>
              <a:gd name="connsiteY2" fmla="*/ 0 h 9836"/>
              <a:gd name="connsiteX3" fmla="*/ 1983 w 9940"/>
              <a:gd name="connsiteY3" fmla="*/ 576 h 9836"/>
              <a:gd name="connsiteX4" fmla="*/ 1983 w 9940"/>
              <a:gd name="connsiteY4" fmla="*/ 9260 h 9836"/>
              <a:gd name="connsiteX5" fmla="*/ 2042 w 9940"/>
              <a:gd name="connsiteY5" fmla="*/ 9836 h 9836"/>
              <a:gd name="connsiteX6" fmla="*/ 5157 w 9940"/>
              <a:gd name="connsiteY6" fmla="*/ 9836 h 9836"/>
              <a:gd name="connsiteX7" fmla="*/ 5217 w 9940"/>
              <a:gd name="connsiteY7" fmla="*/ 9260 h 9836"/>
              <a:gd name="connsiteX8" fmla="*/ 5217 w 9940"/>
              <a:gd name="connsiteY8" fmla="*/ 4240 h 9836"/>
              <a:gd name="connsiteX9" fmla="*/ 5275 w 9940"/>
              <a:gd name="connsiteY9" fmla="*/ 3663 h 9836"/>
              <a:gd name="connsiteX10" fmla="*/ 8575 w 9940"/>
              <a:gd name="connsiteY10" fmla="*/ 3663 h 9836"/>
              <a:gd name="connsiteX11" fmla="*/ 8633 w 9940"/>
              <a:gd name="connsiteY11" fmla="*/ 4240 h 9836"/>
              <a:gd name="connsiteX12" fmla="*/ 8633 w 9940"/>
              <a:gd name="connsiteY12" fmla="*/ 6194 h 9836"/>
              <a:gd name="connsiteX13" fmla="*/ 8688 w 9940"/>
              <a:gd name="connsiteY13" fmla="*/ 6770 h 9836"/>
              <a:gd name="connsiteX14" fmla="*/ 9882 w 9940"/>
              <a:gd name="connsiteY14" fmla="*/ 6770 h 9836"/>
              <a:gd name="connsiteX15" fmla="*/ 9940 w 9940"/>
              <a:gd name="connsiteY15" fmla="*/ 6194 h 9836"/>
              <a:gd name="connsiteX16" fmla="*/ 9940 w 9940"/>
              <a:gd name="connsiteY16" fmla="*/ 412 h 9836"/>
              <a:gd name="connsiteX0" fmla="*/ 0 w 10000"/>
              <a:gd name="connsiteY0" fmla="*/ 586 h 10000"/>
              <a:gd name="connsiteX1" fmla="*/ 58 w 10000"/>
              <a:gd name="connsiteY1" fmla="*/ 0 h 10000"/>
              <a:gd name="connsiteX2" fmla="*/ 1937 w 10000"/>
              <a:gd name="connsiteY2" fmla="*/ 0 h 10000"/>
              <a:gd name="connsiteX3" fmla="*/ 1995 w 10000"/>
              <a:gd name="connsiteY3" fmla="*/ 586 h 10000"/>
              <a:gd name="connsiteX4" fmla="*/ 1995 w 10000"/>
              <a:gd name="connsiteY4" fmla="*/ 9414 h 10000"/>
              <a:gd name="connsiteX5" fmla="*/ 2054 w 10000"/>
              <a:gd name="connsiteY5" fmla="*/ 10000 h 10000"/>
              <a:gd name="connsiteX6" fmla="*/ 5188 w 10000"/>
              <a:gd name="connsiteY6" fmla="*/ 10000 h 10000"/>
              <a:gd name="connsiteX7" fmla="*/ 5248 w 10000"/>
              <a:gd name="connsiteY7" fmla="*/ 9414 h 10000"/>
              <a:gd name="connsiteX8" fmla="*/ 5248 w 10000"/>
              <a:gd name="connsiteY8" fmla="*/ 4311 h 10000"/>
              <a:gd name="connsiteX9" fmla="*/ 5307 w 10000"/>
              <a:gd name="connsiteY9" fmla="*/ 3724 h 10000"/>
              <a:gd name="connsiteX10" fmla="*/ 8627 w 10000"/>
              <a:gd name="connsiteY10" fmla="*/ 3724 h 10000"/>
              <a:gd name="connsiteX11" fmla="*/ 8685 w 10000"/>
              <a:gd name="connsiteY11" fmla="*/ 4311 h 10000"/>
              <a:gd name="connsiteX12" fmla="*/ 8685 w 10000"/>
              <a:gd name="connsiteY12" fmla="*/ 6297 h 10000"/>
              <a:gd name="connsiteX13" fmla="*/ 8740 w 10000"/>
              <a:gd name="connsiteY13" fmla="*/ 6883 h 10000"/>
              <a:gd name="connsiteX14" fmla="*/ 9942 w 10000"/>
              <a:gd name="connsiteY14" fmla="*/ 6883 h 10000"/>
              <a:gd name="connsiteX15" fmla="*/ 10000 w 10000"/>
              <a:gd name="connsiteY15" fmla="*/ 6297 h 10000"/>
              <a:gd name="connsiteX0" fmla="*/ 0 w 10000"/>
              <a:gd name="connsiteY0" fmla="*/ 586 h 10000"/>
              <a:gd name="connsiteX1" fmla="*/ 1937 w 10000"/>
              <a:gd name="connsiteY1" fmla="*/ 0 h 10000"/>
              <a:gd name="connsiteX2" fmla="*/ 1995 w 10000"/>
              <a:gd name="connsiteY2" fmla="*/ 586 h 10000"/>
              <a:gd name="connsiteX3" fmla="*/ 1995 w 10000"/>
              <a:gd name="connsiteY3" fmla="*/ 9414 h 10000"/>
              <a:gd name="connsiteX4" fmla="*/ 2054 w 10000"/>
              <a:gd name="connsiteY4" fmla="*/ 10000 h 10000"/>
              <a:gd name="connsiteX5" fmla="*/ 5188 w 10000"/>
              <a:gd name="connsiteY5" fmla="*/ 10000 h 10000"/>
              <a:gd name="connsiteX6" fmla="*/ 5248 w 10000"/>
              <a:gd name="connsiteY6" fmla="*/ 9414 h 10000"/>
              <a:gd name="connsiteX7" fmla="*/ 5248 w 10000"/>
              <a:gd name="connsiteY7" fmla="*/ 4311 h 10000"/>
              <a:gd name="connsiteX8" fmla="*/ 5307 w 10000"/>
              <a:gd name="connsiteY8" fmla="*/ 3724 h 10000"/>
              <a:gd name="connsiteX9" fmla="*/ 8627 w 10000"/>
              <a:gd name="connsiteY9" fmla="*/ 3724 h 10000"/>
              <a:gd name="connsiteX10" fmla="*/ 8685 w 10000"/>
              <a:gd name="connsiteY10" fmla="*/ 4311 h 10000"/>
              <a:gd name="connsiteX11" fmla="*/ 8685 w 10000"/>
              <a:gd name="connsiteY11" fmla="*/ 6297 h 10000"/>
              <a:gd name="connsiteX12" fmla="*/ 8740 w 10000"/>
              <a:gd name="connsiteY12" fmla="*/ 6883 h 10000"/>
              <a:gd name="connsiteX13" fmla="*/ 9942 w 10000"/>
              <a:gd name="connsiteY13" fmla="*/ 6883 h 10000"/>
              <a:gd name="connsiteX14" fmla="*/ 10000 w 10000"/>
              <a:gd name="connsiteY14" fmla="*/ 6297 h 10000"/>
              <a:gd name="connsiteX0" fmla="*/ 0 w 8803"/>
              <a:gd name="connsiteY0" fmla="*/ 40 h 10113"/>
              <a:gd name="connsiteX1" fmla="*/ 740 w 8803"/>
              <a:gd name="connsiteY1" fmla="*/ 113 h 10113"/>
              <a:gd name="connsiteX2" fmla="*/ 798 w 8803"/>
              <a:gd name="connsiteY2" fmla="*/ 699 h 10113"/>
              <a:gd name="connsiteX3" fmla="*/ 798 w 8803"/>
              <a:gd name="connsiteY3" fmla="*/ 9527 h 10113"/>
              <a:gd name="connsiteX4" fmla="*/ 857 w 8803"/>
              <a:gd name="connsiteY4" fmla="*/ 10113 h 10113"/>
              <a:gd name="connsiteX5" fmla="*/ 3991 w 8803"/>
              <a:gd name="connsiteY5" fmla="*/ 10113 h 10113"/>
              <a:gd name="connsiteX6" fmla="*/ 4051 w 8803"/>
              <a:gd name="connsiteY6" fmla="*/ 9527 h 10113"/>
              <a:gd name="connsiteX7" fmla="*/ 4051 w 8803"/>
              <a:gd name="connsiteY7" fmla="*/ 4424 h 10113"/>
              <a:gd name="connsiteX8" fmla="*/ 4110 w 8803"/>
              <a:gd name="connsiteY8" fmla="*/ 3837 h 10113"/>
              <a:gd name="connsiteX9" fmla="*/ 7430 w 8803"/>
              <a:gd name="connsiteY9" fmla="*/ 3837 h 10113"/>
              <a:gd name="connsiteX10" fmla="*/ 7488 w 8803"/>
              <a:gd name="connsiteY10" fmla="*/ 4424 h 10113"/>
              <a:gd name="connsiteX11" fmla="*/ 7488 w 8803"/>
              <a:gd name="connsiteY11" fmla="*/ 6410 h 10113"/>
              <a:gd name="connsiteX12" fmla="*/ 7543 w 8803"/>
              <a:gd name="connsiteY12" fmla="*/ 6996 h 10113"/>
              <a:gd name="connsiteX13" fmla="*/ 8745 w 8803"/>
              <a:gd name="connsiteY13" fmla="*/ 6996 h 10113"/>
              <a:gd name="connsiteX14" fmla="*/ 8803 w 8803"/>
              <a:gd name="connsiteY14" fmla="*/ 6410 h 10113"/>
              <a:gd name="connsiteX0" fmla="*/ 0 w 10000"/>
              <a:gd name="connsiteY0" fmla="*/ 75 h 9905"/>
              <a:gd name="connsiteX1" fmla="*/ 841 w 10000"/>
              <a:gd name="connsiteY1" fmla="*/ 17 h 9905"/>
              <a:gd name="connsiteX2" fmla="*/ 907 w 10000"/>
              <a:gd name="connsiteY2" fmla="*/ 596 h 9905"/>
              <a:gd name="connsiteX3" fmla="*/ 907 w 10000"/>
              <a:gd name="connsiteY3" fmla="*/ 9326 h 9905"/>
              <a:gd name="connsiteX4" fmla="*/ 974 w 10000"/>
              <a:gd name="connsiteY4" fmla="*/ 9905 h 9905"/>
              <a:gd name="connsiteX5" fmla="*/ 4534 w 10000"/>
              <a:gd name="connsiteY5" fmla="*/ 9905 h 9905"/>
              <a:gd name="connsiteX6" fmla="*/ 4602 w 10000"/>
              <a:gd name="connsiteY6" fmla="*/ 9326 h 9905"/>
              <a:gd name="connsiteX7" fmla="*/ 4602 w 10000"/>
              <a:gd name="connsiteY7" fmla="*/ 4280 h 9905"/>
              <a:gd name="connsiteX8" fmla="*/ 4669 w 10000"/>
              <a:gd name="connsiteY8" fmla="*/ 3699 h 9905"/>
              <a:gd name="connsiteX9" fmla="*/ 8440 w 10000"/>
              <a:gd name="connsiteY9" fmla="*/ 3699 h 9905"/>
              <a:gd name="connsiteX10" fmla="*/ 8506 w 10000"/>
              <a:gd name="connsiteY10" fmla="*/ 4280 h 9905"/>
              <a:gd name="connsiteX11" fmla="*/ 8506 w 10000"/>
              <a:gd name="connsiteY11" fmla="*/ 6243 h 9905"/>
              <a:gd name="connsiteX12" fmla="*/ 8569 w 10000"/>
              <a:gd name="connsiteY12" fmla="*/ 6823 h 9905"/>
              <a:gd name="connsiteX13" fmla="*/ 9934 w 10000"/>
              <a:gd name="connsiteY13" fmla="*/ 6823 h 9905"/>
              <a:gd name="connsiteX14" fmla="*/ 10000 w 10000"/>
              <a:gd name="connsiteY14" fmla="*/ 6243 h 9905"/>
              <a:gd name="connsiteX0" fmla="*/ 0 w 10000"/>
              <a:gd name="connsiteY0" fmla="*/ 59 h 9983"/>
              <a:gd name="connsiteX1" fmla="*/ 841 w 10000"/>
              <a:gd name="connsiteY1" fmla="*/ 0 h 9983"/>
              <a:gd name="connsiteX2" fmla="*/ 907 w 10000"/>
              <a:gd name="connsiteY2" fmla="*/ 585 h 9983"/>
              <a:gd name="connsiteX3" fmla="*/ 907 w 10000"/>
              <a:gd name="connsiteY3" fmla="*/ 9398 h 9983"/>
              <a:gd name="connsiteX4" fmla="*/ 974 w 10000"/>
              <a:gd name="connsiteY4" fmla="*/ 9983 h 9983"/>
              <a:gd name="connsiteX5" fmla="*/ 4534 w 10000"/>
              <a:gd name="connsiteY5" fmla="*/ 9983 h 9983"/>
              <a:gd name="connsiteX6" fmla="*/ 4602 w 10000"/>
              <a:gd name="connsiteY6" fmla="*/ 9398 h 9983"/>
              <a:gd name="connsiteX7" fmla="*/ 4602 w 10000"/>
              <a:gd name="connsiteY7" fmla="*/ 4304 h 9983"/>
              <a:gd name="connsiteX8" fmla="*/ 4669 w 10000"/>
              <a:gd name="connsiteY8" fmla="*/ 3717 h 9983"/>
              <a:gd name="connsiteX9" fmla="*/ 8440 w 10000"/>
              <a:gd name="connsiteY9" fmla="*/ 3717 h 9983"/>
              <a:gd name="connsiteX10" fmla="*/ 8506 w 10000"/>
              <a:gd name="connsiteY10" fmla="*/ 4304 h 9983"/>
              <a:gd name="connsiteX11" fmla="*/ 8506 w 10000"/>
              <a:gd name="connsiteY11" fmla="*/ 6286 h 9983"/>
              <a:gd name="connsiteX12" fmla="*/ 8569 w 10000"/>
              <a:gd name="connsiteY12" fmla="*/ 6871 h 9983"/>
              <a:gd name="connsiteX13" fmla="*/ 9934 w 10000"/>
              <a:gd name="connsiteY13" fmla="*/ 6871 h 9983"/>
              <a:gd name="connsiteX14" fmla="*/ 10000 w 10000"/>
              <a:gd name="connsiteY14" fmla="*/ 6286 h 9983"/>
              <a:gd name="connsiteX0" fmla="*/ 0 w 10003"/>
              <a:gd name="connsiteY0" fmla="*/ 0 h 10029"/>
              <a:gd name="connsiteX1" fmla="*/ 844 w 10003"/>
              <a:gd name="connsiteY1" fmla="*/ 29 h 10029"/>
              <a:gd name="connsiteX2" fmla="*/ 910 w 10003"/>
              <a:gd name="connsiteY2" fmla="*/ 615 h 10029"/>
              <a:gd name="connsiteX3" fmla="*/ 910 w 10003"/>
              <a:gd name="connsiteY3" fmla="*/ 9443 h 10029"/>
              <a:gd name="connsiteX4" fmla="*/ 977 w 10003"/>
              <a:gd name="connsiteY4" fmla="*/ 10029 h 10029"/>
              <a:gd name="connsiteX5" fmla="*/ 4537 w 10003"/>
              <a:gd name="connsiteY5" fmla="*/ 10029 h 10029"/>
              <a:gd name="connsiteX6" fmla="*/ 4605 w 10003"/>
              <a:gd name="connsiteY6" fmla="*/ 9443 h 10029"/>
              <a:gd name="connsiteX7" fmla="*/ 4605 w 10003"/>
              <a:gd name="connsiteY7" fmla="*/ 4340 h 10029"/>
              <a:gd name="connsiteX8" fmla="*/ 4672 w 10003"/>
              <a:gd name="connsiteY8" fmla="*/ 3752 h 10029"/>
              <a:gd name="connsiteX9" fmla="*/ 8443 w 10003"/>
              <a:gd name="connsiteY9" fmla="*/ 3752 h 10029"/>
              <a:gd name="connsiteX10" fmla="*/ 8509 w 10003"/>
              <a:gd name="connsiteY10" fmla="*/ 4340 h 10029"/>
              <a:gd name="connsiteX11" fmla="*/ 8509 w 10003"/>
              <a:gd name="connsiteY11" fmla="*/ 6326 h 10029"/>
              <a:gd name="connsiteX12" fmla="*/ 8572 w 10003"/>
              <a:gd name="connsiteY12" fmla="*/ 6912 h 10029"/>
              <a:gd name="connsiteX13" fmla="*/ 9937 w 10003"/>
              <a:gd name="connsiteY13" fmla="*/ 6912 h 10029"/>
              <a:gd name="connsiteX14" fmla="*/ 10003 w 10003"/>
              <a:gd name="connsiteY14" fmla="*/ 6326 h 10029"/>
              <a:gd name="connsiteX0" fmla="*/ 0 w 10003"/>
              <a:gd name="connsiteY0" fmla="*/ 59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0 h 10029"/>
              <a:gd name="connsiteX1" fmla="*/ 844 w 10003"/>
              <a:gd name="connsiteY1" fmla="*/ 29 h 10029"/>
              <a:gd name="connsiteX2" fmla="*/ 910 w 10003"/>
              <a:gd name="connsiteY2" fmla="*/ 615 h 10029"/>
              <a:gd name="connsiteX3" fmla="*/ 910 w 10003"/>
              <a:gd name="connsiteY3" fmla="*/ 9443 h 10029"/>
              <a:gd name="connsiteX4" fmla="*/ 977 w 10003"/>
              <a:gd name="connsiteY4" fmla="*/ 10029 h 10029"/>
              <a:gd name="connsiteX5" fmla="*/ 4537 w 10003"/>
              <a:gd name="connsiteY5" fmla="*/ 10029 h 10029"/>
              <a:gd name="connsiteX6" fmla="*/ 4605 w 10003"/>
              <a:gd name="connsiteY6" fmla="*/ 9443 h 10029"/>
              <a:gd name="connsiteX7" fmla="*/ 4605 w 10003"/>
              <a:gd name="connsiteY7" fmla="*/ 4340 h 10029"/>
              <a:gd name="connsiteX8" fmla="*/ 4672 w 10003"/>
              <a:gd name="connsiteY8" fmla="*/ 3752 h 10029"/>
              <a:gd name="connsiteX9" fmla="*/ 8443 w 10003"/>
              <a:gd name="connsiteY9" fmla="*/ 3752 h 10029"/>
              <a:gd name="connsiteX10" fmla="*/ 8509 w 10003"/>
              <a:gd name="connsiteY10" fmla="*/ 4340 h 10029"/>
              <a:gd name="connsiteX11" fmla="*/ 8509 w 10003"/>
              <a:gd name="connsiteY11" fmla="*/ 6326 h 10029"/>
              <a:gd name="connsiteX12" fmla="*/ 8572 w 10003"/>
              <a:gd name="connsiteY12" fmla="*/ 6912 h 10029"/>
              <a:gd name="connsiteX13" fmla="*/ 9937 w 10003"/>
              <a:gd name="connsiteY13" fmla="*/ 6912 h 10029"/>
              <a:gd name="connsiteX14" fmla="*/ 10003 w 10003"/>
              <a:gd name="connsiteY14" fmla="*/ 6326 h 10029"/>
              <a:gd name="connsiteX0" fmla="*/ 0 w 10003"/>
              <a:gd name="connsiteY0" fmla="*/ 30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0 h 10029"/>
              <a:gd name="connsiteX1" fmla="*/ 844 w 10003"/>
              <a:gd name="connsiteY1" fmla="*/ 29 h 10029"/>
              <a:gd name="connsiteX2" fmla="*/ 910 w 10003"/>
              <a:gd name="connsiteY2" fmla="*/ 615 h 10029"/>
              <a:gd name="connsiteX3" fmla="*/ 910 w 10003"/>
              <a:gd name="connsiteY3" fmla="*/ 9443 h 10029"/>
              <a:gd name="connsiteX4" fmla="*/ 977 w 10003"/>
              <a:gd name="connsiteY4" fmla="*/ 10029 h 10029"/>
              <a:gd name="connsiteX5" fmla="*/ 4537 w 10003"/>
              <a:gd name="connsiteY5" fmla="*/ 10029 h 10029"/>
              <a:gd name="connsiteX6" fmla="*/ 4605 w 10003"/>
              <a:gd name="connsiteY6" fmla="*/ 9443 h 10029"/>
              <a:gd name="connsiteX7" fmla="*/ 4605 w 10003"/>
              <a:gd name="connsiteY7" fmla="*/ 4340 h 10029"/>
              <a:gd name="connsiteX8" fmla="*/ 4672 w 10003"/>
              <a:gd name="connsiteY8" fmla="*/ 3752 h 10029"/>
              <a:gd name="connsiteX9" fmla="*/ 8443 w 10003"/>
              <a:gd name="connsiteY9" fmla="*/ 3752 h 10029"/>
              <a:gd name="connsiteX10" fmla="*/ 8509 w 10003"/>
              <a:gd name="connsiteY10" fmla="*/ 4340 h 10029"/>
              <a:gd name="connsiteX11" fmla="*/ 8509 w 10003"/>
              <a:gd name="connsiteY11" fmla="*/ 6326 h 10029"/>
              <a:gd name="connsiteX12" fmla="*/ 8572 w 10003"/>
              <a:gd name="connsiteY12" fmla="*/ 6912 h 10029"/>
              <a:gd name="connsiteX13" fmla="*/ 9937 w 10003"/>
              <a:gd name="connsiteY13" fmla="*/ 6912 h 10029"/>
              <a:gd name="connsiteX14" fmla="*/ 10003 w 10003"/>
              <a:gd name="connsiteY14" fmla="*/ 6326 h 10029"/>
              <a:gd name="connsiteX0" fmla="*/ 0 w 10003"/>
              <a:gd name="connsiteY0" fmla="*/ 30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1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1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10003 w 10003"/>
              <a:gd name="connsiteY13" fmla="*/ 6297 h 10000"/>
              <a:gd name="connsiteX0" fmla="*/ 0 w 9498"/>
              <a:gd name="connsiteY0" fmla="*/ 1 h 10000"/>
              <a:gd name="connsiteX1" fmla="*/ 844 w 9498"/>
              <a:gd name="connsiteY1" fmla="*/ 0 h 10000"/>
              <a:gd name="connsiteX2" fmla="*/ 910 w 9498"/>
              <a:gd name="connsiteY2" fmla="*/ 586 h 10000"/>
              <a:gd name="connsiteX3" fmla="*/ 910 w 9498"/>
              <a:gd name="connsiteY3" fmla="*/ 9414 h 10000"/>
              <a:gd name="connsiteX4" fmla="*/ 977 w 9498"/>
              <a:gd name="connsiteY4" fmla="*/ 10000 h 10000"/>
              <a:gd name="connsiteX5" fmla="*/ 4537 w 9498"/>
              <a:gd name="connsiteY5" fmla="*/ 10000 h 10000"/>
              <a:gd name="connsiteX6" fmla="*/ 4605 w 9498"/>
              <a:gd name="connsiteY6" fmla="*/ 9414 h 10000"/>
              <a:gd name="connsiteX7" fmla="*/ 4605 w 9498"/>
              <a:gd name="connsiteY7" fmla="*/ 4311 h 10000"/>
              <a:gd name="connsiteX8" fmla="*/ 4672 w 9498"/>
              <a:gd name="connsiteY8" fmla="*/ 3723 h 10000"/>
              <a:gd name="connsiteX9" fmla="*/ 8443 w 9498"/>
              <a:gd name="connsiteY9" fmla="*/ 3723 h 10000"/>
              <a:gd name="connsiteX10" fmla="*/ 8509 w 9498"/>
              <a:gd name="connsiteY10" fmla="*/ 4311 h 10000"/>
              <a:gd name="connsiteX11" fmla="*/ 8509 w 9498"/>
              <a:gd name="connsiteY11" fmla="*/ 6297 h 10000"/>
              <a:gd name="connsiteX12" fmla="*/ 8572 w 9498"/>
              <a:gd name="connsiteY12" fmla="*/ 6883 h 10000"/>
              <a:gd name="connsiteX13" fmla="*/ 9498 w 9498"/>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49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1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1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1 w 10000"/>
              <a:gd name="connsiteY12" fmla="*/ 6861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27 h 10000"/>
              <a:gd name="connsiteX13" fmla="*/ 10000 w 10000"/>
              <a:gd name="connsiteY13" fmla="*/ 6912 h 10000"/>
              <a:gd name="connsiteX0" fmla="*/ 0 w 10029"/>
              <a:gd name="connsiteY0" fmla="*/ 1 h 10000"/>
              <a:gd name="connsiteX1" fmla="*/ 889 w 10029"/>
              <a:gd name="connsiteY1" fmla="*/ 0 h 10000"/>
              <a:gd name="connsiteX2" fmla="*/ 958 w 10029"/>
              <a:gd name="connsiteY2" fmla="*/ 586 h 10000"/>
              <a:gd name="connsiteX3" fmla="*/ 958 w 10029"/>
              <a:gd name="connsiteY3" fmla="*/ 9414 h 10000"/>
              <a:gd name="connsiteX4" fmla="*/ 1029 w 10029"/>
              <a:gd name="connsiteY4" fmla="*/ 10000 h 10000"/>
              <a:gd name="connsiteX5" fmla="*/ 4777 w 10029"/>
              <a:gd name="connsiteY5" fmla="*/ 10000 h 10000"/>
              <a:gd name="connsiteX6" fmla="*/ 4848 w 10029"/>
              <a:gd name="connsiteY6" fmla="*/ 9414 h 10000"/>
              <a:gd name="connsiteX7" fmla="*/ 4848 w 10029"/>
              <a:gd name="connsiteY7" fmla="*/ 4311 h 10000"/>
              <a:gd name="connsiteX8" fmla="*/ 4919 w 10029"/>
              <a:gd name="connsiteY8" fmla="*/ 3723 h 10000"/>
              <a:gd name="connsiteX9" fmla="*/ 8889 w 10029"/>
              <a:gd name="connsiteY9" fmla="*/ 3723 h 10000"/>
              <a:gd name="connsiteX10" fmla="*/ 8959 w 10029"/>
              <a:gd name="connsiteY10" fmla="*/ 4311 h 10000"/>
              <a:gd name="connsiteX11" fmla="*/ 8959 w 10029"/>
              <a:gd name="connsiteY11" fmla="*/ 6297 h 10000"/>
              <a:gd name="connsiteX12" fmla="*/ 9014 w 10029"/>
              <a:gd name="connsiteY12" fmla="*/ 6927 h 10000"/>
              <a:gd name="connsiteX13" fmla="*/ 10029 w 10029"/>
              <a:gd name="connsiteY13" fmla="*/ 6912 h 10000"/>
              <a:gd name="connsiteX0" fmla="*/ 0 w 10029"/>
              <a:gd name="connsiteY0" fmla="*/ 1 h 10000"/>
              <a:gd name="connsiteX1" fmla="*/ 889 w 10029"/>
              <a:gd name="connsiteY1" fmla="*/ 0 h 10000"/>
              <a:gd name="connsiteX2" fmla="*/ 958 w 10029"/>
              <a:gd name="connsiteY2" fmla="*/ 586 h 10000"/>
              <a:gd name="connsiteX3" fmla="*/ 958 w 10029"/>
              <a:gd name="connsiteY3" fmla="*/ 9414 h 10000"/>
              <a:gd name="connsiteX4" fmla="*/ 1029 w 10029"/>
              <a:gd name="connsiteY4" fmla="*/ 10000 h 10000"/>
              <a:gd name="connsiteX5" fmla="*/ 4777 w 10029"/>
              <a:gd name="connsiteY5" fmla="*/ 10000 h 10000"/>
              <a:gd name="connsiteX6" fmla="*/ 4848 w 10029"/>
              <a:gd name="connsiteY6" fmla="*/ 9414 h 10000"/>
              <a:gd name="connsiteX7" fmla="*/ 4848 w 10029"/>
              <a:gd name="connsiteY7" fmla="*/ 4311 h 10000"/>
              <a:gd name="connsiteX8" fmla="*/ 4919 w 10029"/>
              <a:gd name="connsiteY8" fmla="*/ 3723 h 10000"/>
              <a:gd name="connsiteX9" fmla="*/ 8889 w 10029"/>
              <a:gd name="connsiteY9" fmla="*/ 3723 h 10000"/>
              <a:gd name="connsiteX10" fmla="*/ 8959 w 10029"/>
              <a:gd name="connsiteY10" fmla="*/ 4311 h 10000"/>
              <a:gd name="connsiteX11" fmla="*/ 8959 w 10029"/>
              <a:gd name="connsiteY11" fmla="*/ 6297 h 10000"/>
              <a:gd name="connsiteX12" fmla="*/ 9014 w 10029"/>
              <a:gd name="connsiteY12" fmla="*/ 6927 h 10000"/>
              <a:gd name="connsiteX13" fmla="*/ 10029 w 10029"/>
              <a:gd name="connsiteY13" fmla="*/ 6912 h 10000"/>
              <a:gd name="connsiteX0" fmla="*/ 0 w 10063"/>
              <a:gd name="connsiteY0" fmla="*/ 1 h 10000"/>
              <a:gd name="connsiteX1" fmla="*/ 889 w 10063"/>
              <a:gd name="connsiteY1" fmla="*/ 0 h 10000"/>
              <a:gd name="connsiteX2" fmla="*/ 958 w 10063"/>
              <a:gd name="connsiteY2" fmla="*/ 586 h 10000"/>
              <a:gd name="connsiteX3" fmla="*/ 958 w 10063"/>
              <a:gd name="connsiteY3" fmla="*/ 9414 h 10000"/>
              <a:gd name="connsiteX4" fmla="*/ 1029 w 10063"/>
              <a:gd name="connsiteY4" fmla="*/ 10000 h 10000"/>
              <a:gd name="connsiteX5" fmla="*/ 4777 w 10063"/>
              <a:gd name="connsiteY5" fmla="*/ 10000 h 10000"/>
              <a:gd name="connsiteX6" fmla="*/ 4848 w 10063"/>
              <a:gd name="connsiteY6" fmla="*/ 9414 h 10000"/>
              <a:gd name="connsiteX7" fmla="*/ 4848 w 10063"/>
              <a:gd name="connsiteY7" fmla="*/ 4311 h 10000"/>
              <a:gd name="connsiteX8" fmla="*/ 4919 w 10063"/>
              <a:gd name="connsiteY8" fmla="*/ 3723 h 10000"/>
              <a:gd name="connsiteX9" fmla="*/ 8889 w 10063"/>
              <a:gd name="connsiteY9" fmla="*/ 3723 h 10000"/>
              <a:gd name="connsiteX10" fmla="*/ 8959 w 10063"/>
              <a:gd name="connsiteY10" fmla="*/ 4311 h 10000"/>
              <a:gd name="connsiteX11" fmla="*/ 8959 w 10063"/>
              <a:gd name="connsiteY11" fmla="*/ 6297 h 10000"/>
              <a:gd name="connsiteX12" fmla="*/ 9014 w 10063"/>
              <a:gd name="connsiteY12" fmla="*/ 6927 h 10000"/>
              <a:gd name="connsiteX13" fmla="*/ 10063 w 10063"/>
              <a:gd name="connsiteY13" fmla="*/ 6912 h 10000"/>
              <a:gd name="connsiteX0" fmla="*/ 0 w 9995"/>
              <a:gd name="connsiteY0" fmla="*/ 1 h 10000"/>
              <a:gd name="connsiteX1" fmla="*/ 889 w 9995"/>
              <a:gd name="connsiteY1" fmla="*/ 0 h 10000"/>
              <a:gd name="connsiteX2" fmla="*/ 958 w 9995"/>
              <a:gd name="connsiteY2" fmla="*/ 586 h 10000"/>
              <a:gd name="connsiteX3" fmla="*/ 958 w 9995"/>
              <a:gd name="connsiteY3" fmla="*/ 9414 h 10000"/>
              <a:gd name="connsiteX4" fmla="*/ 1029 w 9995"/>
              <a:gd name="connsiteY4" fmla="*/ 10000 h 10000"/>
              <a:gd name="connsiteX5" fmla="*/ 4777 w 9995"/>
              <a:gd name="connsiteY5" fmla="*/ 10000 h 10000"/>
              <a:gd name="connsiteX6" fmla="*/ 4848 w 9995"/>
              <a:gd name="connsiteY6" fmla="*/ 9414 h 10000"/>
              <a:gd name="connsiteX7" fmla="*/ 4848 w 9995"/>
              <a:gd name="connsiteY7" fmla="*/ 4311 h 10000"/>
              <a:gd name="connsiteX8" fmla="*/ 4919 w 9995"/>
              <a:gd name="connsiteY8" fmla="*/ 3723 h 10000"/>
              <a:gd name="connsiteX9" fmla="*/ 8889 w 9995"/>
              <a:gd name="connsiteY9" fmla="*/ 3723 h 10000"/>
              <a:gd name="connsiteX10" fmla="*/ 8959 w 9995"/>
              <a:gd name="connsiteY10" fmla="*/ 4311 h 10000"/>
              <a:gd name="connsiteX11" fmla="*/ 8959 w 9995"/>
              <a:gd name="connsiteY11" fmla="*/ 6297 h 10000"/>
              <a:gd name="connsiteX12" fmla="*/ 9014 w 9995"/>
              <a:gd name="connsiteY12" fmla="*/ 6927 h 10000"/>
              <a:gd name="connsiteX13" fmla="*/ 9995 w 9995"/>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78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34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22 w 10000"/>
              <a:gd name="connsiteY12" fmla="*/ 6949 h 10000"/>
              <a:gd name="connsiteX13" fmla="*/ 10000 w 10000"/>
              <a:gd name="connsiteY13" fmla="*/ 6934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49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7000 h 10000"/>
              <a:gd name="connsiteX0" fmla="*/ 0 w 10007"/>
              <a:gd name="connsiteY0" fmla="*/ 1 h 10000"/>
              <a:gd name="connsiteX1" fmla="*/ 889 w 10007"/>
              <a:gd name="connsiteY1" fmla="*/ 0 h 10000"/>
              <a:gd name="connsiteX2" fmla="*/ 958 w 10007"/>
              <a:gd name="connsiteY2" fmla="*/ 586 h 10000"/>
              <a:gd name="connsiteX3" fmla="*/ 958 w 10007"/>
              <a:gd name="connsiteY3" fmla="*/ 9414 h 10000"/>
              <a:gd name="connsiteX4" fmla="*/ 1030 w 10007"/>
              <a:gd name="connsiteY4" fmla="*/ 10000 h 10000"/>
              <a:gd name="connsiteX5" fmla="*/ 4779 w 10007"/>
              <a:gd name="connsiteY5" fmla="*/ 10000 h 10000"/>
              <a:gd name="connsiteX6" fmla="*/ 4850 w 10007"/>
              <a:gd name="connsiteY6" fmla="*/ 9414 h 10000"/>
              <a:gd name="connsiteX7" fmla="*/ 4850 w 10007"/>
              <a:gd name="connsiteY7" fmla="*/ 4311 h 10000"/>
              <a:gd name="connsiteX8" fmla="*/ 4921 w 10007"/>
              <a:gd name="connsiteY8" fmla="*/ 3723 h 10000"/>
              <a:gd name="connsiteX9" fmla="*/ 8893 w 10007"/>
              <a:gd name="connsiteY9" fmla="*/ 3723 h 10000"/>
              <a:gd name="connsiteX10" fmla="*/ 8963 w 10007"/>
              <a:gd name="connsiteY10" fmla="*/ 4311 h 10000"/>
              <a:gd name="connsiteX11" fmla="*/ 8963 w 10007"/>
              <a:gd name="connsiteY11" fmla="*/ 6297 h 10000"/>
              <a:gd name="connsiteX12" fmla="*/ 9022 w 10007"/>
              <a:gd name="connsiteY12" fmla="*/ 6971 h 10000"/>
              <a:gd name="connsiteX13" fmla="*/ 10007 w 10007"/>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7000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7000 h 10000"/>
              <a:gd name="connsiteX0" fmla="*/ 0 w 10013"/>
              <a:gd name="connsiteY0" fmla="*/ 1 h 10000"/>
              <a:gd name="connsiteX1" fmla="*/ 889 w 10013"/>
              <a:gd name="connsiteY1" fmla="*/ 0 h 10000"/>
              <a:gd name="connsiteX2" fmla="*/ 958 w 10013"/>
              <a:gd name="connsiteY2" fmla="*/ 586 h 10000"/>
              <a:gd name="connsiteX3" fmla="*/ 958 w 10013"/>
              <a:gd name="connsiteY3" fmla="*/ 9414 h 10000"/>
              <a:gd name="connsiteX4" fmla="*/ 1030 w 10013"/>
              <a:gd name="connsiteY4" fmla="*/ 10000 h 10000"/>
              <a:gd name="connsiteX5" fmla="*/ 4779 w 10013"/>
              <a:gd name="connsiteY5" fmla="*/ 10000 h 10000"/>
              <a:gd name="connsiteX6" fmla="*/ 4850 w 10013"/>
              <a:gd name="connsiteY6" fmla="*/ 9414 h 10000"/>
              <a:gd name="connsiteX7" fmla="*/ 4850 w 10013"/>
              <a:gd name="connsiteY7" fmla="*/ 4311 h 10000"/>
              <a:gd name="connsiteX8" fmla="*/ 4921 w 10013"/>
              <a:gd name="connsiteY8" fmla="*/ 3723 h 10000"/>
              <a:gd name="connsiteX9" fmla="*/ 8893 w 10013"/>
              <a:gd name="connsiteY9" fmla="*/ 3723 h 10000"/>
              <a:gd name="connsiteX10" fmla="*/ 8963 w 10013"/>
              <a:gd name="connsiteY10" fmla="*/ 4311 h 10000"/>
              <a:gd name="connsiteX11" fmla="*/ 8963 w 10013"/>
              <a:gd name="connsiteY11" fmla="*/ 6297 h 10000"/>
              <a:gd name="connsiteX12" fmla="*/ 9022 w 10013"/>
              <a:gd name="connsiteY12" fmla="*/ 6971 h 10000"/>
              <a:gd name="connsiteX13" fmla="*/ 10013 w 10013"/>
              <a:gd name="connsiteY13" fmla="*/ 6956 h 10000"/>
              <a:gd name="connsiteX0" fmla="*/ 0 w 10081"/>
              <a:gd name="connsiteY0" fmla="*/ 1 h 10000"/>
              <a:gd name="connsiteX1" fmla="*/ 889 w 10081"/>
              <a:gd name="connsiteY1" fmla="*/ 0 h 10000"/>
              <a:gd name="connsiteX2" fmla="*/ 958 w 10081"/>
              <a:gd name="connsiteY2" fmla="*/ 586 h 10000"/>
              <a:gd name="connsiteX3" fmla="*/ 958 w 10081"/>
              <a:gd name="connsiteY3" fmla="*/ 9414 h 10000"/>
              <a:gd name="connsiteX4" fmla="*/ 1030 w 10081"/>
              <a:gd name="connsiteY4" fmla="*/ 10000 h 10000"/>
              <a:gd name="connsiteX5" fmla="*/ 4779 w 10081"/>
              <a:gd name="connsiteY5" fmla="*/ 10000 h 10000"/>
              <a:gd name="connsiteX6" fmla="*/ 4850 w 10081"/>
              <a:gd name="connsiteY6" fmla="*/ 9414 h 10000"/>
              <a:gd name="connsiteX7" fmla="*/ 4850 w 10081"/>
              <a:gd name="connsiteY7" fmla="*/ 4311 h 10000"/>
              <a:gd name="connsiteX8" fmla="*/ 4921 w 10081"/>
              <a:gd name="connsiteY8" fmla="*/ 3723 h 10000"/>
              <a:gd name="connsiteX9" fmla="*/ 8893 w 10081"/>
              <a:gd name="connsiteY9" fmla="*/ 3723 h 10000"/>
              <a:gd name="connsiteX10" fmla="*/ 8963 w 10081"/>
              <a:gd name="connsiteY10" fmla="*/ 4311 h 10000"/>
              <a:gd name="connsiteX11" fmla="*/ 8963 w 10081"/>
              <a:gd name="connsiteY11" fmla="*/ 6297 h 10000"/>
              <a:gd name="connsiteX12" fmla="*/ 9022 w 10081"/>
              <a:gd name="connsiteY12" fmla="*/ 6971 h 10000"/>
              <a:gd name="connsiteX13" fmla="*/ 10081 w 10081"/>
              <a:gd name="connsiteY13" fmla="*/ 6978 h 10000"/>
              <a:gd name="connsiteX0" fmla="*/ 0 w 10089"/>
              <a:gd name="connsiteY0" fmla="*/ 1 h 10000"/>
              <a:gd name="connsiteX1" fmla="*/ 889 w 10089"/>
              <a:gd name="connsiteY1" fmla="*/ 0 h 10000"/>
              <a:gd name="connsiteX2" fmla="*/ 958 w 10089"/>
              <a:gd name="connsiteY2" fmla="*/ 586 h 10000"/>
              <a:gd name="connsiteX3" fmla="*/ 958 w 10089"/>
              <a:gd name="connsiteY3" fmla="*/ 9414 h 10000"/>
              <a:gd name="connsiteX4" fmla="*/ 1030 w 10089"/>
              <a:gd name="connsiteY4" fmla="*/ 10000 h 10000"/>
              <a:gd name="connsiteX5" fmla="*/ 4779 w 10089"/>
              <a:gd name="connsiteY5" fmla="*/ 10000 h 10000"/>
              <a:gd name="connsiteX6" fmla="*/ 4850 w 10089"/>
              <a:gd name="connsiteY6" fmla="*/ 9414 h 10000"/>
              <a:gd name="connsiteX7" fmla="*/ 4850 w 10089"/>
              <a:gd name="connsiteY7" fmla="*/ 4311 h 10000"/>
              <a:gd name="connsiteX8" fmla="*/ 4921 w 10089"/>
              <a:gd name="connsiteY8" fmla="*/ 3723 h 10000"/>
              <a:gd name="connsiteX9" fmla="*/ 8893 w 10089"/>
              <a:gd name="connsiteY9" fmla="*/ 3723 h 10000"/>
              <a:gd name="connsiteX10" fmla="*/ 8963 w 10089"/>
              <a:gd name="connsiteY10" fmla="*/ 4311 h 10000"/>
              <a:gd name="connsiteX11" fmla="*/ 8963 w 10089"/>
              <a:gd name="connsiteY11" fmla="*/ 6297 h 10000"/>
              <a:gd name="connsiteX12" fmla="*/ 9022 w 10089"/>
              <a:gd name="connsiteY12" fmla="*/ 6971 h 10000"/>
              <a:gd name="connsiteX13" fmla="*/ 10089 w 10089"/>
              <a:gd name="connsiteY13" fmla="*/ 6956 h 10000"/>
              <a:gd name="connsiteX0" fmla="*/ 0 w 10092"/>
              <a:gd name="connsiteY0" fmla="*/ 1 h 10000"/>
              <a:gd name="connsiteX1" fmla="*/ 889 w 10092"/>
              <a:gd name="connsiteY1" fmla="*/ 0 h 10000"/>
              <a:gd name="connsiteX2" fmla="*/ 958 w 10092"/>
              <a:gd name="connsiteY2" fmla="*/ 586 h 10000"/>
              <a:gd name="connsiteX3" fmla="*/ 958 w 10092"/>
              <a:gd name="connsiteY3" fmla="*/ 9414 h 10000"/>
              <a:gd name="connsiteX4" fmla="*/ 1030 w 10092"/>
              <a:gd name="connsiteY4" fmla="*/ 10000 h 10000"/>
              <a:gd name="connsiteX5" fmla="*/ 4779 w 10092"/>
              <a:gd name="connsiteY5" fmla="*/ 10000 h 10000"/>
              <a:gd name="connsiteX6" fmla="*/ 4850 w 10092"/>
              <a:gd name="connsiteY6" fmla="*/ 9414 h 10000"/>
              <a:gd name="connsiteX7" fmla="*/ 4850 w 10092"/>
              <a:gd name="connsiteY7" fmla="*/ 4311 h 10000"/>
              <a:gd name="connsiteX8" fmla="*/ 4921 w 10092"/>
              <a:gd name="connsiteY8" fmla="*/ 3723 h 10000"/>
              <a:gd name="connsiteX9" fmla="*/ 8893 w 10092"/>
              <a:gd name="connsiteY9" fmla="*/ 3723 h 10000"/>
              <a:gd name="connsiteX10" fmla="*/ 8963 w 10092"/>
              <a:gd name="connsiteY10" fmla="*/ 4311 h 10000"/>
              <a:gd name="connsiteX11" fmla="*/ 8963 w 10092"/>
              <a:gd name="connsiteY11" fmla="*/ 6297 h 10000"/>
              <a:gd name="connsiteX12" fmla="*/ 9022 w 10092"/>
              <a:gd name="connsiteY12" fmla="*/ 6971 h 10000"/>
              <a:gd name="connsiteX13" fmla="*/ 10092 w 10092"/>
              <a:gd name="connsiteY13" fmla="*/ 6978 h 10000"/>
              <a:gd name="connsiteX0" fmla="*/ 0 w 10095"/>
              <a:gd name="connsiteY0" fmla="*/ 1 h 10000"/>
              <a:gd name="connsiteX1" fmla="*/ 889 w 10095"/>
              <a:gd name="connsiteY1" fmla="*/ 0 h 10000"/>
              <a:gd name="connsiteX2" fmla="*/ 958 w 10095"/>
              <a:gd name="connsiteY2" fmla="*/ 586 h 10000"/>
              <a:gd name="connsiteX3" fmla="*/ 958 w 10095"/>
              <a:gd name="connsiteY3" fmla="*/ 9414 h 10000"/>
              <a:gd name="connsiteX4" fmla="*/ 1030 w 10095"/>
              <a:gd name="connsiteY4" fmla="*/ 10000 h 10000"/>
              <a:gd name="connsiteX5" fmla="*/ 4779 w 10095"/>
              <a:gd name="connsiteY5" fmla="*/ 10000 h 10000"/>
              <a:gd name="connsiteX6" fmla="*/ 4850 w 10095"/>
              <a:gd name="connsiteY6" fmla="*/ 9414 h 10000"/>
              <a:gd name="connsiteX7" fmla="*/ 4850 w 10095"/>
              <a:gd name="connsiteY7" fmla="*/ 4311 h 10000"/>
              <a:gd name="connsiteX8" fmla="*/ 4921 w 10095"/>
              <a:gd name="connsiteY8" fmla="*/ 3723 h 10000"/>
              <a:gd name="connsiteX9" fmla="*/ 8893 w 10095"/>
              <a:gd name="connsiteY9" fmla="*/ 3723 h 10000"/>
              <a:gd name="connsiteX10" fmla="*/ 8963 w 10095"/>
              <a:gd name="connsiteY10" fmla="*/ 4311 h 10000"/>
              <a:gd name="connsiteX11" fmla="*/ 8963 w 10095"/>
              <a:gd name="connsiteY11" fmla="*/ 6297 h 10000"/>
              <a:gd name="connsiteX12" fmla="*/ 9022 w 10095"/>
              <a:gd name="connsiteY12" fmla="*/ 6971 h 10000"/>
              <a:gd name="connsiteX13" fmla="*/ 10095 w 10095"/>
              <a:gd name="connsiteY13" fmla="*/ 6978 h 10000"/>
              <a:gd name="connsiteX0" fmla="*/ 0 w 10095"/>
              <a:gd name="connsiteY0" fmla="*/ 1 h 10000"/>
              <a:gd name="connsiteX1" fmla="*/ 889 w 10095"/>
              <a:gd name="connsiteY1" fmla="*/ 0 h 10000"/>
              <a:gd name="connsiteX2" fmla="*/ 958 w 10095"/>
              <a:gd name="connsiteY2" fmla="*/ 586 h 10000"/>
              <a:gd name="connsiteX3" fmla="*/ 958 w 10095"/>
              <a:gd name="connsiteY3" fmla="*/ 9414 h 10000"/>
              <a:gd name="connsiteX4" fmla="*/ 1030 w 10095"/>
              <a:gd name="connsiteY4" fmla="*/ 10000 h 10000"/>
              <a:gd name="connsiteX5" fmla="*/ 4779 w 10095"/>
              <a:gd name="connsiteY5" fmla="*/ 10000 h 10000"/>
              <a:gd name="connsiteX6" fmla="*/ 4850 w 10095"/>
              <a:gd name="connsiteY6" fmla="*/ 9414 h 10000"/>
              <a:gd name="connsiteX7" fmla="*/ 4850 w 10095"/>
              <a:gd name="connsiteY7" fmla="*/ 4311 h 10000"/>
              <a:gd name="connsiteX8" fmla="*/ 4921 w 10095"/>
              <a:gd name="connsiteY8" fmla="*/ 3723 h 10000"/>
              <a:gd name="connsiteX9" fmla="*/ 8893 w 10095"/>
              <a:gd name="connsiteY9" fmla="*/ 3723 h 10000"/>
              <a:gd name="connsiteX10" fmla="*/ 8963 w 10095"/>
              <a:gd name="connsiteY10" fmla="*/ 4311 h 10000"/>
              <a:gd name="connsiteX11" fmla="*/ 8963 w 10095"/>
              <a:gd name="connsiteY11" fmla="*/ 6297 h 10000"/>
              <a:gd name="connsiteX12" fmla="*/ 9022 w 10095"/>
              <a:gd name="connsiteY12" fmla="*/ 6971 h 10000"/>
              <a:gd name="connsiteX13" fmla="*/ 10095 w 10095"/>
              <a:gd name="connsiteY13" fmla="*/ 6978 h 10000"/>
              <a:gd name="connsiteX0" fmla="*/ 0 w 10095"/>
              <a:gd name="connsiteY0" fmla="*/ 1 h 10000"/>
              <a:gd name="connsiteX1" fmla="*/ 889 w 10095"/>
              <a:gd name="connsiteY1" fmla="*/ 0 h 10000"/>
              <a:gd name="connsiteX2" fmla="*/ 958 w 10095"/>
              <a:gd name="connsiteY2" fmla="*/ 586 h 10000"/>
              <a:gd name="connsiteX3" fmla="*/ 958 w 10095"/>
              <a:gd name="connsiteY3" fmla="*/ 9414 h 10000"/>
              <a:gd name="connsiteX4" fmla="*/ 1030 w 10095"/>
              <a:gd name="connsiteY4" fmla="*/ 10000 h 10000"/>
              <a:gd name="connsiteX5" fmla="*/ 4779 w 10095"/>
              <a:gd name="connsiteY5" fmla="*/ 10000 h 10000"/>
              <a:gd name="connsiteX6" fmla="*/ 4850 w 10095"/>
              <a:gd name="connsiteY6" fmla="*/ 9414 h 10000"/>
              <a:gd name="connsiteX7" fmla="*/ 4850 w 10095"/>
              <a:gd name="connsiteY7" fmla="*/ 4311 h 10000"/>
              <a:gd name="connsiteX8" fmla="*/ 4921 w 10095"/>
              <a:gd name="connsiteY8" fmla="*/ 3723 h 10000"/>
              <a:gd name="connsiteX9" fmla="*/ 8893 w 10095"/>
              <a:gd name="connsiteY9" fmla="*/ 3723 h 10000"/>
              <a:gd name="connsiteX10" fmla="*/ 8963 w 10095"/>
              <a:gd name="connsiteY10" fmla="*/ 4311 h 10000"/>
              <a:gd name="connsiteX11" fmla="*/ 8963 w 10095"/>
              <a:gd name="connsiteY11" fmla="*/ 6297 h 10000"/>
              <a:gd name="connsiteX12" fmla="*/ 9022 w 10095"/>
              <a:gd name="connsiteY12" fmla="*/ 6971 h 10000"/>
              <a:gd name="connsiteX13" fmla="*/ 10095 w 10095"/>
              <a:gd name="connsiteY13" fmla="*/ 6912 h 10000"/>
              <a:gd name="connsiteX0" fmla="*/ 0 w 10105"/>
              <a:gd name="connsiteY0" fmla="*/ 1 h 10000"/>
              <a:gd name="connsiteX1" fmla="*/ 889 w 10105"/>
              <a:gd name="connsiteY1" fmla="*/ 0 h 10000"/>
              <a:gd name="connsiteX2" fmla="*/ 958 w 10105"/>
              <a:gd name="connsiteY2" fmla="*/ 586 h 10000"/>
              <a:gd name="connsiteX3" fmla="*/ 958 w 10105"/>
              <a:gd name="connsiteY3" fmla="*/ 9414 h 10000"/>
              <a:gd name="connsiteX4" fmla="*/ 1030 w 10105"/>
              <a:gd name="connsiteY4" fmla="*/ 10000 h 10000"/>
              <a:gd name="connsiteX5" fmla="*/ 4779 w 10105"/>
              <a:gd name="connsiteY5" fmla="*/ 10000 h 10000"/>
              <a:gd name="connsiteX6" fmla="*/ 4850 w 10105"/>
              <a:gd name="connsiteY6" fmla="*/ 9414 h 10000"/>
              <a:gd name="connsiteX7" fmla="*/ 4850 w 10105"/>
              <a:gd name="connsiteY7" fmla="*/ 4311 h 10000"/>
              <a:gd name="connsiteX8" fmla="*/ 4921 w 10105"/>
              <a:gd name="connsiteY8" fmla="*/ 3723 h 10000"/>
              <a:gd name="connsiteX9" fmla="*/ 8893 w 10105"/>
              <a:gd name="connsiteY9" fmla="*/ 3723 h 10000"/>
              <a:gd name="connsiteX10" fmla="*/ 8963 w 10105"/>
              <a:gd name="connsiteY10" fmla="*/ 4311 h 10000"/>
              <a:gd name="connsiteX11" fmla="*/ 8963 w 10105"/>
              <a:gd name="connsiteY11" fmla="*/ 6297 h 10000"/>
              <a:gd name="connsiteX12" fmla="*/ 9022 w 10105"/>
              <a:gd name="connsiteY12" fmla="*/ 6971 h 10000"/>
              <a:gd name="connsiteX13" fmla="*/ 10105 w 10105"/>
              <a:gd name="connsiteY13" fmla="*/ 6978 h 10000"/>
              <a:gd name="connsiteX0" fmla="*/ 0 w 10105"/>
              <a:gd name="connsiteY0" fmla="*/ 1 h 10000"/>
              <a:gd name="connsiteX1" fmla="*/ 889 w 10105"/>
              <a:gd name="connsiteY1" fmla="*/ 0 h 10000"/>
              <a:gd name="connsiteX2" fmla="*/ 958 w 10105"/>
              <a:gd name="connsiteY2" fmla="*/ 586 h 10000"/>
              <a:gd name="connsiteX3" fmla="*/ 958 w 10105"/>
              <a:gd name="connsiteY3" fmla="*/ 9414 h 10000"/>
              <a:gd name="connsiteX4" fmla="*/ 1030 w 10105"/>
              <a:gd name="connsiteY4" fmla="*/ 10000 h 10000"/>
              <a:gd name="connsiteX5" fmla="*/ 4779 w 10105"/>
              <a:gd name="connsiteY5" fmla="*/ 10000 h 10000"/>
              <a:gd name="connsiteX6" fmla="*/ 4850 w 10105"/>
              <a:gd name="connsiteY6" fmla="*/ 9414 h 10000"/>
              <a:gd name="connsiteX7" fmla="*/ 4850 w 10105"/>
              <a:gd name="connsiteY7" fmla="*/ 4311 h 10000"/>
              <a:gd name="connsiteX8" fmla="*/ 4921 w 10105"/>
              <a:gd name="connsiteY8" fmla="*/ 3723 h 10000"/>
              <a:gd name="connsiteX9" fmla="*/ 8893 w 10105"/>
              <a:gd name="connsiteY9" fmla="*/ 3723 h 10000"/>
              <a:gd name="connsiteX10" fmla="*/ 8963 w 10105"/>
              <a:gd name="connsiteY10" fmla="*/ 4311 h 10000"/>
              <a:gd name="connsiteX11" fmla="*/ 8963 w 10105"/>
              <a:gd name="connsiteY11" fmla="*/ 6297 h 10000"/>
              <a:gd name="connsiteX12" fmla="*/ 9022 w 10105"/>
              <a:gd name="connsiteY12" fmla="*/ 6971 h 10000"/>
              <a:gd name="connsiteX13" fmla="*/ 10105 w 10105"/>
              <a:gd name="connsiteY13" fmla="*/ 6978 h 10000"/>
              <a:gd name="connsiteX0" fmla="*/ 0 w 10105"/>
              <a:gd name="connsiteY0" fmla="*/ 1 h 10000"/>
              <a:gd name="connsiteX1" fmla="*/ 889 w 10105"/>
              <a:gd name="connsiteY1" fmla="*/ 0 h 10000"/>
              <a:gd name="connsiteX2" fmla="*/ 958 w 10105"/>
              <a:gd name="connsiteY2" fmla="*/ 586 h 10000"/>
              <a:gd name="connsiteX3" fmla="*/ 958 w 10105"/>
              <a:gd name="connsiteY3" fmla="*/ 9414 h 10000"/>
              <a:gd name="connsiteX4" fmla="*/ 1030 w 10105"/>
              <a:gd name="connsiteY4" fmla="*/ 10000 h 10000"/>
              <a:gd name="connsiteX5" fmla="*/ 4779 w 10105"/>
              <a:gd name="connsiteY5" fmla="*/ 10000 h 10000"/>
              <a:gd name="connsiteX6" fmla="*/ 4850 w 10105"/>
              <a:gd name="connsiteY6" fmla="*/ 9414 h 10000"/>
              <a:gd name="connsiteX7" fmla="*/ 4850 w 10105"/>
              <a:gd name="connsiteY7" fmla="*/ 4311 h 10000"/>
              <a:gd name="connsiteX8" fmla="*/ 4921 w 10105"/>
              <a:gd name="connsiteY8" fmla="*/ 3723 h 10000"/>
              <a:gd name="connsiteX9" fmla="*/ 8893 w 10105"/>
              <a:gd name="connsiteY9" fmla="*/ 3723 h 10000"/>
              <a:gd name="connsiteX10" fmla="*/ 8963 w 10105"/>
              <a:gd name="connsiteY10" fmla="*/ 4311 h 10000"/>
              <a:gd name="connsiteX11" fmla="*/ 8963 w 10105"/>
              <a:gd name="connsiteY11" fmla="*/ 6297 h 10000"/>
              <a:gd name="connsiteX12" fmla="*/ 9022 w 10105"/>
              <a:gd name="connsiteY12" fmla="*/ 6971 h 10000"/>
              <a:gd name="connsiteX13" fmla="*/ 10105 w 10105"/>
              <a:gd name="connsiteY13" fmla="*/ 6978 h 10000"/>
              <a:gd name="connsiteX0" fmla="*/ 0 w 10131"/>
              <a:gd name="connsiteY0" fmla="*/ 1 h 10000"/>
              <a:gd name="connsiteX1" fmla="*/ 889 w 10131"/>
              <a:gd name="connsiteY1" fmla="*/ 0 h 10000"/>
              <a:gd name="connsiteX2" fmla="*/ 958 w 10131"/>
              <a:gd name="connsiteY2" fmla="*/ 586 h 10000"/>
              <a:gd name="connsiteX3" fmla="*/ 958 w 10131"/>
              <a:gd name="connsiteY3" fmla="*/ 9414 h 10000"/>
              <a:gd name="connsiteX4" fmla="*/ 1030 w 10131"/>
              <a:gd name="connsiteY4" fmla="*/ 10000 h 10000"/>
              <a:gd name="connsiteX5" fmla="*/ 4779 w 10131"/>
              <a:gd name="connsiteY5" fmla="*/ 10000 h 10000"/>
              <a:gd name="connsiteX6" fmla="*/ 4850 w 10131"/>
              <a:gd name="connsiteY6" fmla="*/ 9414 h 10000"/>
              <a:gd name="connsiteX7" fmla="*/ 4850 w 10131"/>
              <a:gd name="connsiteY7" fmla="*/ 4311 h 10000"/>
              <a:gd name="connsiteX8" fmla="*/ 4921 w 10131"/>
              <a:gd name="connsiteY8" fmla="*/ 3723 h 10000"/>
              <a:gd name="connsiteX9" fmla="*/ 8893 w 10131"/>
              <a:gd name="connsiteY9" fmla="*/ 3723 h 10000"/>
              <a:gd name="connsiteX10" fmla="*/ 8963 w 10131"/>
              <a:gd name="connsiteY10" fmla="*/ 4311 h 10000"/>
              <a:gd name="connsiteX11" fmla="*/ 8963 w 10131"/>
              <a:gd name="connsiteY11" fmla="*/ 6297 h 10000"/>
              <a:gd name="connsiteX12" fmla="*/ 9022 w 10131"/>
              <a:gd name="connsiteY12" fmla="*/ 6971 h 10000"/>
              <a:gd name="connsiteX13" fmla="*/ 10131 w 10131"/>
              <a:gd name="connsiteY13" fmla="*/ 6978 h 10000"/>
              <a:gd name="connsiteX0" fmla="*/ 0 w 9996"/>
              <a:gd name="connsiteY0" fmla="*/ 1 h 10000"/>
              <a:gd name="connsiteX1" fmla="*/ 889 w 9996"/>
              <a:gd name="connsiteY1" fmla="*/ 0 h 10000"/>
              <a:gd name="connsiteX2" fmla="*/ 958 w 9996"/>
              <a:gd name="connsiteY2" fmla="*/ 586 h 10000"/>
              <a:gd name="connsiteX3" fmla="*/ 958 w 9996"/>
              <a:gd name="connsiteY3" fmla="*/ 9414 h 10000"/>
              <a:gd name="connsiteX4" fmla="*/ 1030 w 9996"/>
              <a:gd name="connsiteY4" fmla="*/ 10000 h 10000"/>
              <a:gd name="connsiteX5" fmla="*/ 4779 w 9996"/>
              <a:gd name="connsiteY5" fmla="*/ 10000 h 10000"/>
              <a:gd name="connsiteX6" fmla="*/ 4850 w 9996"/>
              <a:gd name="connsiteY6" fmla="*/ 9414 h 10000"/>
              <a:gd name="connsiteX7" fmla="*/ 4850 w 9996"/>
              <a:gd name="connsiteY7" fmla="*/ 4311 h 10000"/>
              <a:gd name="connsiteX8" fmla="*/ 4921 w 9996"/>
              <a:gd name="connsiteY8" fmla="*/ 3723 h 10000"/>
              <a:gd name="connsiteX9" fmla="*/ 8893 w 9996"/>
              <a:gd name="connsiteY9" fmla="*/ 3723 h 10000"/>
              <a:gd name="connsiteX10" fmla="*/ 8963 w 9996"/>
              <a:gd name="connsiteY10" fmla="*/ 4311 h 10000"/>
              <a:gd name="connsiteX11" fmla="*/ 8963 w 9996"/>
              <a:gd name="connsiteY11" fmla="*/ 6297 h 10000"/>
              <a:gd name="connsiteX12" fmla="*/ 9022 w 9996"/>
              <a:gd name="connsiteY12" fmla="*/ 6971 h 10000"/>
              <a:gd name="connsiteX13" fmla="*/ 9996 w 9996"/>
              <a:gd name="connsiteY13" fmla="*/ 6978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996" h="10000">
                <a:moveTo>
                  <a:pt x="0" y="1"/>
                </a:moveTo>
                <a:lnTo>
                  <a:pt x="889" y="0"/>
                </a:lnTo>
                <a:cubicBezTo>
                  <a:pt x="924" y="0"/>
                  <a:pt x="958" y="272"/>
                  <a:pt x="958" y="586"/>
                </a:cubicBezTo>
                <a:lnTo>
                  <a:pt x="958" y="9414"/>
                </a:lnTo>
                <a:cubicBezTo>
                  <a:pt x="958" y="9750"/>
                  <a:pt x="989" y="10000"/>
                  <a:pt x="1030" y="10000"/>
                </a:cubicBezTo>
                <a:lnTo>
                  <a:pt x="4779" y="10000"/>
                </a:lnTo>
                <a:cubicBezTo>
                  <a:pt x="4818" y="10000"/>
                  <a:pt x="4850" y="9750"/>
                  <a:pt x="4850" y="9414"/>
                </a:cubicBezTo>
                <a:lnTo>
                  <a:pt x="4850" y="4311"/>
                </a:lnTo>
                <a:cubicBezTo>
                  <a:pt x="4850" y="3996"/>
                  <a:pt x="4883" y="3723"/>
                  <a:pt x="4921" y="3723"/>
                </a:cubicBezTo>
                <a:lnTo>
                  <a:pt x="8893" y="3723"/>
                </a:lnTo>
                <a:cubicBezTo>
                  <a:pt x="8932" y="3723"/>
                  <a:pt x="8963" y="3996"/>
                  <a:pt x="8963" y="4311"/>
                </a:cubicBezTo>
                <a:lnTo>
                  <a:pt x="8963" y="6297"/>
                </a:lnTo>
                <a:cubicBezTo>
                  <a:pt x="8963" y="6633"/>
                  <a:pt x="8986" y="6971"/>
                  <a:pt x="9022" y="6971"/>
                </a:cubicBezTo>
                <a:cubicBezTo>
                  <a:pt x="9669" y="6959"/>
                  <a:pt x="9686" y="6968"/>
                  <a:pt x="9996" y="6978"/>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Freeform 11"/>
          <p:cNvSpPr>
            <a:spLocks/>
          </p:cNvSpPr>
          <p:nvPr/>
        </p:nvSpPr>
        <p:spPr bwMode="gray">
          <a:xfrm>
            <a:off x="-4979" y="4336985"/>
            <a:ext cx="9147342" cy="1757619"/>
          </a:xfrm>
          <a:custGeom>
            <a:avLst/>
            <a:gdLst>
              <a:gd name="T0" fmla="*/ 0 w 8479"/>
              <a:gd name="T1" fmla="*/ 772 h 894"/>
              <a:gd name="T2" fmla="*/ 1132 w 8479"/>
              <a:gd name="T3" fmla="*/ 772 h 894"/>
              <a:gd name="T4" fmla="*/ 1160 w 8479"/>
              <a:gd name="T5" fmla="*/ 744 h 894"/>
              <a:gd name="T6" fmla="*/ 1160 w 8479"/>
              <a:gd name="T7" fmla="*/ 263 h 894"/>
              <a:gd name="T8" fmla="*/ 1188 w 8479"/>
              <a:gd name="T9" fmla="*/ 235 h 894"/>
              <a:gd name="T10" fmla="*/ 2202 w 8479"/>
              <a:gd name="T11" fmla="*/ 235 h 894"/>
              <a:gd name="T12" fmla="*/ 2230 w 8479"/>
              <a:gd name="T13" fmla="*/ 263 h 894"/>
              <a:gd name="T14" fmla="*/ 2230 w 8479"/>
              <a:gd name="T15" fmla="*/ 745 h 894"/>
              <a:gd name="T16" fmla="*/ 2258 w 8479"/>
              <a:gd name="T17" fmla="*/ 773 h 894"/>
              <a:gd name="T18" fmla="*/ 3688 w 8479"/>
              <a:gd name="T19" fmla="*/ 773 h 894"/>
              <a:gd name="T20" fmla="*/ 3716 w 8479"/>
              <a:gd name="T21" fmla="*/ 745 h 894"/>
              <a:gd name="T22" fmla="*/ 3716 w 8479"/>
              <a:gd name="T23" fmla="*/ 28 h 894"/>
              <a:gd name="T24" fmla="*/ 3744 w 8479"/>
              <a:gd name="T25" fmla="*/ 0 h 894"/>
              <a:gd name="T26" fmla="*/ 5033 w 8479"/>
              <a:gd name="T27" fmla="*/ 0 h 894"/>
              <a:gd name="T28" fmla="*/ 5061 w 8479"/>
              <a:gd name="T29" fmla="*/ 28 h 894"/>
              <a:gd name="T30" fmla="*/ 5061 w 8479"/>
              <a:gd name="T31" fmla="*/ 516 h 894"/>
              <a:gd name="T32" fmla="*/ 5089 w 8479"/>
              <a:gd name="T33" fmla="*/ 544 h 894"/>
              <a:gd name="T34" fmla="*/ 5446 w 8479"/>
              <a:gd name="T35" fmla="*/ 544 h 894"/>
              <a:gd name="T36" fmla="*/ 5474 w 8479"/>
              <a:gd name="T37" fmla="*/ 516 h 894"/>
              <a:gd name="T38" fmla="*/ 5474 w 8479"/>
              <a:gd name="T39" fmla="*/ 205 h 894"/>
              <a:gd name="T40" fmla="*/ 5502 w 8479"/>
              <a:gd name="T41" fmla="*/ 177 h 894"/>
              <a:gd name="T42" fmla="*/ 6295 w 8479"/>
              <a:gd name="T43" fmla="*/ 177 h 894"/>
              <a:gd name="T44" fmla="*/ 6323 w 8479"/>
              <a:gd name="T45" fmla="*/ 205 h 894"/>
              <a:gd name="T46" fmla="*/ 6323 w 8479"/>
              <a:gd name="T47" fmla="*/ 866 h 894"/>
              <a:gd name="T48" fmla="*/ 6351 w 8479"/>
              <a:gd name="T49" fmla="*/ 894 h 894"/>
              <a:gd name="T50" fmla="*/ 7237 w 8479"/>
              <a:gd name="T51" fmla="*/ 894 h 894"/>
              <a:gd name="T52" fmla="*/ 7265 w 8479"/>
              <a:gd name="T53" fmla="*/ 866 h 894"/>
              <a:gd name="T54" fmla="*/ 7265 w 8479"/>
              <a:gd name="T55" fmla="*/ 563 h 894"/>
              <a:gd name="T56" fmla="*/ 7293 w 8479"/>
              <a:gd name="T57" fmla="*/ 535 h 894"/>
              <a:gd name="T58" fmla="*/ 8479 w 8479"/>
              <a:gd name="T59" fmla="*/ 535 h 894"/>
              <a:gd name="connsiteX0" fmla="*/ 0 w 8665"/>
              <a:gd name="connsiteY0" fmla="*/ 8635 h 10000"/>
              <a:gd name="connsiteX1" fmla="*/ 33 w 8665"/>
              <a:gd name="connsiteY1" fmla="*/ 8322 h 10000"/>
              <a:gd name="connsiteX2" fmla="*/ 33 w 8665"/>
              <a:gd name="connsiteY2" fmla="*/ 2942 h 10000"/>
              <a:gd name="connsiteX3" fmla="*/ 66 w 8665"/>
              <a:gd name="connsiteY3" fmla="*/ 2629 h 10000"/>
              <a:gd name="connsiteX4" fmla="*/ 1262 w 8665"/>
              <a:gd name="connsiteY4" fmla="*/ 2629 h 10000"/>
              <a:gd name="connsiteX5" fmla="*/ 1295 w 8665"/>
              <a:gd name="connsiteY5" fmla="*/ 2942 h 10000"/>
              <a:gd name="connsiteX6" fmla="*/ 1295 w 8665"/>
              <a:gd name="connsiteY6" fmla="*/ 8333 h 10000"/>
              <a:gd name="connsiteX7" fmla="*/ 1328 w 8665"/>
              <a:gd name="connsiteY7" fmla="*/ 8647 h 10000"/>
              <a:gd name="connsiteX8" fmla="*/ 3015 w 8665"/>
              <a:gd name="connsiteY8" fmla="*/ 8647 h 10000"/>
              <a:gd name="connsiteX9" fmla="*/ 3048 w 8665"/>
              <a:gd name="connsiteY9" fmla="*/ 8333 h 10000"/>
              <a:gd name="connsiteX10" fmla="*/ 3048 w 8665"/>
              <a:gd name="connsiteY10" fmla="*/ 313 h 10000"/>
              <a:gd name="connsiteX11" fmla="*/ 3081 w 8665"/>
              <a:gd name="connsiteY11" fmla="*/ 0 h 10000"/>
              <a:gd name="connsiteX12" fmla="*/ 4601 w 8665"/>
              <a:gd name="connsiteY12" fmla="*/ 0 h 10000"/>
              <a:gd name="connsiteX13" fmla="*/ 4634 w 8665"/>
              <a:gd name="connsiteY13" fmla="*/ 313 h 10000"/>
              <a:gd name="connsiteX14" fmla="*/ 4634 w 8665"/>
              <a:gd name="connsiteY14" fmla="*/ 5772 h 10000"/>
              <a:gd name="connsiteX15" fmla="*/ 4667 w 8665"/>
              <a:gd name="connsiteY15" fmla="*/ 6085 h 10000"/>
              <a:gd name="connsiteX16" fmla="*/ 5088 w 8665"/>
              <a:gd name="connsiteY16" fmla="*/ 6085 h 10000"/>
              <a:gd name="connsiteX17" fmla="*/ 5121 w 8665"/>
              <a:gd name="connsiteY17" fmla="*/ 5772 h 10000"/>
              <a:gd name="connsiteX18" fmla="*/ 5121 w 8665"/>
              <a:gd name="connsiteY18" fmla="*/ 2293 h 10000"/>
              <a:gd name="connsiteX19" fmla="*/ 5154 w 8665"/>
              <a:gd name="connsiteY19" fmla="*/ 1980 h 10000"/>
              <a:gd name="connsiteX20" fmla="*/ 6089 w 8665"/>
              <a:gd name="connsiteY20" fmla="*/ 1980 h 10000"/>
              <a:gd name="connsiteX21" fmla="*/ 6122 w 8665"/>
              <a:gd name="connsiteY21" fmla="*/ 2293 h 10000"/>
              <a:gd name="connsiteX22" fmla="*/ 6122 w 8665"/>
              <a:gd name="connsiteY22" fmla="*/ 9687 h 10000"/>
              <a:gd name="connsiteX23" fmla="*/ 6155 w 8665"/>
              <a:gd name="connsiteY23" fmla="*/ 10000 h 10000"/>
              <a:gd name="connsiteX24" fmla="*/ 7200 w 8665"/>
              <a:gd name="connsiteY24" fmla="*/ 10000 h 10000"/>
              <a:gd name="connsiteX25" fmla="*/ 7233 w 8665"/>
              <a:gd name="connsiteY25" fmla="*/ 9687 h 10000"/>
              <a:gd name="connsiteX26" fmla="*/ 7233 w 8665"/>
              <a:gd name="connsiteY26" fmla="*/ 6298 h 10000"/>
              <a:gd name="connsiteX27" fmla="*/ 7266 w 8665"/>
              <a:gd name="connsiteY27" fmla="*/ 5984 h 10000"/>
              <a:gd name="connsiteX28" fmla="*/ 8665 w 8665"/>
              <a:gd name="connsiteY28" fmla="*/ 5984 h 10000"/>
              <a:gd name="connsiteX0" fmla="*/ 0 w 9962"/>
              <a:gd name="connsiteY0" fmla="*/ 8322 h 10000"/>
              <a:gd name="connsiteX1" fmla="*/ 0 w 9962"/>
              <a:gd name="connsiteY1" fmla="*/ 2942 h 10000"/>
              <a:gd name="connsiteX2" fmla="*/ 38 w 9962"/>
              <a:gd name="connsiteY2" fmla="*/ 2629 h 10000"/>
              <a:gd name="connsiteX3" fmla="*/ 1418 w 9962"/>
              <a:gd name="connsiteY3" fmla="*/ 2629 h 10000"/>
              <a:gd name="connsiteX4" fmla="*/ 1457 w 9962"/>
              <a:gd name="connsiteY4" fmla="*/ 2942 h 10000"/>
              <a:gd name="connsiteX5" fmla="*/ 1457 w 9962"/>
              <a:gd name="connsiteY5" fmla="*/ 8333 h 10000"/>
              <a:gd name="connsiteX6" fmla="*/ 1495 w 9962"/>
              <a:gd name="connsiteY6" fmla="*/ 8647 h 10000"/>
              <a:gd name="connsiteX7" fmla="*/ 3442 w 9962"/>
              <a:gd name="connsiteY7" fmla="*/ 8647 h 10000"/>
              <a:gd name="connsiteX8" fmla="*/ 3480 w 9962"/>
              <a:gd name="connsiteY8" fmla="*/ 8333 h 10000"/>
              <a:gd name="connsiteX9" fmla="*/ 3480 w 9962"/>
              <a:gd name="connsiteY9" fmla="*/ 313 h 10000"/>
              <a:gd name="connsiteX10" fmla="*/ 3518 w 9962"/>
              <a:gd name="connsiteY10" fmla="*/ 0 h 10000"/>
              <a:gd name="connsiteX11" fmla="*/ 5272 w 9962"/>
              <a:gd name="connsiteY11" fmla="*/ 0 h 10000"/>
              <a:gd name="connsiteX12" fmla="*/ 5310 w 9962"/>
              <a:gd name="connsiteY12" fmla="*/ 313 h 10000"/>
              <a:gd name="connsiteX13" fmla="*/ 5310 w 9962"/>
              <a:gd name="connsiteY13" fmla="*/ 5772 h 10000"/>
              <a:gd name="connsiteX14" fmla="*/ 5348 w 9962"/>
              <a:gd name="connsiteY14" fmla="*/ 6085 h 10000"/>
              <a:gd name="connsiteX15" fmla="*/ 5834 w 9962"/>
              <a:gd name="connsiteY15" fmla="*/ 6085 h 10000"/>
              <a:gd name="connsiteX16" fmla="*/ 5872 w 9962"/>
              <a:gd name="connsiteY16" fmla="*/ 5772 h 10000"/>
              <a:gd name="connsiteX17" fmla="*/ 5872 w 9962"/>
              <a:gd name="connsiteY17" fmla="*/ 2293 h 10000"/>
              <a:gd name="connsiteX18" fmla="*/ 5910 w 9962"/>
              <a:gd name="connsiteY18" fmla="*/ 1980 h 10000"/>
              <a:gd name="connsiteX19" fmla="*/ 6989 w 9962"/>
              <a:gd name="connsiteY19" fmla="*/ 1980 h 10000"/>
              <a:gd name="connsiteX20" fmla="*/ 7027 w 9962"/>
              <a:gd name="connsiteY20" fmla="*/ 2293 h 10000"/>
              <a:gd name="connsiteX21" fmla="*/ 7027 w 9962"/>
              <a:gd name="connsiteY21" fmla="*/ 9687 h 10000"/>
              <a:gd name="connsiteX22" fmla="*/ 7065 w 9962"/>
              <a:gd name="connsiteY22" fmla="*/ 10000 h 10000"/>
              <a:gd name="connsiteX23" fmla="*/ 8271 w 9962"/>
              <a:gd name="connsiteY23" fmla="*/ 10000 h 10000"/>
              <a:gd name="connsiteX24" fmla="*/ 8309 w 9962"/>
              <a:gd name="connsiteY24" fmla="*/ 9687 h 10000"/>
              <a:gd name="connsiteX25" fmla="*/ 8309 w 9962"/>
              <a:gd name="connsiteY25" fmla="*/ 6298 h 10000"/>
              <a:gd name="connsiteX26" fmla="*/ 8347 w 9962"/>
              <a:gd name="connsiteY26" fmla="*/ 5984 h 10000"/>
              <a:gd name="connsiteX27" fmla="*/ 9962 w 9962"/>
              <a:gd name="connsiteY27" fmla="*/ 5984 h 10000"/>
              <a:gd name="connsiteX0" fmla="*/ 0 w 10000"/>
              <a:gd name="connsiteY0" fmla="*/ 2942 h 10000"/>
              <a:gd name="connsiteX1" fmla="*/ 38 w 10000"/>
              <a:gd name="connsiteY1" fmla="*/ 2629 h 10000"/>
              <a:gd name="connsiteX2" fmla="*/ 1423 w 10000"/>
              <a:gd name="connsiteY2" fmla="*/ 2629 h 10000"/>
              <a:gd name="connsiteX3" fmla="*/ 1463 w 10000"/>
              <a:gd name="connsiteY3" fmla="*/ 2942 h 10000"/>
              <a:gd name="connsiteX4" fmla="*/ 1463 w 10000"/>
              <a:gd name="connsiteY4" fmla="*/ 8333 h 10000"/>
              <a:gd name="connsiteX5" fmla="*/ 1501 w 10000"/>
              <a:gd name="connsiteY5" fmla="*/ 8647 h 10000"/>
              <a:gd name="connsiteX6" fmla="*/ 3455 w 10000"/>
              <a:gd name="connsiteY6" fmla="*/ 8647 h 10000"/>
              <a:gd name="connsiteX7" fmla="*/ 3493 w 10000"/>
              <a:gd name="connsiteY7" fmla="*/ 8333 h 10000"/>
              <a:gd name="connsiteX8" fmla="*/ 3493 w 10000"/>
              <a:gd name="connsiteY8" fmla="*/ 313 h 10000"/>
              <a:gd name="connsiteX9" fmla="*/ 3531 w 10000"/>
              <a:gd name="connsiteY9" fmla="*/ 0 h 10000"/>
              <a:gd name="connsiteX10" fmla="*/ 5292 w 10000"/>
              <a:gd name="connsiteY10" fmla="*/ 0 h 10000"/>
              <a:gd name="connsiteX11" fmla="*/ 5330 w 10000"/>
              <a:gd name="connsiteY11" fmla="*/ 313 h 10000"/>
              <a:gd name="connsiteX12" fmla="*/ 5330 w 10000"/>
              <a:gd name="connsiteY12" fmla="*/ 5772 h 10000"/>
              <a:gd name="connsiteX13" fmla="*/ 5368 w 10000"/>
              <a:gd name="connsiteY13" fmla="*/ 6085 h 10000"/>
              <a:gd name="connsiteX14" fmla="*/ 5856 w 10000"/>
              <a:gd name="connsiteY14" fmla="*/ 6085 h 10000"/>
              <a:gd name="connsiteX15" fmla="*/ 5894 w 10000"/>
              <a:gd name="connsiteY15" fmla="*/ 5772 h 10000"/>
              <a:gd name="connsiteX16" fmla="*/ 5894 w 10000"/>
              <a:gd name="connsiteY16" fmla="*/ 2293 h 10000"/>
              <a:gd name="connsiteX17" fmla="*/ 5933 w 10000"/>
              <a:gd name="connsiteY17" fmla="*/ 1980 h 10000"/>
              <a:gd name="connsiteX18" fmla="*/ 7016 w 10000"/>
              <a:gd name="connsiteY18" fmla="*/ 1980 h 10000"/>
              <a:gd name="connsiteX19" fmla="*/ 7054 w 10000"/>
              <a:gd name="connsiteY19" fmla="*/ 2293 h 10000"/>
              <a:gd name="connsiteX20" fmla="*/ 7054 w 10000"/>
              <a:gd name="connsiteY20" fmla="*/ 9687 h 10000"/>
              <a:gd name="connsiteX21" fmla="*/ 7092 w 10000"/>
              <a:gd name="connsiteY21" fmla="*/ 10000 h 10000"/>
              <a:gd name="connsiteX22" fmla="*/ 8303 w 10000"/>
              <a:gd name="connsiteY22" fmla="*/ 10000 h 10000"/>
              <a:gd name="connsiteX23" fmla="*/ 8341 w 10000"/>
              <a:gd name="connsiteY23" fmla="*/ 9687 h 10000"/>
              <a:gd name="connsiteX24" fmla="*/ 8341 w 10000"/>
              <a:gd name="connsiteY24" fmla="*/ 6298 h 10000"/>
              <a:gd name="connsiteX25" fmla="*/ 8379 w 10000"/>
              <a:gd name="connsiteY25" fmla="*/ 5984 h 10000"/>
              <a:gd name="connsiteX26" fmla="*/ 10000 w 10000"/>
              <a:gd name="connsiteY26" fmla="*/ 5984 h 10000"/>
              <a:gd name="connsiteX0" fmla="*/ 0 w 9962"/>
              <a:gd name="connsiteY0" fmla="*/ 2629 h 10000"/>
              <a:gd name="connsiteX1" fmla="*/ 1385 w 9962"/>
              <a:gd name="connsiteY1" fmla="*/ 2629 h 10000"/>
              <a:gd name="connsiteX2" fmla="*/ 1425 w 9962"/>
              <a:gd name="connsiteY2" fmla="*/ 2942 h 10000"/>
              <a:gd name="connsiteX3" fmla="*/ 1425 w 9962"/>
              <a:gd name="connsiteY3" fmla="*/ 8333 h 10000"/>
              <a:gd name="connsiteX4" fmla="*/ 1463 w 9962"/>
              <a:gd name="connsiteY4" fmla="*/ 8647 h 10000"/>
              <a:gd name="connsiteX5" fmla="*/ 3417 w 9962"/>
              <a:gd name="connsiteY5" fmla="*/ 8647 h 10000"/>
              <a:gd name="connsiteX6" fmla="*/ 3455 w 9962"/>
              <a:gd name="connsiteY6" fmla="*/ 8333 h 10000"/>
              <a:gd name="connsiteX7" fmla="*/ 3455 w 9962"/>
              <a:gd name="connsiteY7" fmla="*/ 313 h 10000"/>
              <a:gd name="connsiteX8" fmla="*/ 3493 w 9962"/>
              <a:gd name="connsiteY8" fmla="*/ 0 h 10000"/>
              <a:gd name="connsiteX9" fmla="*/ 5254 w 9962"/>
              <a:gd name="connsiteY9" fmla="*/ 0 h 10000"/>
              <a:gd name="connsiteX10" fmla="*/ 5292 w 9962"/>
              <a:gd name="connsiteY10" fmla="*/ 313 h 10000"/>
              <a:gd name="connsiteX11" fmla="*/ 5292 w 9962"/>
              <a:gd name="connsiteY11" fmla="*/ 5772 h 10000"/>
              <a:gd name="connsiteX12" fmla="*/ 5330 w 9962"/>
              <a:gd name="connsiteY12" fmla="*/ 6085 h 10000"/>
              <a:gd name="connsiteX13" fmla="*/ 5818 w 9962"/>
              <a:gd name="connsiteY13" fmla="*/ 6085 h 10000"/>
              <a:gd name="connsiteX14" fmla="*/ 5856 w 9962"/>
              <a:gd name="connsiteY14" fmla="*/ 5772 h 10000"/>
              <a:gd name="connsiteX15" fmla="*/ 5856 w 9962"/>
              <a:gd name="connsiteY15" fmla="*/ 2293 h 10000"/>
              <a:gd name="connsiteX16" fmla="*/ 5895 w 9962"/>
              <a:gd name="connsiteY16" fmla="*/ 1980 h 10000"/>
              <a:gd name="connsiteX17" fmla="*/ 6978 w 9962"/>
              <a:gd name="connsiteY17" fmla="*/ 1980 h 10000"/>
              <a:gd name="connsiteX18" fmla="*/ 7016 w 9962"/>
              <a:gd name="connsiteY18" fmla="*/ 2293 h 10000"/>
              <a:gd name="connsiteX19" fmla="*/ 7016 w 9962"/>
              <a:gd name="connsiteY19" fmla="*/ 9687 h 10000"/>
              <a:gd name="connsiteX20" fmla="*/ 7054 w 9962"/>
              <a:gd name="connsiteY20" fmla="*/ 10000 h 10000"/>
              <a:gd name="connsiteX21" fmla="*/ 8265 w 9962"/>
              <a:gd name="connsiteY21" fmla="*/ 10000 h 10000"/>
              <a:gd name="connsiteX22" fmla="*/ 8303 w 9962"/>
              <a:gd name="connsiteY22" fmla="*/ 9687 h 10000"/>
              <a:gd name="connsiteX23" fmla="*/ 8303 w 9962"/>
              <a:gd name="connsiteY23" fmla="*/ 6298 h 10000"/>
              <a:gd name="connsiteX24" fmla="*/ 8341 w 9962"/>
              <a:gd name="connsiteY24" fmla="*/ 5984 h 10000"/>
              <a:gd name="connsiteX25" fmla="*/ 9962 w 9962"/>
              <a:gd name="connsiteY25" fmla="*/ 5984 h 10000"/>
              <a:gd name="connsiteX0" fmla="*/ 0 w 8610"/>
              <a:gd name="connsiteY0" fmla="*/ 2629 h 10000"/>
              <a:gd name="connsiteX1" fmla="*/ 40 w 8610"/>
              <a:gd name="connsiteY1" fmla="*/ 2942 h 10000"/>
              <a:gd name="connsiteX2" fmla="*/ 40 w 8610"/>
              <a:gd name="connsiteY2" fmla="*/ 8333 h 10000"/>
              <a:gd name="connsiteX3" fmla="*/ 79 w 8610"/>
              <a:gd name="connsiteY3" fmla="*/ 8647 h 10000"/>
              <a:gd name="connsiteX4" fmla="*/ 2040 w 8610"/>
              <a:gd name="connsiteY4" fmla="*/ 8647 h 10000"/>
              <a:gd name="connsiteX5" fmla="*/ 2078 w 8610"/>
              <a:gd name="connsiteY5" fmla="*/ 8333 h 10000"/>
              <a:gd name="connsiteX6" fmla="*/ 2078 w 8610"/>
              <a:gd name="connsiteY6" fmla="*/ 313 h 10000"/>
              <a:gd name="connsiteX7" fmla="*/ 2116 w 8610"/>
              <a:gd name="connsiteY7" fmla="*/ 0 h 10000"/>
              <a:gd name="connsiteX8" fmla="*/ 3884 w 8610"/>
              <a:gd name="connsiteY8" fmla="*/ 0 h 10000"/>
              <a:gd name="connsiteX9" fmla="*/ 3922 w 8610"/>
              <a:gd name="connsiteY9" fmla="*/ 313 h 10000"/>
              <a:gd name="connsiteX10" fmla="*/ 3922 w 8610"/>
              <a:gd name="connsiteY10" fmla="*/ 5772 h 10000"/>
              <a:gd name="connsiteX11" fmla="*/ 3960 w 8610"/>
              <a:gd name="connsiteY11" fmla="*/ 6085 h 10000"/>
              <a:gd name="connsiteX12" fmla="*/ 4450 w 8610"/>
              <a:gd name="connsiteY12" fmla="*/ 6085 h 10000"/>
              <a:gd name="connsiteX13" fmla="*/ 4488 w 8610"/>
              <a:gd name="connsiteY13" fmla="*/ 5772 h 10000"/>
              <a:gd name="connsiteX14" fmla="*/ 4488 w 8610"/>
              <a:gd name="connsiteY14" fmla="*/ 2293 h 10000"/>
              <a:gd name="connsiteX15" fmla="*/ 4527 w 8610"/>
              <a:gd name="connsiteY15" fmla="*/ 1980 h 10000"/>
              <a:gd name="connsiteX16" fmla="*/ 5615 w 8610"/>
              <a:gd name="connsiteY16" fmla="*/ 1980 h 10000"/>
              <a:gd name="connsiteX17" fmla="*/ 5653 w 8610"/>
              <a:gd name="connsiteY17" fmla="*/ 2293 h 10000"/>
              <a:gd name="connsiteX18" fmla="*/ 5653 w 8610"/>
              <a:gd name="connsiteY18" fmla="*/ 9687 h 10000"/>
              <a:gd name="connsiteX19" fmla="*/ 5691 w 8610"/>
              <a:gd name="connsiteY19" fmla="*/ 10000 h 10000"/>
              <a:gd name="connsiteX20" fmla="*/ 6907 w 8610"/>
              <a:gd name="connsiteY20" fmla="*/ 10000 h 10000"/>
              <a:gd name="connsiteX21" fmla="*/ 6945 w 8610"/>
              <a:gd name="connsiteY21" fmla="*/ 9687 h 10000"/>
              <a:gd name="connsiteX22" fmla="*/ 6945 w 8610"/>
              <a:gd name="connsiteY22" fmla="*/ 6298 h 10000"/>
              <a:gd name="connsiteX23" fmla="*/ 6983 w 8610"/>
              <a:gd name="connsiteY23" fmla="*/ 5984 h 10000"/>
              <a:gd name="connsiteX24" fmla="*/ 8610 w 8610"/>
              <a:gd name="connsiteY24" fmla="*/ 5984 h 10000"/>
              <a:gd name="connsiteX0" fmla="*/ 0 w 9954"/>
              <a:gd name="connsiteY0" fmla="*/ 2942 h 10000"/>
              <a:gd name="connsiteX1" fmla="*/ 0 w 9954"/>
              <a:gd name="connsiteY1" fmla="*/ 8333 h 10000"/>
              <a:gd name="connsiteX2" fmla="*/ 46 w 9954"/>
              <a:gd name="connsiteY2" fmla="*/ 8647 h 10000"/>
              <a:gd name="connsiteX3" fmla="*/ 2323 w 9954"/>
              <a:gd name="connsiteY3" fmla="*/ 8647 h 10000"/>
              <a:gd name="connsiteX4" fmla="*/ 2367 w 9954"/>
              <a:gd name="connsiteY4" fmla="*/ 8333 h 10000"/>
              <a:gd name="connsiteX5" fmla="*/ 2367 w 9954"/>
              <a:gd name="connsiteY5" fmla="*/ 313 h 10000"/>
              <a:gd name="connsiteX6" fmla="*/ 2412 w 9954"/>
              <a:gd name="connsiteY6" fmla="*/ 0 h 10000"/>
              <a:gd name="connsiteX7" fmla="*/ 4465 w 9954"/>
              <a:gd name="connsiteY7" fmla="*/ 0 h 10000"/>
              <a:gd name="connsiteX8" fmla="*/ 4509 w 9954"/>
              <a:gd name="connsiteY8" fmla="*/ 313 h 10000"/>
              <a:gd name="connsiteX9" fmla="*/ 4509 w 9954"/>
              <a:gd name="connsiteY9" fmla="*/ 5772 h 10000"/>
              <a:gd name="connsiteX10" fmla="*/ 4553 w 9954"/>
              <a:gd name="connsiteY10" fmla="*/ 6085 h 10000"/>
              <a:gd name="connsiteX11" fmla="*/ 5122 w 9954"/>
              <a:gd name="connsiteY11" fmla="*/ 6085 h 10000"/>
              <a:gd name="connsiteX12" fmla="*/ 5167 w 9954"/>
              <a:gd name="connsiteY12" fmla="*/ 5772 h 10000"/>
              <a:gd name="connsiteX13" fmla="*/ 5167 w 9954"/>
              <a:gd name="connsiteY13" fmla="*/ 2293 h 10000"/>
              <a:gd name="connsiteX14" fmla="*/ 5212 w 9954"/>
              <a:gd name="connsiteY14" fmla="*/ 1980 h 10000"/>
              <a:gd name="connsiteX15" fmla="*/ 6475 w 9954"/>
              <a:gd name="connsiteY15" fmla="*/ 1980 h 10000"/>
              <a:gd name="connsiteX16" fmla="*/ 6520 w 9954"/>
              <a:gd name="connsiteY16" fmla="*/ 2293 h 10000"/>
              <a:gd name="connsiteX17" fmla="*/ 6520 w 9954"/>
              <a:gd name="connsiteY17" fmla="*/ 9687 h 10000"/>
              <a:gd name="connsiteX18" fmla="*/ 6564 w 9954"/>
              <a:gd name="connsiteY18" fmla="*/ 10000 h 10000"/>
              <a:gd name="connsiteX19" fmla="*/ 7976 w 9954"/>
              <a:gd name="connsiteY19" fmla="*/ 10000 h 10000"/>
              <a:gd name="connsiteX20" fmla="*/ 8020 w 9954"/>
              <a:gd name="connsiteY20" fmla="*/ 9687 h 10000"/>
              <a:gd name="connsiteX21" fmla="*/ 8020 w 9954"/>
              <a:gd name="connsiteY21" fmla="*/ 6298 h 10000"/>
              <a:gd name="connsiteX22" fmla="*/ 8064 w 9954"/>
              <a:gd name="connsiteY22" fmla="*/ 5984 h 10000"/>
              <a:gd name="connsiteX23" fmla="*/ 9954 w 9954"/>
              <a:gd name="connsiteY23" fmla="*/ 5984 h 10000"/>
              <a:gd name="connsiteX0" fmla="*/ 0 w 10000"/>
              <a:gd name="connsiteY0" fmla="*/ 8333 h 10000"/>
              <a:gd name="connsiteX1" fmla="*/ 46 w 10000"/>
              <a:gd name="connsiteY1" fmla="*/ 8647 h 10000"/>
              <a:gd name="connsiteX2" fmla="*/ 2334 w 10000"/>
              <a:gd name="connsiteY2" fmla="*/ 8647 h 10000"/>
              <a:gd name="connsiteX3" fmla="*/ 2378 w 10000"/>
              <a:gd name="connsiteY3" fmla="*/ 8333 h 10000"/>
              <a:gd name="connsiteX4" fmla="*/ 2378 w 10000"/>
              <a:gd name="connsiteY4" fmla="*/ 313 h 10000"/>
              <a:gd name="connsiteX5" fmla="*/ 2423 w 10000"/>
              <a:gd name="connsiteY5" fmla="*/ 0 h 10000"/>
              <a:gd name="connsiteX6" fmla="*/ 4486 w 10000"/>
              <a:gd name="connsiteY6" fmla="*/ 0 h 10000"/>
              <a:gd name="connsiteX7" fmla="*/ 4530 w 10000"/>
              <a:gd name="connsiteY7" fmla="*/ 313 h 10000"/>
              <a:gd name="connsiteX8" fmla="*/ 4530 w 10000"/>
              <a:gd name="connsiteY8" fmla="*/ 5772 h 10000"/>
              <a:gd name="connsiteX9" fmla="*/ 4574 w 10000"/>
              <a:gd name="connsiteY9" fmla="*/ 6085 h 10000"/>
              <a:gd name="connsiteX10" fmla="*/ 5146 w 10000"/>
              <a:gd name="connsiteY10" fmla="*/ 6085 h 10000"/>
              <a:gd name="connsiteX11" fmla="*/ 5191 w 10000"/>
              <a:gd name="connsiteY11" fmla="*/ 5772 h 10000"/>
              <a:gd name="connsiteX12" fmla="*/ 5191 w 10000"/>
              <a:gd name="connsiteY12" fmla="*/ 2293 h 10000"/>
              <a:gd name="connsiteX13" fmla="*/ 5236 w 10000"/>
              <a:gd name="connsiteY13" fmla="*/ 1980 h 10000"/>
              <a:gd name="connsiteX14" fmla="*/ 6505 w 10000"/>
              <a:gd name="connsiteY14" fmla="*/ 1980 h 10000"/>
              <a:gd name="connsiteX15" fmla="*/ 6550 w 10000"/>
              <a:gd name="connsiteY15" fmla="*/ 2293 h 10000"/>
              <a:gd name="connsiteX16" fmla="*/ 6550 w 10000"/>
              <a:gd name="connsiteY16" fmla="*/ 9687 h 10000"/>
              <a:gd name="connsiteX17" fmla="*/ 6594 w 10000"/>
              <a:gd name="connsiteY17" fmla="*/ 10000 h 10000"/>
              <a:gd name="connsiteX18" fmla="*/ 8013 w 10000"/>
              <a:gd name="connsiteY18" fmla="*/ 10000 h 10000"/>
              <a:gd name="connsiteX19" fmla="*/ 8057 w 10000"/>
              <a:gd name="connsiteY19" fmla="*/ 9687 h 10000"/>
              <a:gd name="connsiteX20" fmla="*/ 8057 w 10000"/>
              <a:gd name="connsiteY20" fmla="*/ 6298 h 10000"/>
              <a:gd name="connsiteX21" fmla="*/ 8101 w 10000"/>
              <a:gd name="connsiteY21" fmla="*/ 5984 h 10000"/>
              <a:gd name="connsiteX22" fmla="*/ 10000 w 10000"/>
              <a:gd name="connsiteY22" fmla="*/ 5984 h 10000"/>
              <a:gd name="connsiteX0" fmla="*/ 0 w 8101"/>
              <a:gd name="connsiteY0" fmla="*/ 8333 h 10000"/>
              <a:gd name="connsiteX1" fmla="*/ 46 w 8101"/>
              <a:gd name="connsiteY1" fmla="*/ 8647 h 10000"/>
              <a:gd name="connsiteX2" fmla="*/ 2334 w 8101"/>
              <a:gd name="connsiteY2" fmla="*/ 8647 h 10000"/>
              <a:gd name="connsiteX3" fmla="*/ 2378 w 8101"/>
              <a:gd name="connsiteY3" fmla="*/ 8333 h 10000"/>
              <a:gd name="connsiteX4" fmla="*/ 2378 w 8101"/>
              <a:gd name="connsiteY4" fmla="*/ 313 h 10000"/>
              <a:gd name="connsiteX5" fmla="*/ 2423 w 8101"/>
              <a:gd name="connsiteY5" fmla="*/ 0 h 10000"/>
              <a:gd name="connsiteX6" fmla="*/ 4486 w 8101"/>
              <a:gd name="connsiteY6" fmla="*/ 0 h 10000"/>
              <a:gd name="connsiteX7" fmla="*/ 4530 w 8101"/>
              <a:gd name="connsiteY7" fmla="*/ 313 h 10000"/>
              <a:gd name="connsiteX8" fmla="*/ 4530 w 8101"/>
              <a:gd name="connsiteY8" fmla="*/ 5772 h 10000"/>
              <a:gd name="connsiteX9" fmla="*/ 4574 w 8101"/>
              <a:gd name="connsiteY9" fmla="*/ 6085 h 10000"/>
              <a:gd name="connsiteX10" fmla="*/ 5146 w 8101"/>
              <a:gd name="connsiteY10" fmla="*/ 6085 h 10000"/>
              <a:gd name="connsiteX11" fmla="*/ 5191 w 8101"/>
              <a:gd name="connsiteY11" fmla="*/ 5772 h 10000"/>
              <a:gd name="connsiteX12" fmla="*/ 5191 w 8101"/>
              <a:gd name="connsiteY12" fmla="*/ 2293 h 10000"/>
              <a:gd name="connsiteX13" fmla="*/ 5236 w 8101"/>
              <a:gd name="connsiteY13" fmla="*/ 1980 h 10000"/>
              <a:gd name="connsiteX14" fmla="*/ 6505 w 8101"/>
              <a:gd name="connsiteY14" fmla="*/ 1980 h 10000"/>
              <a:gd name="connsiteX15" fmla="*/ 6550 w 8101"/>
              <a:gd name="connsiteY15" fmla="*/ 2293 h 10000"/>
              <a:gd name="connsiteX16" fmla="*/ 6550 w 8101"/>
              <a:gd name="connsiteY16" fmla="*/ 9687 h 10000"/>
              <a:gd name="connsiteX17" fmla="*/ 6594 w 8101"/>
              <a:gd name="connsiteY17" fmla="*/ 10000 h 10000"/>
              <a:gd name="connsiteX18" fmla="*/ 8013 w 8101"/>
              <a:gd name="connsiteY18" fmla="*/ 10000 h 10000"/>
              <a:gd name="connsiteX19" fmla="*/ 8057 w 8101"/>
              <a:gd name="connsiteY19" fmla="*/ 9687 h 10000"/>
              <a:gd name="connsiteX20" fmla="*/ 8057 w 8101"/>
              <a:gd name="connsiteY20" fmla="*/ 6298 h 10000"/>
              <a:gd name="connsiteX21" fmla="*/ 8101 w 8101"/>
              <a:gd name="connsiteY21" fmla="*/ 5984 h 10000"/>
              <a:gd name="connsiteX0" fmla="*/ 0 w 9946"/>
              <a:gd name="connsiteY0" fmla="*/ 8333 h 10000"/>
              <a:gd name="connsiteX1" fmla="*/ 57 w 9946"/>
              <a:gd name="connsiteY1" fmla="*/ 8647 h 10000"/>
              <a:gd name="connsiteX2" fmla="*/ 2881 w 9946"/>
              <a:gd name="connsiteY2" fmla="*/ 8647 h 10000"/>
              <a:gd name="connsiteX3" fmla="*/ 2935 w 9946"/>
              <a:gd name="connsiteY3" fmla="*/ 8333 h 10000"/>
              <a:gd name="connsiteX4" fmla="*/ 2935 w 9946"/>
              <a:gd name="connsiteY4" fmla="*/ 313 h 10000"/>
              <a:gd name="connsiteX5" fmla="*/ 2991 w 9946"/>
              <a:gd name="connsiteY5" fmla="*/ 0 h 10000"/>
              <a:gd name="connsiteX6" fmla="*/ 5538 w 9946"/>
              <a:gd name="connsiteY6" fmla="*/ 0 h 10000"/>
              <a:gd name="connsiteX7" fmla="*/ 5592 w 9946"/>
              <a:gd name="connsiteY7" fmla="*/ 313 h 10000"/>
              <a:gd name="connsiteX8" fmla="*/ 5592 w 9946"/>
              <a:gd name="connsiteY8" fmla="*/ 5772 h 10000"/>
              <a:gd name="connsiteX9" fmla="*/ 5646 w 9946"/>
              <a:gd name="connsiteY9" fmla="*/ 6085 h 10000"/>
              <a:gd name="connsiteX10" fmla="*/ 6352 w 9946"/>
              <a:gd name="connsiteY10" fmla="*/ 6085 h 10000"/>
              <a:gd name="connsiteX11" fmla="*/ 6408 w 9946"/>
              <a:gd name="connsiteY11" fmla="*/ 5772 h 10000"/>
              <a:gd name="connsiteX12" fmla="*/ 6408 w 9946"/>
              <a:gd name="connsiteY12" fmla="*/ 2293 h 10000"/>
              <a:gd name="connsiteX13" fmla="*/ 6463 w 9946"/>
              <a:gd name="connsiteY13" fmla="*/ 1980 h 10000"/>
              <a:gd name="connsiteX14" fmla="*/ 8030 w 9946"/>
              <a:gd name="connsiteY14" fmla="*/ 1980 h 10000"/>
              <a:gd name="connsiteX15" fmla="*/ 8085 w 9946"/>
              <a:gd name="connsiteY15" fmla="*/ 2293 h 10000"/>
              <a:gd name="connsiteX16" fmla="*/ 8085 w 9946"/>
              <a:gd name="connsiteY16" fmla="*/ 9687 h 10000"/>
              <a:gd name="connsiteX17" fmla="*/ 8140 w 9946"/>
              <a:gd name="connsiteY17" fmla="*/ 10000 h 10000"/>
              <a:gd name="connsiteX18" fmla="*/ 9891 w 9946"/>
              <a:gd name="connsiteY18" fmla="*/ 10000 h 10000"/>
              <a:gd name="connsiteX19" fmla="*/ 9946 w 9946"/>
              <a:gd name="connsiteY19" fmla="*/ 9687 h 10000"/>
              <a:gd name="connsiteX20" fmla="*/ 9946 w 9946"/>
              <a:gd name="connsiteY20" fmla="*/ 6298 h 10000"/>
              <a:gd name="connsiteX0" fmla="*/ 0 w 10000"/>
              <a:gd name="connsiteY0" fmla="*/ 8333 h 10000"/>
              <a:gd name="connsiteX1" fmla="*/ 57 w 10000"/>
              <a:gd name="connsiteY1" fmla="*/ 8647 h 10000"/>
              <a:gd name="connsiteX2" fmla="*/ 2897 w 10000"/>
              <a:gd name="connsiteY2" fmla="*/ 8647 h 10000"/>
              <a:gd name="connsiteX3" fmla="*/ 2951 w 10000"/>
              <a:gd name="connsiteY3" fmla="*/ 8333 h 10000"/>
              <a:gd name="connsiteX4" fmla="*/ 2951 w 10000"/>
              <a:gd name="connsiteY4" fmla="*/ 313 h 10000"/>
              <a:gd name="connsiteX5" fmla="*/ 3007 w 10000"/>
              <a:gd name="connsiteY5" fmla="*/ 0 h 10000"/>
              <a:gd name="connsiteX6" fmla="*/ 5568 w 10000"/>
              <a:gd name="connsiteY6" fmla="*/ 0 h 10000"/>
              <a:gd name="connsiteX7" fmla="*/ 5622 w 10000"/>
              <a:gd name="connsiteY7" fmla="*/ 313 h 10000"/>
              <a:gd name="connsiteX8" fmla="*/ 5622 w 10000"/>
              <a:gd name="connsiteY8" fmla="*/ 5772 h 10000"/>
              <a:gd name="connsiteX9" fmla="*/ 5677 w 10000"/>
              <a:gd name="connsiteY9" fmla="*/ 6085 h 10000"/>
              <a:gd name="connsiteX10" fmla="*/ 6386 w 10000"/>
              <a:gd name="connsiteY10" fmla="*/ 6085 h 10000"/>
              <a:gd name="connsiteX11" fmla="*/ 6443 w 10000"/>
              <a:gd name="connsiteY11" fmla="*/ 5772 h 10000"/>
              <a:gd name="connsiteX12" fmla="*/ 6443 w 10000"/>
              <a:gd name="connsiteY12" fmla="*/ 2293 h 10000"/>
              <a:gd name="connsiteX13" fmla="*/ 6498 w 10000"/>
              <a:gd name="connsiteY13" fmla="*/ 1980 h 10000"/>
              <a:gd name="connsiteX14" fmla="*/ 8074 w 10000"/>
              <a:gd name="connsiteY14" fmla="*/ 1980 h 10000"/>
              <a:gd name="connsiteX15" fmla="*/ 8129 w 10000"/>
              <a:gd name="connsiteY15" fmla="*/ 2293 h 10000"/>
              <a:gd name="connsiteX16" fmla="*/ 8129 w 10000"/>
              <a:gd name="connsiteY16" fmla="*/ 9687 h 10000"/>
              <a:gd name="connsiteX17" fmla="*/ 8184 w 10000"/>
              <a:gd name="connsiteY17" fmla="*/ 10000 h 10000"/>
              <a:gd name="connsiteX18" fmla="*/ 9945 w 10000"/>
              <a:gd name="connsiteY18" fmla="*/ 10000 h 10000"/>
              <a:gd name="connsiteX19" fmla="*/ 10000 w 10000"/>
              <a:gd name="connsiteY19" fmla="*/ 9687 h 10000"/>
              <a:gd name="connsiteX0" fmla="*/ 0 w 9945"/>
              <a:gd name="connsiteY0" fmla="*/ 8333 h 10000"/>
              <a:gd name="connsiteX1" fmla="*/ 57 w 9945"/>
              <a:gd name="connsiteY1" fmla="*/ 8647 h 10000"/>
              <a:gd name="connsiteX2" fmla="*/ 2897 w 9945"/>
              <a:gd name="connsiteY2" fmla="*/ 8647 h 10000"/>
              <a:gd name="connsiteX3" fmla="*/ 2951 w 9945"/>
              <a:gd name="connsiteY3" fmla="*/ 8333 h 10000"/>
              <a:gd name="connsiteX4" fmla="*/ 2951 w 9945"/>
              <a:gd name="connsiteY4" fmla="*/ 313 h 10000"/>
              <a:gd name="connsiteX5" fmla="*/ 3007 w 9945"/>
              <a:gd name="connsiteY5" fmla="*/ 0 h 10000"/>
              <a:gd name="connsiteX6" fmla="*/ 5568 w 9945"/>
              <a:gd name="connsiteY6" fmla="*/ 0 h 10000"/>
              <a:gd name="connsiteX7" fmla="*/ 5622 w 9945"/>
              <a:gd name="connsiteY7" fmla="*/ 313 h 10000"/>
              <a:gd name="connsiteX8" fmla="*/ 5622 w 9945"/>
              <a:gd name="connsiteY8" fmla="*/ 5772 h 10000"/>
              <a:gd name="connsiteX9" fmla="*/ 5677 w 9945"/>
              <a:gd name="connsiteY9" fmla="*/ 6085 h 10000"/>
              <a:gd name="connsiteX10" fmla="*/ 6386 w 9945"/>
              <a:gd name="connsiteY10" fmla="*/ 6085 h 10000"/>
              <a:gd name="connsiteX11" fmla="*/ 6443 w 9945"/>
              <a:gd name="connsiteY11" fmla="*/ 5772 h 10000"/>
              <a:gd name="connsiteX12" fmla="*/ 6443 w 9945"/>
              <a:gd name="connsiteY12" fmla="*/ 2293 h 10000"/>
              <a:gd name="connsiteX13" fmla="*/ 6498 w 9945"/>
              <a:gd name="connsiteY13" fmla="*/ 1980 h 10000"/>
              <a:gd name="connsiteX14" fmla="*/ 8074 w 9945"/>
              <a:gd name="connsiteY14" fmla="*/ 1980 h 10000"/>
              <a:gd name="connsiteX15" fmla="*/ 8129 w 9945"/>
              <a:gd name="connsiteY15" fmla="*/ 2293 h 10000"/>
              <a:gd name="connsiteX16" fmla="*/ 8129 w 9945"/>
              <a:gd name="connsiteY16" fmla="*/ 9687 h 10000"/>
              <a:gd name="connsiteX17" fmla="*/ 8184 w 9945"/>
              <a:gd name="connsiteY17" fmla="*/ 10000 h 10000"/>
              <a:gd name="connsiteX18" fmla="*/ 9945 w 9945"/>
              <a:gd name="connsiteY18" fmla="*/ 10000 h 10000"/>
              <a:gd name="connsiteX0" fmla="*/ 0 w 8229"/>
              <a:gd name="connsiteY0" fmla="*/ 8333 h 10000"/>
              <a:gd name="connsiteX1" fmla="*/ 57 w 8229"/>
              <a:gd name="connsiteY1" fmla="*/ 8647 h 10000"/>
              <a:gd name="connsiteX2" fmla="*/ 2913 w 8229"/>
              <a:gd name="connsiteY2" fmla="*/ 8647 h 10000"/>
              <a:gd name="connsiteX3" fmla="*/ 2967 w 8229"/>
              <a:gd name="connsiteY3" fmla="*/ 8333 h 10000"/>
              <a:gd name="connsiteX4" fmla="*/ 2967 w 8229"/>
              <a:gd name="connsiteY4" fmla="*/ 313 h 10000"/>
              <a:gd name="connsiteX5" fmla="*/ 3024 w 8229"/>
              <a:gd name="connsiteY5" fmla="*/ 0 h 10000"/>
              <a:gd name="connsiteX6" fmla="*/ 5599 w 8229"/>
              <a:gd name="connsiteY6" fmla="*/ 0 h 10000"/>
              <a:gd name="connsiteX7" fmla="*/ 5653 w 8229"/>
              <a:gd name="connsiteY7" fmla="*/ 313 h 10000"/>
              <a:gd name="connsiteX8" fmla="*/ 5653 w 8229"/>
              <a:gd name="connsiteY8" fmla="*/ 5772 h 10000"/>
              <a:gd name="connsiteX9" fmla="*/ 5708 w 8229"/>
              <a:gd name="connsiteY9" fmla="*/ 6085 h 10000"/>
              <a:gd name="connsiteX10" fmla="*/ 6421 w 8229"/>
              <a:gd name="connsiteY10" fmla="*/ 6085 h 10000"/>
              <a:gd name="connsiteX11" fmla="*/ 6479 w 8229"/>
              <a:gd name="connsiteY11" fmla="*/ 5772 h 10000"/>
              <a:gd name="connsiteX12" fmla="*/ 6479 w 8229"/>
              <a:gd name="connsiteY12" fmla="*/ 2293 h 10000"/>
              <a:gd name="connsiteX13" fmla="*/ 6534 w 8229"/>
              <a:gd name="connsiteY13" fmla="*/ 1980 h 10000"/>
              <a:gd name="connsiteX14" fmla="*/ 8119 w 8229"/>
              <a:gd name="connsiteY14" fmla="*/ 1980 h 10000"/>
              <a:gd name="connsiteX15" fmla="*/ 8174 w 8229"/>
              <a:gd name="connsiteY15" fmla="*/ 2293 h 10000"/>
              <a:gd name="connsiteX16" fmla="*/ 8174 w 8229"/>
              <a:gd name="connsiteY16" fmla="*/ 9687 h 10000"/>
              <a:gd name="connsiteX17" fmla="*/ 8229 w 8229"/>
              <a:gd name="connsiteY17" fmla="*/ 10000 h 10000"/>
              <a:gd name="connsiteX0" fmla="*/ 0 w 9933"/>
              <a:gd name="connsiteY0" fmla="*/ 8333 h 9687"/>
              <a:gd name="connsiteX1" fmla="*/ 69 w 9933"/>
              <a:gd name="connsiteY1" fmla="*/ 8647 h 9687"/>
              <a:gd name="connsiteX2" fmla="*/ 3540 w 9933"/>
              <a:gd name="connsiteY2" fmla="*/ 8647 h 9687"/>
              <a:gd name="connsiteX3" fmla="*/ 3606 w 9933"/>
              <a:gd name="connsiteY3" fmla="*/ 8333 h 9687"/>
              <a:gd name="connsiteX4" fmla="*/ 3606 w 9933"/>
              <a:gd name="connsiteY4" fmla="*/ 313 h 9687"/>
              <a:gd name="connsiteX5" fmla="*/ 3675 w 9933"/>
              <a:gd name="connsiteY5" fmla="*/ 0 h 9687"/>
              <a:gd name="connsiteX6" fmla="*/ 6804 w 9933"/>
              <a:gd name="connsiteY6" fmla="*/ 0 h 9687"/>
              <a:gd name="connsiteX7" fmla="*/ 6870 w 9933"/>
              <a:gd name="connsiteY7" fmla="*/ 313 h 9687"/>
              <a:gd name="connsiteX8" fmla="*/ 6870 w 9933"/>
              <a:gd name="connsiteY8" fmla="*/ 5772 h 9687"/>
              <a:gd name="connsiteX9" fmla="*/ 6936 w 9933"/>
              <a:gd name="connsiteY9" fmla="*/ 6085 h 9687"/>
              <a:gd name="connsiteX10" fmla="*/ 7803 w 9933"/>
              <a:gd name="connsiteY10" fmla="*/ 6085 h 9687"/>
              <a:gd name="connsiteX11" fmla="*/ 7873 w 9933"/>
              <a:gd name="connsiteY11" fmla="*/ 5772 h 9687"/>
              <a:gd name="connsiteX12" fmla="*/ 7873 w 9933"/>
              <a:gd name="connsiteY12" fmla="*/ 2293 h 9687"/>
              <a:gd name="connsiteX13" fmla="*/ 7940 w 9933"/>
              <a:gd name="connsiteY13" fmla="*/ 1980 h 9687"/>
              <a:gd name="connsiteX14" fmla="*/ 9866 w 9933"/>
              <a:gd name="connsiteY14" fmla="*/ 1980 h 9687"/>
              <a:gd name="connsiteX15" fmla="*/ 9933 w 9933"/>
              <a:gd name="connsiteY15" fmla="*/ 2293 h 9687"/>
              <a:gd name="connsiteX16" fmla="*/ 9933 w 9933"/>
              <a:gd name="connsiteY16" fmla="*/ 9687 h 9687"/>
              <a:gd name="connsiteX0" fmla="*/ 0 w 10000"/>
              <a:gd name="connsiteY0" fmla="*/ 8602 h 8926"/>
              <a:gd name="connsiteX1" fmla="*/ 69 w 10000"/>
              <a:gd name="connsiteY1" fmla="*/ 8926 h 8926"/>
              <a:gd name="connsiteX2" fmla="*/ 3564 w 10000"/>
              <a:gd name="connsiteY2" fmla="*/ 8926 h 8926"/>
              <a:gd name="connsiteX3" fmla="*/ 3630 w 10000"/>
              <a:gd name="connsiteY3" fmla="*/ 8602 h 8926"/>
              <a:gd name="connsiteX4" fmla="*/ 3630 w 10000"/>
              <a:gd name="connsiteY4" fmla="*/ 323 h 8926"/>
              <a:gd name="connsiteX5" fmla="*/ 3700 w 10000"/>
              <a:gd name="connsiteY5" fmla="*/ 0 h 8926"/>
              <a:gd name="connsiteX6" fmla="*/ 6850 w 10000"/>
              <a:gd name="connsiteY6" fmla="*/ 0 h 8926"/>
              <a:gd name="connsiteX7" fmla="*/ 6916 w 10000"/>
              <a:gd name="connsiteY7" fmla="*/ 323 h 8926"/>
              <a:gd name="connsiteX8" fmla="*/ 6916 w 10000"/>
              <a:gd name="connsiteY8" fmla="*/ 5959 h 8926"/>
              <a:gd name="connsiteX9" fmla="*/ 6983 w 10000"/>
              <a:gd name="connsiteY9" fmla="*/ 6282 h 8926"/>
              <a:gd name="connsiteX10" fmla="*/ 7856 w 10000"/>
              <a:gd name="connsiteY10" fmla="*/ 6282 h 8926"/>
              <a:gd name="connsiteX11" fmla="*/ 7926 w 10000"/>
              <a:gd name="connsiteY11" fmla="*/ 5959 h 8926"/>
              <a:gd name="connsiteX12" fmla="*/ 7926 w 10000"/>
              <a:gd name="connsiteY12" fmla="*/ 2367 h 8926"/>
              <a:gd name="connsiteX13" fmla="*/ 7994 w 10000"/>
              <a:gd name="connsiteY13" fmla="*/ 2044 h 8926"/>
              <a:gd name="connsiteX14" fmla="*/ 9933 w 10000"/>
              <a:gd name="connsiteY14" fmla="*/ 2044 h 8926"/>
              <a:gd name="connsiteX15" fmla="*/ 10000 w 10000"/>
              <a:gd name="connsiteY15" fmla="*/ 2367 h 8926"/>
              <a:gd name="connsiteX0" fmla="*/ 0 w 10000"/>
              <a:gd name="connsiteY0" fmla="*/ 9637 h 10000"/>
              <a:gd name="connsiteX1" fmla="*/ 3564 w 10000"/>
              <a:gd name="connsiteY1" fmla="*/ 10000 h 10000"/>
              <a:gd name="connsiteX2" fmla="*/ 3630 w 10000"/>
              <a:gd name="connsiteY2" fmla="*/ 9637 h 10000"/>
              <a:gd name="connsiteX3" fmla="*/ 3630 w 10000"/>
              <a:gd name="connsiteY3" fmla="*/ 362 h 10000"/>
              <a:gd name="connsiteX4" fmla="*/ 3700 w 10000"/>
              <a:gd name="connsiteY4" fmla="*/ 0 h 10000"/>
              <a:gd name="connsiteX5" fmla="*/ 6850 w 10000"/>
              <a:gd name="connsiteY5" fmla="*/ 0 h 10000"/>
              <a:gd name="connsiteX6" fmla="*/ 6916 w 10000"/>
              <a:gd name="connsiteY6" fmla="*/ 362 h 10000"/>
              <a:gd name="connsiteX7" fmla="*/ 6916 w 10000"/>
              <a:gd name="connsiteY7" fmla="*/ 6676 h 10000"/>
              <a:gd name="connsiteX8" fmla="*/ 6983 w 10000"/>
              <a:gd name="connsiteY8" fmla="*/ 7038 h 10000"/>
              <a:gd name="connsiteX9" fmla="*/ 7856 w 10000"/>
              <a:gd name="connsiteY9" fmla="*/ 7038 h 10000"/>
              <a:gd name="connsiteX10" fmla="*/ 7926 w 10000"/>
              <a:gd name="connsiteY10" fmla="*/ 6676 h 10000"/>
              <a:gd name="connsiteX11" fmla="*/ 7926 w 10000"/>
              <a:gd name="connsiteY11" fmla="*/ 2652 h 10000"/>
              <a:gd name="connsiteX12" fmla="*/ 7994 w 10000"/>
              <a:gd name="connsiteY12" fmla="*/ 2290 h 10000"/>
              <a:gd name="connsiteX13" fmla="*/ 9933 w 10000"/>
              <a:gd name="connsiteY13" fmla="*/ 2290 h 10000"/>
              <a:gd name="connsiteX14" fmla="*/ 10000 w 10000"/>
              <a:gd name="connsiteY14" fmla="*/ 2652 h 10000"/>
              <a:gd name="connsiteX0" fmla="*/ 0 w 9777"/>
              <a:gd name="connsiteY0" fmla="*/ 10089 h 10109"/>
              <a:gd name="connsiteX1" fmla="*/ 3341 w 9777"/>
              <a:gd name="connsiteY1" fmla="*/ 10000 h 10109"/>
              <a:gd name="connsiteX2" fmla="*/ 3407 w 9777"/>
              <a:gd name="connsiteY2" fmla="*/ 9637 h 10109"/>
              <a:gd name="connsiteX3" fmla="*/ 3407 w 9777"/>
              <a:gd name="connsiteY3" fmla="*/ 362 h 10109"/>
              <a:gd name="connsiteX4" fmla="*/ 3477 w 9777"/>
              <a:gd name="connsiteY4" fmla="*/ 0 h 10109"/>
              <a:gd name="connsiteX5" fmla="*/ 6627 w 9777"/>
              <a:gd name="connsiteY5" fmla="*/ 0 h 10109"/>
              <a:gd name="connsiteX6" fmla="*/ 6693 w 9777"/>
              <a:gd name="connsiteY6" fmla="*/ 362 h 10109"/>
              <a:gd name="connsiteX7" fmla="*/ 6693 w 9777"/>
              <a:gd name="connsiteY7" fmla="*/ 6676 h 10109"/>
              <a:gd name="connsiteX8" fmla="*/ 6760 w 9777"/>
              <a:gd name="connsiteY8" fmla="*/ 7038 h 10109"/>
              <a:gd name="connsiteX9" fmla="*/ 7633 w 9777"/>
              <a:gd name="connsiteY9" fmla="*/ 7038 h 10109"/>
              <a:gd name="connsiteX10" fmla="*/ 7703 w 9777"/>
              <a:gd name="connsiteY10" fmla="*/ 6676 h 10109"/>
              <a:gd name="connsiteX11" fmla="*/ 7703 w 9777"/>
              <a:gd name="connsiteY11" fmla="*/ 2652 h 10109"/>
              <a:gd name="connsiteX12" fmla="*/ 7771 w 9777"/>
              <a:gd name="connsiteY12" fmla="*/ 2290 h 10109"/>
              <a:gd name="connsiteX13" fmla="*/ 9710 w 9777"/>
              <a:gd name="connsiteY13" fmla="*/ 2290 h 10109"/>
              <a:gd name="connsiteX14" fmla="*/ 9777 w 9777"/>
              <a:gd name="connsiteY14" fmla="*/ 2652 h 10109"/>
              <a:gd name="connsiteX0" fmla="*/ 0 w 10000"/>
              <a:gd name="connsiteY0" fmla="*/ 9855 h 9901"/>
              <a:gd name="connsiteX1" fmla="*/ 3417 w 10000"/>
              <a:gd name="connsiteY1" fmla="*/ 9892 h 9901"/>
              <a:gd name="connsiteX2" fmla="*/ 3485 w 10000"/>
              <a:gd name="connsiteY2" fmla="*/ 9533 h 9901"/>
              <a:gd name="connsiteX3" fmla="*/ 3485 w 10000"/>
              <a:gd name="connsiteY3" fmla="*/ 358 h 9901"/>
              <a:gd name="connsiteX4" fmla="*/ 3556 w 10000"/>
              <a:gd name="connsiteY4" fmla="*/ 0 h 9901"/>
              <a:gd name="connsiteX5" fmla="*/ 6778 w 10000"/>
              <a:gd name="connsiteY5" fmla="*/ 0 h 9901"/>
              <a:gd name="connsiteX6" fmla="*/ 6846 w 10000"/>
              <a:gd name="connsiteY6" fmla="*/ 358 h 9901"/>
              <a:gd name="connsiteX7" fmla="*/ 6846 w 10000"/>
              <a:gd name="connsiteY7" fmla="*/ 6604 h 9901"/>
              <a:gd name="connsiteX8" fmla="*/ 6914 w 10000"/>
              <a:gd name="connsiteY8" fmla="*/ 6962 h 9901"/>
              <a:gd name="connsiteX9" fmla="*/ 7807 w 10000"/>
              <a:gd name="connsiteY9" fmla="*/ 6962 h 9901"/>
              <a:gd name="connsiteX10" fmla="*/ 7879 w 10000"/>
              <a:gd name="connsiteY10" fmla="*/ 6604 h 9901"/>
              <a:gd name="connsiteX11" fmla="*/ 7879 w 10000"/>
              <a:gd name="connsiteY11" fmla="*/ 2623 h 9901"/>
              <a:gd name="connsiteX12" fmla="*/ 7948 w 10000"/>
              <a:gd name="connsiteY12" fmla="*/ 2265 h 9901"/>
              <a:gd name="connsiteX13" fmla="*/ 9931 w 10000"/>
              <a:gd name="connsiteY13" fmla="*/ 2265 h 9901"/>
              <a:gd name="connsiteX14" fmla="*/ 10000 w 10000"/>
              <a:gd name="connsiteY14" fmla="*/ 2623 h 9901"/>
              <a:gd name="connsiteX0" fmla="*/ 0 w 10000"/>
              <a:gd name="connsiteY0" fmla="*/ 9954 h 10007"/>
              <a:gd name="connsiteX1" fmla="*/ 3417 w 10000"/>
              <a:gd name="connsiteY1" fmla="*/ 9991 h 10007"/>
              <a:gd name="connsiteX2" fmla="*/ 3485 w 10000"/>
              <a:gd name="connsiteY2" fmla="*/ 9628 h 10007"/>
              <a:gd name="connsiteX3" fmla="*/ 3485 w 10000"/>
              <a:gd name="connsiteY3" fmla="*/ 362 h 10007"/>
              <a:gd name="connsiteX4" fmla="*/ 3556 w 10000"/>
              <a:gd name="connsiteY4" fmla="*/ 0 h 10007"/>
              <a:gd name="connsiteX5" fmla="*/ 6778 w 10000"/>
              <a:gd name="connsiteY5" fmla="*/ 0 h 10007"/>
              <a:gd name="connsiteX6" fmla="*/ 6846 w 10000"/>
              <a:gd name="connsiteY6" fmla="*/ 362 h 10007"/>
              <a:gd name="connsiteX7" fmla="*/ 6846 w 10000"/>
              <a:gd name="connsiteY7" fmla="*/ 6670 h 10007"/>
              <a:gd name="connsiteX8" fmla="*/ 6914 w 10000"/>
              <a:gd name="connsiteY8" fmla="*/ 7032 h 10007"/>
              <a:gd name="connsiteX9" fmla="*/ 7807 w 10000"/>
              <a:gd name="connsiteY9" fmla="*/ 7032 h 10007"/>
              <a:gd name="connsiteX10" fmla="*/ 7879 w 10000"/>
              <a:gd name="connsiteY10" fmla="*/ 6670 h 10007"/>
              <a:gd name="connsiteX11" fmla="*/ 7879 w 10000"/>
              <a:gd name="connsiteY11" fmla="*/ 2649 h 10007"/>
              <a:gd name="connsiteX12" fmla="*/ 7948 w 10000"/>
              <a:gd name="connsiteY12" fmla="*/ 2288 h 10007"/>
              <a:gd name="connsiteX13" fmla="*/ 9931 w 10000"/>
              <a:gd name="connsiteY13" fmla="*/ 2288 h 10007"/>
              <a:gd name="connsiteX14" fmla="*/ 10000 w 10000"/>
              <a:gd name="connsiteY14" fmla="*/ 2649 h 10007"/>
              <a:gd name="connsiteX0" fmla="*/ 0 w 10000"/>
              <a:gd name="connsiteY0" fmla="*/ 9954 h 10038"/>
              <a:gd name="connsiteX1" fmla="*/ 3417 w 10000"/>
              <a:gd name="connsiteY1" fmla="*/ 9991 h 10038"/>
              <a:gd name="connsiteX2" fmla="*/ 3485 w 10000"/>
              <a:gd name="connsiteY2" fmla="*/ 9628 h 10038"/>
              <a:gd name="connsiteX3" fmla="*/ 3485 w 10000"/>
              <a:gd name="connsiteY3" fmla="*/ 362 h 10038"/>
              <a:gd name="connsiteX4" fmla="*/ 3556 w 10000"/>
              <a:gd name="connsiteY4" fmla="*/ 0 h 10038"/>
              <a:gd name="connsiteX5" fmla="*/ 6778 w 10000"/>
              <a:gd name="connsiteY5" fmla="*/ 0 h 10038"/>
              <a:gd name="connsiteX6" fmla="*/ 6846 w 10000"/>
              <a:gd name="connsiteY6" fmla="*/ 362 h 10038"/>
              <a:gd name="connsiteX7" fmla="*/ 6846 w 10000"/>
              <a:gd name="connsiteY7" fmla="*/ 6670 h 10038"/>
              <a:gd name="connsiteX8" fmla="*/ 6914 w 10000"/>
              <a:gd name="connsiteY8" fmla="*/ 7032 h 10038"/>
              <a:gd name="connsiteX9" fmla="*/ 7807 w 10000"/>
              <a:gd name="connsiteY9" fmla="*/ 7032 h 10038"/>
              <a:gd name="connsiteX10" fmla="*/ 7879 w 10000"/>
              <a:gd name="connsiteY10" fmla="*/ 6670 h 10038"/>
              <a:gd name="connsiteX11" fmla="*/ 7879 w 10000"/>
              <a:gd name="connsiteY11" fmla="*/ 2649 h 10038"/>
              <a:gd name="connsiteX12" fmla="*/ 7948 w 10000"/>
              <a:gd name="connsiteY12" fmla="*/ 2288 h 10038"/>
              <a:gd name="connsiteX13" fmla="*/ 9931 w 10000"/>
              <a:gd name="connsiteY13" fmla="*/ 2288 h 10038"/>
              <a:gd name="connsiteX14" fmla="*/ 10000 w 10000"/>
              <a:gd name="connsiteY14" fmla="*/ 2649 h 10038"/>
              <a:gd name="connsiteX0" fmla="*/ 0 w 10000"/>
              <a:gd name="connsiteY0" fmla="*/ 9954 h 10007"/>
              <a:gd name="connsiteX1" fmla="*/ 3417 w 10000"/>
              <a:gd name="connsiteY1" fmla="*/ 9991 h 10007"/>
              <a:gd name="connsiteX2" fmla="*/ 3485 w 10000"/>
              <a:gd name="connsiteY2" fmla="*/ 9628 h 10007"/>
              <a:gd name="connsiteX3" fmla="*/ 3485 w 10000"/>
              <a:gd name="connsiteY3" fmla="*/ 362 h 10007"/>
              <a:gd name="connsiteX4" fmla="*/ 3556 w 10000"/>
              <a:gd name="connsiteY4" fmla="*/ 0 h 10007"/>
              <a:gd name="connsiteX5" fmla="*/ 6778 w 10000"/>
              <a:gd name="connsiteY5" fmla="*/ 0 h 10007"/>
              <a:gd name="connsiteX6" fmla="*/ 6846 w 10000"/>
              <a:gd name="connsiteY6" fmla="*/ 362 h 10007"/>
              <a:gd name="connsiteX7" fmla="*/ 6846 w 10000"/>
              <a:gd name="connsiteY7" fmla="*/ 6670 h 10007"/>
              <a:gd name="connsiteX8" fmla="*/ 6914 w 10000"/>
              <a:gd name="connsiteY8" fmla="*/ 7032 h 10007"/>
              <a:gd name="connsiteX9" fmla="*/ 7807 w 10000"/>
              <a:gd name="connsiteY9" fmla="*/ 7032 h 10007"/>
              <a:gd name="connsiteX10" fmla="*/ 7879 w 10000"/>
              <a:gd name="connsiteY10" fmla="*/ 6670 h 10007"/>
              <a:gd name="connsiteX11" fmla="*/ 7879 w 10000"/>
              <a:gd name="connsiteY11" fmla="*/ 2649 h 10007"/>
              <a:gd name="connsiteX12" fmla="*/ 7948 w 10000"/>
              <a:gd name="connsiteY12" fmla="*/ 2288 h 10007"/>
              <a:gd name="connsiteX13" fmla="*/ 9931 w 10000"/>
              <a:gd name="connsiteY13" fmla="*/ 2288 h 10007"/>
              <a:gd name="connsiteX14" fmla="*/ 10000 w 10000"/>
              <a:gd name="connsiteY14" fmla="*/ 2649 h 10007"/>
              <a:gd name="connsiteX0" fmla="*/ 0 w 10000"/>
              <a:gd name="connsiteY0" fmla="*/ 9972 h 10018"/>
              <a:gd name="connsiteX1" fmla="*/ 3417 w 10000"/>
              <a:gd name="connsiteY1" fmla="*/ 9991 h 10018"/>
              <a:gd name="connsiteX2" fmla="*/ 3485 w 10000"/>
              <a:gd name="connsiteY2" fmla="*/ 9628 h 10018"/>
              <a:gd name="connsiteX3" fmla="*/ 3485 w 10000"/>
              <a:gd name="connsiteY3" fmla="*/ 362 h 10018"/>
              <a:gd name="connsiteX4" fmla="*/ 3556 w 10000"/>
              <a:gd name="connsiteY4" fmla="*/ 0 h 10018"/>
              <a:gd name="connsiteX5" fmla="*/ 6778 w 10000"/>
              <a:gd name="connsiteY5" fmla="*/ 0 h 10018"/>
              <a:gd name="connsiteX6" fmla="*/ 6846 w 10000"/>
              <a:gd name="connsiteY6" fmla="*/ 362 h 10018"/>
              <a:gd name="connsiteX7" fmla="*/ 6846 w 10000"/>
              <a:gd name="connsiteY7" fmla="*/ 6670 h 10018"/>
              <a:gd name="connsiteX8" fmla="*/ 6914 w 10000"/>
              <a:gd name="connsiteY8" fmla="*/ 7032 h 10018"/>
              <a:gd name="connsiteX9" fmla="*/ 7807 w 10000"/>
              <a:gd name="connsiteY9" fmla="*/ 7032 h 10018"/>
              <a:gd name="connsiteX10" fmla="*/ 7879 w 10000"/>
              <a:gd name="connsiteY10" fmla="*/ 6670 h 10018"/>
              <a:gd name="connsiteX11" fmla="*/ 7879 w 10000"/>
              <a:gd name="connsiteY11" fmla="*/ 2649 h 10018"/>
              <a:gd name="connsiteX12" fmla="*/ 7948 w 10000"/>
              <a:gd name="connsiteY12" fmla="*/ 2288 h 10018"/>
              <a:gd name="connsiteX13" fmla="*/ 9931 w 10000"/>
              <a:gd name="connsiteY13" fmla="*/ 2288 h 10018"/>
              <a:gd name="connsiteX14" fmla="*/ 10000 w 10000"/>
              <a:gd name="connsiteY14" fmla="*/ 2649 h 10018"/>
              <a:gd name="connsiteX0" fmla="*/ 0 w 10000"/>
              <a:gd name="connsiteY0" fmla="*/ 9972 h 9991"/>
              <a:gd name="connsiteX1" fmla="*/ 3417 w 10000"/>
              <a:gd name="connsiteY1" fmla="*/ 9991 h 9991"/>
              <a:gd name="connsiteX2" fmla="*/ 3485 w 10000"/>
              <a:gd name="connsiteY2" fmla="*/ 9628 h 9991"/>
              <a:gd name="connsiteX3" fmla="*/ 3485 w 10000"/>
              <a:gd name="connsiteY3" fmla="*/ 362 h 9991"/>
              <a:gd name="connsiteX4" fmla="*/ 3556 w 10000"/>
              <a:gd name="connsiteY4" fmla="*/ 0 h 9991"/>
              <a:gd name="connsiteX5" fmla="*/ 6778 w 10000"/>
              <a:gd name="connsiteY5" fmla="*/ 0 h 9991"/>
              <a:gd name="connsiteX6" fmla="*/ 6846 w 10000"/>
              <a:gd name="connsiteY6" fmla="*/ 362 h 9991"/>
              <a:gd name="connsiteX7" fmla="*/ 6846 w 10000"/>
              <a:gd name="connsiteY7" fmla="*/ 6670 h 9991"/>
              <a:gd name="connsiteX8" fmla="*/ 6914 w 10000"/>
              <a:gd name="connsiteY8" fmla="*/ 7032 h 9991"/>
              <a:gd name="connsiteX9" fmla="*/ 7807 w 10000"/>
              <a:gd name="connsiteY9" fmla="*/ 7032 h 9991"/>
              <a:gd name="connsiteX10" fmla="*/ 7879 w 10000"/>
              <a:gd name="connsiteY10" fmla="*/ 6670 h 9991"/>
              <a:gd name="connsiteX11" fmla="*/ 7879 w 10000"/>
              <a:gd name="connsiteY11" fmla="*/ 2649 h 9991"/>
              <a:gd name="connsiteX12" fmla="*/ 7948 w 10000"/>
              <a:gd name="connsiteY12" fmla="*/ 2288 h 9991"/>
              <a:gd name="connsiteX13" fmla="*/ 9931 w 10000"/>
              <a:gd name="connsiteY13" fmla="*/ 2288 h 9991"/>
              <a:gd name="connsiteX14" fmla="*/ 10000 w 10000"/>
              <a:gd name="connsiteY14" fmla="*/ 2649 h 9991"/>
              <a:gd name="connsiteX0" fmla="*/ 0 w 10000"/>
              <a:gd name="connsiteY0" fmla="*/ 10008 h 10015"/>
              <a:gd name="connsiteX1" fmla="*/ 3417 w 10000"/>
              <a:gd name="connsiteY1" fmla="*/ 10000 h 10015"/>
              <a:gd name="connsiteX2" fmla="*/ 3485 w 10000"/>
              <a:gd name="connsiteY2" fmla="*/ 9637 h 10015"/>
              <a:gd name="connsiteX3" fmla="*/ 3485 w 10000"/>
              <a:gd name="connsiteY3" fmla="*/ 362 h 10015"/>
              <a:gd name="connsiteX4" fmla="*/ 3556 w 10000"/>
              <a:gd name="connsiteY4" fmla="*/ 0 h 10015"/>
              <a:gd name="connsiteX5" fmla="*/ 6778 w 10000"/>
              <a:gd name="connsiteY5" fmla="*/ 0 h 10015"/>
              <a:gd name="connsiteX6" fmla="*/ 6846 w 10000"/>
              <a:gd name="connsiteY6" fmla="*/ 362 h 10015"/>
              <a:gd name="connsiteX7" fmla="*/ 6846 w 10000"/>
              <a:gd name="connsiteY7" fmla="*/ 6676 h 10015"/>
              <a:gd name="connsiteX8" fmla="*/ 6914 w 10000"/>
              <a:gd name="connsiteY8" fmla="*/ 7038 h 10015"/>
              <a:gd name="connsiteX9" fmla="*/ 7807 w 10000"/>
              <a:gd name="connsiteY9" fmla="*/ 7038 h 10015"/>
              <a:gd name="connsiteX10" fmla="*/ 7879 w 10000"/>
              <a:gd name="connsiteY10" fmla="*/ 6676 h 10015"/>
              <a:gd name="connsiteX11" fmla="*/ 7879 w 10000"/>
              <a:gd name="connsiteY11" fmla="*/ 2651 h 10015"/>
              <a:gd name="connsiteX12" fmla="*/ 7948 w 10000"/>
              <a:gd name="connsiteY12" fmla="*/ 2290 h 10015"/>
              <a:gd name="connsiteX13" fmla="*/ 9931 w 10000"/>
              <a:gd name="connsiteY13" fmla="*/ 2290 h 10015"/>
              <a:gd name="connsiteX14" fmla="*/ 10000 w 10000"/>
              <a:gd name="connsiteY14" fmla="*/ 2651 h 10015"/>
              <a:gd name="connsiteX0" fmla="*/ 0 w 10000"/>
              <a:gd name="connsiteY0" fmla="*/ 10008 h 10008"/>
              <a:gd name="connsiteX1" fmla="*/ 3417 w 10000"/>
              <a:gd name="connsiteY1" fmla="*/ 10000 h 10008"/>
              <a:gd name="connsiteX2" fmla="*/ 3485 w 10000"/>
              <a:gd name="connsiteY2" fmla="*/ 9637 h 10008"/>
              <a:gd name="connsiteX3" fmla="*/ 3485 w 10000"/>
              <a:gd name="connsiteY3" fmla="*/ 362 h 10008"/>
              <a:gd name="connsiteX4" fmla="*/ 3556 w 10000"/>
              <a:gd name="connsiteY4" fmla="*/ 0 h 10008"/>
              <a:gd name="connsiteX5" fmla="*/ 6778 w 10000"/>
              <a:gd name="connsiteY5" fmla="*/ 0 h 10008"/>
              <a:gd name="connsiteX6" fmla="*/ 6846 w 10000"/>
              <a:gd name="connsiteY6" fmla="*/ 362 h 10008"/>
              <a:gd name="connsiteX7" fmla="*/ 6846 w 10000"/>
              <a:gd name="connsiteY7" fmla="*/ 6676 h 10008"/>
              <a:gd name="connsiteX8" fmla="*/ 6914 w 10000"/>
              <a:gd name="connsiteY8" fmla="*/ 7038 h 10008"/>
              <a:gd name="connsiteX9" fmla="*/ 7807 w 10000"/>
              <a:gd name="connsiteY9" fmla="*/ 7038 h 10008"/>
              <a:gd name="connsiteX10" fmla="*/ 7879 w 10000"/>
              <a:gd name="connsiteY10" fmla="*/ 6676 h 10008"/>
              <a:gd name="connsiteX11" fmla="*/ 7879 w 10000"/>
              <a:gd name="connsiteY11" fmla="*/ 2651 h 10008"/>
              <a:gd name="connsiteX12" fmla="*/ 7948 w 10000"/>
              <a:gd name="connsiteY12" fmla="*/ 2290 h 10008"/>
              <a:gd name="connsiteX13" fmla="*/ 9931 w 10000"/>
              <a:gd name="connsiteY13" fmla="*/ 2290 h 10008"/>
              <a:gd name="connsiteX14" fmla="*/ 10000 w 10000"/>
              <a:gd name="connsiteY14" fmla="*/ 2651 h 10008"/>
              <a:gd name="connsiteX0" fmla="*/ 0 w 10000"/>
              <a:gd name="connsiteY0" fmla="*/ 10008 h 10008"/>
              <a:gd name="connsiteX1" fmla="*/ 3417 w 10000"/>
              <a:gd name="connsiteY1" fmla="*/ 10000 h 10008"/>
              <a:gd name="connsiteX2" fmla="*/ 3485 w 10000"/>
              <a:gd name="connsiteY2" fmla="*/ 9637 h 10008"/>
              <a:gd name="connsiteX3" fmla="*/ 3485 w 10000"/>
              <a:gd name="connsiteY3" fmla="*/ 362 h 10008"/>
              <a:gd name="connsiteX4" fmla="*/ 3556 w 10000"/>
              <a:gd name="connsiteY4" fmla="*/ 0 h 10008"/>
              <a:gd name="connsiteX5" fmla="*/ 6778 w 10000"/>
              <a:gd name="connsiteY5" fmla="*/ 0 h 10008"/>
              <a:gd name="connsiteX6" fmla="*/ 6846 w 10000"/>
              <a:gd name="connsiteY6" fmla="*/ 362 h 10008"/>
              <a:gd name="connsiteX7" fmla="*/ 6846 w 10000"/>
              <a:gd name="connsiteY7" fmla="*/ 6676 h 10008"/>
              <a:gd name="connsiteX8" fmla="*/ 6914 w 10000"/>
              <a:gd name="connsiteY8" fmla="*/ 7038 h 10008"/>
              <a:gd name="connsiteX9" fmla="*/ 7807 w 10000"/>
              <a:gd name="connsiteY9" fmla="*/ 7038 h 10008"/>
              <a:gd name="connsiteX10" fmla="*/ 7879 w 10000"/>
              <a:gd name="connsiteY10" fmla="*/ 6676 h 10008"/>
              <a:gd name="connsiteX11" fmla="*/ 7879 w 10000"/>
              <a:gd name="connsiteY11" fmla="*/ 2651 h 10008"/>
              <a:gd name="connsiteX12" fmla="*/ 7948 w 10000"/>
              <a:gd name="connsiteY12" fmla="*/ 2290 h 10008"/>
              <a:gd name="connsiteX13" fmla="*/ 10000 w 10000"/>
              <a:gd name="connsiteY13" fmla="*/ 2651 h 10008"/>
              <a:gd name="connsiteX0" fmla="*/ 0 w 9969"/>
              <a:gd name="connsiteY0" fmla="*/ 10008 h 10008"/>
              <a:gd name="connsiteX1" fmla="*/ 3417 w 9969"/>
              <a:gd name="connsiteY1" fmla="*/ 10000 h 10008"/>
              <a:gd name="connsiteX2" fmla="*/ 3485 w 9969"/>
              <a:gd name="connsiteY2" fmla="*/ 9637 h 10008"/>
              <a:gd name="connsiteX3" fmla="*/ 3485 w 9969"/>
              <a:gd name="connsiteY3" fmla="*/ 362 h 10008"/>
              <a:gd name="connsiteX4" fmla="*/ 3556 w 9969"/>
              <a:gd name="connsiteY4" fmla="*/ 0 h 10008"/>
              <a:gd name="connsiteX5" fmla="*/ 6778 w 9969"/>
              <a:gd name="connsiteY5" fmla="*/ 0 h 10008"/>
              <a:gd name="connsiteX6" fmla="*/ 6846 w 9969"/>
              <a:gd name="connsiteY6" fmla="*/ 362 h 10008"/>
              <a:gd name="connsiteX7" fmla="*/ 6846 w 9969"/>
              <a:gd name="connsiteY7" fmla="*/ 6676 h 10008"/>
              <a:gd name="connsiteX8" fmla="*/ 6914 w 9969"/>
              <a:gd name="connsiteY8" fmla="*/ 7038 h 10008"/>
              <a:gd name="connsiteX9" fmla="*/ 7807 w 9969"/>
              <a:gd name="connsiteY9" fmla="*/ 7038 h 10008"/>
              <a:gd name="connsiteX10" fmla="*/ 7879 w 9969"/>
              <a:gd name="connsiteY10" fmla="*/ 6676 h 10008"/>
              <a:gd name="connsiteX11" fmla="*/ 7879 w 9969"/>
              <a:gd name="connsiteY11" fmla="*/ 2651 h 10008"/>
              <a:gd name="connsiteX12" fmla="*/ 7948 w 9969"/>
              <a:gd name="connsiteY12" fmla="*/ 2290 h 10008"/>
              <a:gd name="connsiteX13" fmla="*/ 9969 w 9969"/>
              <a:gd name="connsiteY13" fmla="*/ 2271 h 10008"/>
              <a:gd name="connsiteX0" fmla="*/ 0 w 9995"/>
              <a:gd name="connsiteY0" fmla="*/ 10000 h 10000"/>
              <a:gd name="connsiteX1" fmla="*/ 3428 w 9995"/>
              <a:gd name="connsiteY1" fmla="*/ 9992 h 10000"/>
              <a:gd name="connsiteX2" fmla="*/ 3496 w 9995"/>
              <a:gd name="connsiteY2" fmla="*/ 9629 h 10000"/>
              <a:gd name="connsiteX3" fmla="*/ 3496 w 9995"/>
              <a:gd name="connsiteY3" fmla="*/ 362 h 10000"/>
              <a:gd name="connsiteX4" fmla="*/ 3567 w 9995"/>
              <a:gd name="connsiteY4" fmla="*/ 0 h 10000"/>
              <a:gd name="connsiteX5" fmla="*/ 6799 w 9995"/>
              <a:gd name="connsiteY5" fmla="*/ 0 h 10000"/>
              <a:gd name="connsiteX6" fmla="*/ 6867 w 9995"/>
              <a:gd name="connsiteY6" fmla="*/ 362 h 10000"/>
              <a:gd name="connsiteX7" fmla="*/ 6867 w 9995"/>
              <a:gd name="connsiteY7" fmla="*/ 6671 h 10000"/>
              <a:gd name="connsiteX8" fmla="*/ 6936 w 9995"/>
              <a:gd name="connsiteY8" fmla="*/ 7032 h 10000"/>
              <a:gd name="connsiteX9" fmla="*/ 7831 w 9995"/>
              <a:gd name="connsiteY9" fmla="*/ 7032 h 10000"/>
              <a:gd name="connsiteX10" fmla="*/ 7904 w 9995"/>
              <a:gd name="connsiteY10" fmla="*/ 6671 h 10000"/>
              <a:gd name="connsiteX11" fmla="*/ 7904 w 9995"/>
              <a:gd name="connsiteY11" fmla="*/ 2649 h 10000"/>
              <a:gd name="connsiteX12" fmla="*/ 7973 w 9995"/>
              <a:gd name="connsiteY12" fmla="*/ 2288 h 10000"/>
              <a:gd name="connsiteX13" fmla="*/ 9995 w 9995"/>
              <a:gd name="connsiteY13" fmla="*/ 2377 h 10000"/>
              <a:gd name="connsiteX0" fmla="*/ 0 w 10000"/>
              <a:gd name="connsiteY0" fmla="*/ 10000 h 10000"/>
              <a:gd name="connsiteX1" fmla="*/ 3430 w 10000"/>
              <a:gd name="connsiteY1" fmla="*/ 9992 h 10000"/>
              <a:gd name="connsiteX2" fmla="*/ 3498 w 10000"/>
              <a:gd name="connsiteY2" fmla="*/ 9629 h 10000"/>
              <a:gd name="connsiteX3" fmla="*/ 3498 w 10000"/>
              <a:gd name="connsiteY3" fmla="*/ 362 h 10000"/>
              <a:gd name="connsiteX4" fmla="*/ 3569 w 10000"/>
              <a:gd name="connsiteY4" fmla="*/ 0 h 10000"/>
              <a:gd name="connsiteX5" fmla="*/ 6802 w 10000"/>
              <a:gd name="connsiteY5" fmla="*/ 0 h 10000"/>
              <a:gd name="connsiteX6" fmla="*/ 6870 w 10000"/>
              <a:gd name="connsiteY6" fmla="*/ 362 h 10000"/>
              <a:gd name="connsiteX7" fmla="*/ 6870 w 10000"/>
              <a:gd name="connsiteY7" fmla="*/ 6671 h 10000"/>
              <a:gd name="connsiteX8" fmla="*/ 6939 w 10000"/>
              <a:gd name="connsiteY8" fmla="*/ 7032 h 10000"/>
              <a:gd name="connsiteX9" fmla="*/ 7835 w 10000"/>
              <a:gd name="connsiteY9" fmla="*/ 7032 h 10000"/>
              <a:gd name="connsiteX10" fmla="*/ 7908 w 10000"/>
              <a:gd name="connsiteY10" fmla="*/ 6671 h 10000"/>
              <a:gd name="connsiteX11" fmla="*/ 7908 w 10000"/>
              <a:gd name="connsiteY11" fmla="*/ 2649 h 10000"/>
              <a:gd name="connsiteX12" fmla="*/ 7977 w 10000"/>
              <a:gd name="connsiteY12" fmla="*/ 2288 h 10000"/>
              <a:gd name="connsiteX13" fmla="*/ 10000 w 10000"/>
              <a:gd name="connsiteY13" fmla="*/ 2296 h 10000"/>
              <a:gd name="connsiteX0" fmla="*/ 0 w 10049"/>
              <a:gd name="connsiteY0" fmla="*/ 10000 h 10000"/>
              <a:gd name="connsiteX1" fmla="*/ 3479 w 10049"/>
              <a:gd name="connsiteY1" fmla="*/ 9992 h 10000"/>
              <a:gd name="connsiteX2" fmla="*/ 3547 w 10049"/>
              <a:gd name="connsiteY2" fmla="*/ 9629 h 10000"/>
              <a:gd name="connsiteX3" fmla="*/ 3547 w 10049"/>
              <a:gd name="connsiteY3" fmla="*/ 362 h 10000"/>
              <a:gd name="connsiteX4" fmla="*/ 3618 w 10049"/>
              <a:gd name="connsiteY4" fmla="*/ 0 h 10000"/>
              <a:gd name="connsiteX5" fmla="*/ 6851 w 10049"/>
              <a:gd name="connsiteY5" fmla="*/ 0 h 10000"/>
              <a:gd name="connsiteX6" fmla="*/ 6919 w 10049"/>
              <a:gd name="connsiteY6" fmla="*/ 362 h 10000"/>
              <a:gd name="connsiteX7" fmla="*/ 6919 w 10049"/>
              <a:gd name="connsiteY7" fmla="*/ 6671 h 10000"/>
              <a:gd name="connsiteX8" fmla="*/ 6988 w 10049"/>
              <a:gd name="connsiteY8" fmla="*/ 7032 h 10000"/>
              <a:gd name="connsiteX9" fmla="*/ 7884 w 10049"/>
              <a:gd name="connsiteY9" fmla="*/ 7032 h 10000"/>
              <a:gd name="connsiteX10" fmla="*/ 7957 w 10049"/>
              <a:gd name="connsiteY10" fmla="*/ 6671 h 10000"/>
              <a:gd name="connsiteX11" fmla="*/ 7957 w 10049"/>
              <a:gd name="connsiteY11" fmla="*/ 2649 h 10000"/>
              <a:gd name="connsiteX12" fmla="*/ 8026 w 10049"/>
              <a:gd name="connsiteY12" fmla="*/ 2288 h 10000"/>
              <a:gd name="connsiteX13" fmla="*/ 10049 w 10049"/>
              <a:gd name="connsiteY13" fmla="*/ 2296 h 10000"/>
              <a:gd name="connsiteX0" fmla="*/ 0 w 10007"/>
              <a:gd name="connsiteY0" fmla="*/ 10000 h 10000"/>
              <a:gd name="connsiteX1" fmla="*/ 3437 w 10007"/>
              <a:gd name="connsiteY1" fmla="*/ 9992 h 10000"/>
              <a:gd name="connsiteX2" fmla="*/ 3505 w 10007"/>
              <a:gd name="connsiteY2" fmla="*/ 9629 h 10000"/>
              <a:gd name="connsiteX3" fmla="*/ 3505 w 10007"/>
              <a:gd name="connsiteY3" fmla="*/ 362 h 10000"/>
              <a:gd name="connsiteX4" fmla="*/ 3576 w 10007"/>
              <a:gd name="connsiteY4" fmla="*/ 0 h 10000"/>
              <a:gd name="connsiteX5" fmla="*/ 6809 w 10007"/>
              <a:gd name="connsiteY5" fmla="*/ 0 h 10000"/>
              <a:gd name="connsiteX6" fmla="*/ 6877 w 10007"/>
              <a:gd name="connsiteY6" fmla="*/ 362 h 10000"/>
              <a:gd name="connsiteX7" fmla="*/ 6877 w 10007"/>
              <a:gd name="connsiteY7" fmla="*/ 6671 h 10000"/>
              <a:gd name="connsiteX8" fmla="*/ 6946 w 10007"/>
              <a:gd name="connsiteY8" fmla="*/ 7032 h 10000"/>
              <a:gd name="connsiteX9" fmla="*/ 7842 w 10007"/>
              <a:gd name="connsiteY9" fmla="*/ 7032 h 10000"/>
              <a:gd name="connsiteX10" fmla="*/ 7915 w 10007"/>
              <a:gd name="connsiteY10" fmla="*/ 6671 h 10000"/>
              <a:gd name="connsiteX11" fmla="*/ 7915 w 10007"/>
              <a:gd name="connsiteY11" fmla="*/ 2649 h 10000"/>
              <a:gd name="connsiteX12" fmla="*/ 7984 w 10007"/>
              <a:gd name="connsiteY12" fmla="*/ 2288 h 10000"/>
              <a:gd name="connsiteX13" fmla="*/ 10007 w 10007"/>
              <a:gd name="connsiteY13" fmla="*/ 2296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007" h="10000">
                <a:moveTo>
                  <a:pt x="0" y="10000"/>
                </a:moveTo>
                <a:lnTo>
                  <a:pt x="3437" y="9992"/>
                </a:lnTo>
                <a:cubicBezTo>
                  <a:pt x="3474" y="9992"/>
                  <a:pt x="3505" y="9824"/>
                  <a:pt x="3505" y="9629"/>
                </a:cubicBezTo>
                <a:lnTo>
                  <a:pt x="3505" y="362"/>
                </a:lnTo>
                <a:cubicBezTo>
                  <a:pt x="3505" y="168"/>
                  <a:pt x="3536" y="0"/>
                  <a:pt x="3576" y="0"/>
                </a:cubicBezTo>
                <a:lnTo>
                  <a:pt x="6809" y="0"/>
                </a:lnTo>
                <a:cubicBezTo>
                  <a:pt x="6845" y="0"/>
                  <a:pt x="6877" y="168"/>
                  <a:pt x="6877" y="362"/>
                </a:cubicBezTo>
                <a:lnTo>
                  <a:pt x="6877" y="6671"/>
                </a:lnTo>
                <a:cubicBezTo>
                  <a:pt x="6877" y="6865"/>
                  <a:pt x="6906" y="7032"/>
                  <a:pt x="6946" y="7032"/>
                </a:cubicBezTo>
                <a:lnTo>
                  <a:pt x="7842" y="7032"/>
                </a:lnTo>
                <a:cubicBezTo>
                  <a:pt x="7883" y="7032"/>
                  <a:pt x="7915" y="6865"/>
                  <a:pt x="7915" y="6671"/>
                </a:cubicBezTo>
                <a:lnTo>
                  <a:pt x="7915" y="2649"/>
                </a:lnTo>
                <a:cubicBezTo>
                  <a:pt x="7915" y="2443"/>
                  <a:pt x="7943" y="2288"/>
                  <a:pt x="7984" y="2288"/>
                </a:cubicBezTo>
                <a:lnTo>
                  <a:pt x="10007" y="2296"/>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 name="Freeform 8"/>
          <p:cNvSpPr>
            <a:spLocks/>
          </p:cNvSpPr>
          <p:nvPr/>
        </p:nvSpPr>
        <p:spPr bwMode="gray">
          <a:xfrm>
            <a:off x="-10278" y="5966252"/>
            <a:ext cx="9157459" cy="323466"/>
          </a:xfrm>
          <a:custGeom>
            <a:avLst/>
            <a:gdLst>
              <a:gd name="T0" fmla="*/ 0 w 8480"/>
              <a:gd name="T1" fmla="*/ 0 h 144"/>
              <a:gd name="T2" fmla="*/ 776 w 8480"/>
              <a:gd name="T3" fmla="*/ 0 h 144"/>
              <a:gd name="T4" fmla="*/ 804 w 8480"/>
              <a:gd name="T5" fmla="*/ 28 h 144"/>
              <a:gd name="T6" fmla="*/ 804 w 8480"/>
              <a:gd name="T7" fmla="*/ 114 h 144"/>
              <a:gd name="T8" fmla="*/ 831 w 8480"/>
              <a:gd name="T9" fmla="*/ 142 h 144"/>
              <a:gd name="T10" fmla="*/ 2854 w 8480"/>
              <a:gd name="T11" fmla="*/ 142 h 144"/>
              <a:gd name="T12" fmla="*/ 2882 w 8480"/>
              <a:gd name="T13" fmla="*/ 114 h 144"/>
              <a:gd name="T14" fmla="*/ 2882 w 8480"/>
              <a:gd name="T15" fmla="*/ 28 h 144"/>
              <a:gd name="T16" fmla="*/ 2910 w 8480"/>
              <a:gd name="T17" fmla="*/ 0 h 144"/>
              <a:gd name="T18" fmla="*/ 6767 w 8480"/>
              <a:gd name="T19" fmla="*/ 0 h 144"/>
              <a:gd name="T20" fmla="*/ 6795 w 8480"/>
              <a:gd name="T21" fmla="*/ 28 h 144"/>
              <a:gd name="T22" fmla="*/ 6795 w 8480"/>
              <a:gd name="T23" fmla="*/ 116 h 144"/>
              <a:gd name="T24" fmla="*/ 6823 w 8480"/>
              <a:gd name="T25" fmla="*/ 144 h 144"/>
              <a:gd name="T26" fmla="*/ 8480 w 8480"/>
              <a:gd name="T27" fmla="*/ 144 h 144"/>
              <a:gd name="connsiteX0" fmla="*/ 0 w 9085"/>
              <a:gd name="connsiteY0" fmla="*/ 0 h 10000"/>
              <a:gd name="connsiteX1" fmla="*/ 33 w 9085"/>
              <a:gd name="connsiteY1" fmla="*/ 1944 h 10000"/>
              <a:gd name="connsiteX2" fmla="*/ 33 w 9085"/>
              <a:gd name="connsiteY2" fmla="*/ 7917 h 10000"/>
              <a:gd name="connsiteX3" fmla="*/ 65 w 9085"/>
              <a:gd name="connsiteY3" fmla="*/ 9861 h 10000"/>
              <a:gd name="connsiteX4" fmla="*/ 2451 w 9085"/>
              <a:gd name="connsiteY4" fmla="*/ 9861 h 10000"/>
              <a:gd name="connsiteX5" fmla="*/ 2484 w 9085"/>
              <a:gd name="connsiteY5" fmla="*/ 7917 h 10000"/>
              <a:gd name="connsiteX6" fmla="*/ 2484 w 9085"/>
              <a:gd name="connsiteY6" fmla="*/ 1944 h 10000"/>
              <a:gd name="connsiteX7" fmla="*/ 2517 w 9085"/>
              <a:gd name="connsiteY7" fmla="*/ 0 h 10000"/>
              <a:gd name="connsiteX8" fmla="*/ 7065 w 9085"/>
              <a:gd name="connsiteY8" fmla="*/ 0 h 10000"/>
              <a:gd name="connsiteX9" fmla="*/ 7098 w 9085"/>
              <a:gd name="connsiteY9" fmla="*/ 1944 h 10000"/>
              <a:gd name="connsiteX10" fmla="*/ 7098 w 9085"/>
              <a:gd name="connsiteY10" fmla="*/ 8056 h 10000"/>
              <a:gd name="connsiteX11" fmla="*/ 7131 w 9085"/>
              <a:gd name="connsiteY11" fmla="*/ 10000 h 10000"/>
              <a:gd name="connsiteX12" fmla="*/ 9085 w 9085"/>
              <a:gd name="connsiteY12" fmla="*/ 10000 h 10000"/>
              <a:gd name="connsiteX0" fmla="*/ 0 w 9964"/>
              <a:gd name="connsiteY0" fmla="*/ 1944 h 10000"/>
              <a:gd name="connsiteX1" fmla="*/ 0 w 9964"/>
              <a:gd name="connsiteY1" fmla="*/ 7917 h 10000"/>
              <a:gd name="connsiteX2" fmla="*/ 36 w 9964"/>
              <a:gd name="connsiteY2" fmla="*/ 9861 h 10000"/>
              <a:gd name="connsiteX3" fmla="*/ 2662 w 9964"/>
              <a:gd name="connsiteY3" fmla="*/ 9861 h 10000"/>
              <a:gd name="connsiteX4" fmla="*/ 2698 w 9964"/>
              <a:gd name="connsiteY4" fmla="*/ 7917 h 10000"/>
              <a:gd name="connsiteX5" fmla="*/ 2698 w 9964"/>
              <a:gd name="connsiteY5" fmla="*/ 1944 h 10000"/>
              <a:gd name="connsiteX6" fmla="*/ 2735 w 9964"/>
              <a:gd name="connsiteY6" fmla="*/ 0 h 10000"/>
              <a:gd name="connsiteX7" fmla="*/ 7741 w 9964"/>
              <a:gd name="connsiteY7" fmla="*/ 0 h 10000"/>
              <a:gd name="connsiteX8" fmla="*/ 7777 w 9964"/>
              <a:gd name="connsiteY8" fmla="*/ 1944 h 10000"/>
              <a:gd name="connsiteX9" fmla="*/ 7777 w 9964"/>
              <a:gd name="connsiteY9" fmla="*/ 8056 h 10000"/>
              <a:gd name="connsiteX10" fmla="*/ 7813 w 9964"/>
              <a:gd name="connsiteY10" fmla="*/ 10000 h 10000"/>
              <a:gd name="connsiteX11" fmla="*/ 9964 w 9964"/>
              <a:gd name="connsiteY11" fmla="*/ 10000 h 10000"/>
              <a:gd name="connsiteX0" fmla="*/ 0 w 10000"/>
              <a:gd name="connsiteY0" fmla="*/ 7917 h 10000"/>
              <a:gd name="connsiteX1" fmla="*/ 36 w 10000"/>
              <a:gd name="connsiteY1" fmla="*/ 9861 h 10000"/>
              <a:gd name="connsiteX2" fmla="*/ 2672 w 10000"/>
              <a:gd name="connsiteY2" fmla="*/ 9861 h 10000"/>
              <a:gd name="connsiteX3" fmla="*/ 2708 w 10000"/>
              <a:gd name="connsiteY3" fmla="*/ 7917 h 10000"/>
              <a:gd name="connsiteX4" fmla="*/ 2708 w 10000"/>
              <a:gd name="connsiteY4" fmla="*/ 1944 h 10000"/>
              <a:gd name="connsiteX5" fmla="*/ 2745 w 10000"/>
              <a:gd name="connsiteY5" fmla="*/ 0 h 10000"/>
              <a:gd name="connsiteX6" fmla="*/ 7769 w 10000"/>
              <a:gd name="connsiteY6" fmla="*/ 0 h 10000"/>
              <a:gd name="connsiteX7" fmla="*/ 7805 w 10000"/>
              <a:gd name="connsiteY7" fmla="*/ 1944 h 10000"/>
              <a:gd name="connsiteX8" fmla="*/ 7805 w 10000"/>
              <a:gd name="connsiteY8" fmla="*/ 8056 h 10000"/>
              <a:gd name="connsiteX9" fmla="*/ 7841 w 10000"/>
              <a:gd name="connsiteY9" fmla="*/ 10000 h 10000"/>
              <a:gd name="connsiteX10" fmla="*/ 10000 w 10000"/>
              <a:gd name="connsiteY10" fmla="*/ 10000 h 10000"/>
              <a:gd name="connsiteX0" fmla="*/ 0 w 9964"/>
              <a:gd name="connsiteY0" fmla="*/ 9861 h 10000"/>
              <a:gd name="connsiteX1" fmla="*/ 2636 w 9964"/>
              <a:gd name="connsiteY1" fmla="*/ 9861 h 10000"/>
              <a:gd name="connsiteX2" fmla="*/ 2672 w 9964"/>
              <a:gd name="connsiteY2" fmla="*/ 7917 h 10000"/>
              <a:gd name="connsiteX3" fmla="*/ 2672 w 9964"/>
              <a:gd name="connsiteY3" fmla="*/ 1944 h 10000"/>
              <a:gd name="connsiteX4" fmla="*/ 2709 w 9964"/>
              <a:gd name="connsiteY4" fmla="*/ 0 h 10000"/>
              <a:gd name="connsiteX5" fmla="*/ 7733 w 9964"/>
              <a:gd name="connsiteY5" fmla="*/ 0 h 10000"/>
              <a:gd name="connsiteX6" fmla="*/ 7769 w 9964"/>
              <a:gd name="connsiteY6" fmla="*/ 1944 h 10000"/>
              <a:gd name="connsiteX7" fmla="*/ 7769 w 9964"/>
              <a:gd name="connsiteY7" fmla="*/ 8056 h 10000"/>
              <a:gd name="connsiteX8" fmla="*/ 7805 w 9964"/>
              <a:gd name="connsiteY8" fmla="*/ 10000 h 10000"/>
              <a:gd name="connsiteX9" fmla="*/ 9964 w 9964"/>
              <a:gd name="connsiteY9" fmla="*/ 10000 h 10000"/>
              <a:gd name="connsiteX0" fmla="*/ 0 w 7833"/>
              <a:gd name="connsiteY0" fmla="*/ 9861 h 10000"/>
              <a:gd name="connsiteX1" fmla="*/ 2646 w 7833"/>
              <a:gd name="connsiteY1" fmla="*/ 9861 h 10000"/>
              <a:gd name="connsiteX2" fmla="*/ 2682 w 7833"/>
              <a:gd name="connsiteY2" fmla="*/ 7917 h 10000"/>
              <a:gd name="connsiteX3" fmla="*/ 2682 w 7833"/>
              <a:gd name="connsiteY3" fmla="*/ 1944 h 10000"/>
              <a:gd name="connsiteX4" fmla="*/ 2719 w 7833"/>
              <a:gd name="connsiteY4" fmla="*/ 0 h 10000"/>
              <a:gd name="connsiteX5" fmla="*/ 7761 w 7833"/>
              <a:gd name="connsiteY5" fmla="*/ 0 h 10000"/>
              <a:gd name="connsiteX6" fmla="*/ 7797 w 7833"/>
              <a:gd name="connsiteY6" fmla="*/ 1944 h 10000"/>
              <a:gd name="connsiteX7" fmla="*/ 7797 w 7833"/>
              <a:gd name="connsiteY7" fmla="*/ 8056 h 10000"/>
              <a:gd name="connsiteX8" fmla="*/ 7833 w 7833"/>
              <a:gd name="connsiteY8" fmla="*/ 10000 h 10000"/>
              <a:gd name="connsiteX0" fmla="*/ 0 w 9954"/>
              <a:gd name="connsiteY0" fmla="*/ 9861 h 9861"/>
              <a:gd name="connsiteX1" fmla="*/ 3378 w 9954"/>
              <a:gd name="connsiteY1" fmla="*/ 9861 h 9861"/>
              <a:gd name="connsiteX2" fmla="*/ 3424 w 9954"/>
              <a:gd name="connsiteY2" fmla="*/ 7917 h 9861"/>
              <a:gd name="connsiteX3" fmla="*/ 3424 w 9954"/>
              <a:gd name="connsiteY3" fmla="*/ 1944 h 9861"/>
              <a:gd name="connsiteX4" fmla="*/ 3471 w 9954"/>
              <a:gd name="connsiteY4" fmla="*/ 0 h 9861"/>
              <a:gd name="connsiteX5" fmla="*/ 9908 w 9954"/>
              <a:gd name="connsiteY5" fmla="*/ 0 h 9861"/>
              <a:gd name="connsiteX6" fmla="*/ 9954 w 9954"/>
              <a:gd name="connsiteY6" fmla="*/ 1944 h 9861"/>
              <a:gd name="connsiteX7" fmla="*/ 9954 w 9954"/>
              <a:gd name="connsiteY7" fmla="*/ 8056 h 9861"/>
              <a:gd name="connsiteX0" fmla="*/ 0 w 10000"/>
              <a:gd name="connsiteY0" fmla="*/ 10000 h 10000"/>
              <a:gd name="connsiteX1" fmla="*/ 3394 w 10000"/>
              <a:gd name="connsiteY1" fmla="*/ 10000 h 10000"/>
              <a:gd name="connsiteX2" fmla="*/ 3440 w 10000"/>
              <a:gd name="connsiteY2" fmla="*/ 8029 h 10000"/>
              <a:gd name="connsiteX3" fmla="*/ 3440 w 10000"/>
              <a:gd name="connsiteY3" fmla="*/ 1971 h 10000"/>
              <a:gd name="connsiteX4" fmla="*/ 3487 w 10000"/>
              <a:gd name="connsiteY4" fmla="*/ 0 h 10000"/>
              <a:gd name="connsiteX5" fmla="*/ 9954 w 10000"/>
              <a:gd name="connsiteY5" fmla="*/ 0 h 10000"/>
              <a:gd name="connsiteX6" fmla="*/ 10000 w 10000"/>
              <a:gd name="connsiteY6" fmla="*/ 1971 h 10000"/>
              <a:gd name="connsiteX0" fmla="*/ 0 w 7965"/>
              <a:gd name="connsiteY0" fmla="*/ 9803 h 10000"/>
              <a:gd name="connsiteX1" fmla="*/ 1359 w 7965"/>
              <a:gd name="connsiteY1" fmla="*/ 10000 h 10000"/>
              <a:gd name="connsiteX2" fmla="*/ 1405 w 7965"/>
              <a:gd name="connsiteY2" fmla="*/ 8029 h 10000"/>
              <a:gd name="connsiteX3" fmla="*/ 1405 w 7965"/>
              <a:gd name="connsiteY3" fmla="*/ 1971 h 10000"/>
              <a:gd name="connsiteX4" fmla="*/ 1452 w 7965"/>
              <a:gd name="connsiteY4" fmla="*/ 0 h 10000"/>
              <a:gd name="connsiteX5" fmla="*/ 7919 w 7965"/>
              <a:gd name="connsiteY5" fmla="*/ 0 h 10000"/>
              <a:gd name="connsiteX6" fmla="*/ 7965 w 7965"/>
              <a:gd name="connsiteY6" fmla="*/ 1971 h 10000"/>
              <a:gd name="connsiteX0" fmla="*/ 0 w 10000"/>
              <a:gd name="connsiteY0" fmla="*/ 9803 h 10000"/>
              <a:gd name="connsiteX1" fmla="*/ 1706 w 10000"/>
              <a:gd name="connsiteY1" fmla="*/ 10000 h 10000"/>
              <a:gd name="connsiteX2" fmla="*/ 1764 w 10000"/>
              <a:gd name="connsiteY2" fmla="*/ 8029 h 10000"/>
              <a:gd name="connsiteX3" fmla="*/ 1764 w 10000"/>
              <a:gd name="connsiteY3" fmla="*/ 1971 h 10000"/>
              <a:gd name="connsiteX4" fmla="*/ 1823 w 10000"/>
              <a:gd name="connsiteY4" fmla="*/ 0 h 10000"/>
              <a:gd name="connsiteX5" fmla="*/ 9942 w 10000"/>
              <a:gd name="connsiteY5" fmla="*/ 0 h 10000"/>
              <a:gd name="connsiteX6" fmla="*/ 10000 w 10000"/>
              <a:gd name="connsiteY6" fmla="*/ 1971 h 10000"/>
              <a:gd name="connsiteX0" fmla="*/ 0 w 9295"/>
              <a:gd name="connsiteY0" fmla="*/ 9803 h 10000"/>
              <a:gd name="connsiteX1" fmla="*/ 1001 w 9295"/>
              <a:gd name="connsiteY1" fmla="*/ 10000 h 10000"/>
              <a:gd name="connsiteX2" fmla="*/ 1059 w 9295"/>
              <a:gd name="connsiteY2" fmla="*/ 8029 h 10000"/>
              <a:gd name="connsiteX3" fmla="*/ 1059 w 9295"/>
              <a:gd name="connsiteY3" fmla="*/ 1971 h 10000"/>
              <a:gd name="connsiteX4" fmla="*/ 1118 w 9295"/>
              <a:gd name="connsiteY4" fmla="*/ 0 h 10000"/>
              <a:gd name="connsiteX5" fmla="*/ 9237 w 9295"/>
              <a:gd name="connsiteY5" fmla="*/ 0 h 10000"/>
              <a:gd name="connsiteX6" fmla="*/ 9295 w 9295"/>
              <a:gd name="connsiteY6" fmla="*/ 1971 h 10000"/>
              <a:gd name="connsiteX0" fmla="*/ 0 w 10000"/>
              <a:gd name="connsiteY0" fmla="*/ 10246 h 10246"/>
              <a:gd name="connsiteX1" fmla="*/ 1077 w 10000"/>
              <a:gd name="connsiteY1" fmla="*/ 10000 h 10246"/>
              <a:gd name="connsiteX2" fmla="*/ 1139 w 10000"/>
              <a:gd name="connsiteY2" fmla="*/ 8029 h 10246"/>
              <a:gd name="connsiteX3" fmla="*/ 1139 w 10000"/>
              <a:gd name="connsiteY3" fmla="*/ 1971 h 10246"/>
              <a:gd name="connsiteX4" fmla="*/ 1203 w 10000"/>
              <a:gd name="connsiteY4" fmla="*/ 0 h 10246"/>
              <a:gd name="connsiteX5" fmla="*/ 9938 w 10000"/>
              <a:gd name="connsiteY5" fmla="*/ 0 h 10246"/>
              <a:gd name="connsiteX6" fmla="*/ 10000 w 10000"/>
              <a:gd name="connsiteY6" fmla="*/ 1971 h 10246"/>
              <a:gd name="connsiteX0" fmla="*/ 0 w 10000"/>
              <a:gd name="connsiteY0" fmla="*/ 9951 h 10000"/>
              <a:gd name="connsiteX1" fmla="*/ 1077 w 10000"/>
              <a:gd name="connsiteY1" fmla="*/ 10000 h 10000"/>
              <a:gd name="connsiteX2" fmla="*/ 1139 w 10000"/>
              <a:gd name="connsiteY2" fmla="*/ 8029 h 10000"/>
              <a:gd name="connsiteX3" fmla="*/ 1139 w 10000"/>
              <a:gd name="connsiteY3" fmla="*/ 1971 h 10000"/>
              <a:gd name="connsiteX4" fmla="*/ 1203 w 10000"/>
              <a:gd name="connsiteY4" fmla="*/ 0 h 10000"/>
              <a:gd name="connsiteX5" fmla="*/ 9938 w 10000"/>
              <a:gd name="connsiteY5" fmla="*/ 0 h 10000"/>
              <a:gd name="connsiteX6" fmla="*/ 10000 w 10000"/>
              <a:gd name="connsiteY6" fmla="*/ 1971 h 10000"/>
              <a:gd name="connsiteX0" fmla="*/ 0 w 10000"/>
              <a:gd name="connsiteY0" fmla="*/ 9951 h 10000"/>
              <a:gd name="connsiteX1" fmla="*/ 1077 w 10000"/>
              <a:gd name="connsiteY1" fmla="*/ 10000 h 10000"/>
              <a:gd name="connsiteX2" fmla="*/ 1139 w 10000"/>
              <a:gd name="connsiteY2" fmla="*/ 8029 h 10000"/>
              <a:gd name="connsiteX3" fmla="*/ 1139 w 10000"/>
              <a:gd name="connsiteY3" fmla="*/ 1971 h 10000"/>
              <a:gd name="connsiteX4" fmla="*/ 1203 w 10000"/>
              <a:gd name="connsiteY4" fmla="*/ 0 h 10000"/>
              <a:gd name="connsiteX5" fmla="*/ 10000 w 10000"/>
              <a:gd name="connsiteY5" fmla="*/ 1971 h 10000"/>
              <a:gd name="connsiteX0" fmla="*/ 0 w 8215"/>
              <a:gd name="connsiteY0" fmla="*/ 12209 h 12258"/>
              <a:gd name="connsiteX1" fmla="*/ 1077 w 8215"/>
              <a:gd name="connsiteY1" fmla="*/ 12258 h 12258"/>
              <a:gd name="connsiteX2" fmla="*/ 1139 w 8215"/>
              <a:gd name="connsiteY2" fmla="*/ 10287 h 12258"/>
              <a:gd name="connsiteX3" fmla="*/ 1139 w 8215"/>
              <a:gd name="connsiteY3" fmla="*/ 4229 h 12258"/>
              <a:gd name="connsiteX4" fmla="*/ 1203 w 8215"/>
              <a:gd name="connsiteY4" fmla="*/ 2258 h 12258"/>
              <a:gd name="connsiteX5" fmla="*/ 8215 w 8215"/>
              <a:gd name="connsiteY5" fmla="*/ 0 h 12258"/>
              <a:gd name="connsiteX0" fmla="*/ 0 w 10000"/>
              <a:gd name="connsiteY0" fmla="*/ 8195 h 8235"/>
              <a:gd name="connsiteX1" fmla="*/ 1311 w 10000"/>
              <a:gd name="connsiteY1" fmla="*/ 8235 h 8235"/>
              <a:gd name="connsiteX2" fmla="*/ 1386 w 10000"/>
              <a:gd name="connsiteY2" fmla="*/ 6627 h 8235"/>
              <a:gd name="connsiteX3" fmla="*/ 1386 w 10000"/>
              <a:gd name="connsiteY3" fmla="*/ 1685 h 8235"/>
              <a:gd name="connsiteX4" fmla="*/ 1464 w 10000"/>
              <a:gd name="connsiteY4" fmla="*/ 77 h 8235"/>
              <a:gd name="connsiteX5" fmla="*/ 10000 w 10000"/>
              <a:gd name="connsiteY5" fmla="*/ 0 h 8235"/>
              <a:gd name="connsiteX0" fmla="*/ 0 w 10000"/>
              <a:gd name="connsiteY0" fmla="*/ 9951 h 10000"/>
              <a:gd name="connsiteX1" fmla="*/ 1311 w 10000"/>
              <a:gd name="connsiteY1" fmla="*/ 10000 h 10000"/>
              <a:gd name="connsiteX2" fmla="*/ 1386 w 10000"/>
              <a:gd name="connsiteY2" fmla="*/ 8047 h 10000"/>
              <a:gd name="connsiteX3" fmla="*/ 1386 w 10000"/>
              <a:gd name="connsiteY3" fmla="*/ 2046 h 10000"/>
              <a:gd name="connsiteX4" fmla="*/ 1464 w 10000"/>
              <a:gd name="connsiteY4" fmla="*/ 94 h 10000"/>
              <a:gd name="connsiteX5" fmla="*/ 10000 w 10000"/>
              <a:gd name="connsiteY5" fmla="*/ 0 h 10000"/>
              <a:gd name="connsiteX0" fmla="*/ 0 w 9993"/>
              <a:gd name="connsiteY0" fmla="*/ 9857 h 9906"/>
              <a:gd name="connsiteX1" fmla="*/ 1311 w 9993"/>
              <a:gd name="connsiteY1" fmla="*/ 9906 h 9906"/>
              <a:gd name="connsiteX2" fmla="*/ 1386 w 9993"/>
              <a:gd name="connsiteY2" fmla="*/ 7953 h 9906"/>
              <a:gd name="connsiteX3" fmla="*/ 1386 w 9993"/>
              <a:gd name="connsiteY3" fmla="*/ 1952 h 9906"/>
              <a:gd name="connsiteX4" fmla="*/ 1464 w 9993"/>
              <a:gd name="connsiteY4" fmla="*/ 0 h 9906"/>
              <a:gd name="connsiteX5" fmla="*/ 9993 w 9993"/>
              <a:gd name="connsiteY5" fmla="*/ 101 h 9906"/>
              <a:gd name="connsiteX0" fmla="*/ 0 w 10007"/>
              <a:gd name="connsiteY0" fmla="*/ 10439 h 10488"/>
              <a:gd name="connsiteX1" fmla="*/ 1312 w 10007"/>
              <a:gd name="connsiteY1" fmla="*/ 10488 h 10488"/>
              <a:gd name="connsiteX2" fmla="*/ 1387 w 10007"/>
              <a:gd name="connsiteY2" fmla="*/ 8516 h 10488"/>
              <a:gd name="connsiteX3" fmla="*/ 1387 w 10007"/>
              <a:gd name="connsiteY3" fmla="*/ 2459 h 10488"/>
              <a:gd name="connsiteX4" fmla="*/ 1465 w 10007"/>
              <a:gd name="connsiteY4" fmla="*/ 488 h 10488"/>
              <a:gd name="connsiteX5" fmla="*/ 10007 w 10007"/>
              <a:gd name="connsiteY5" fmla="*/ 0 h 10488"/>
              <a:gd name="connsiteX0" fmla="*/ 0 w 10007"/>
              <a:gd name="connsiteY0" fmla="*/ 9951 h 10000"/>
              <a:gd name="connsiteX1" fmla="*/ 1312 w 10007"/>
              <a:gd name="connsiteY1" fmla="*/ 10000 h 10000"/>
              <a:gd name="connsiteX2" fmla="*/ 1387 w 10007"/>
              <a:gd name="connsiteY2" fmla="*/ 8028 h 10000"/>
              <a:gd name="connsiteX3" fmla="*/ 1387 w 10007"/>
              <a:gd name="connsiteY3" fmla="*/ 1971 h 10000"/>
              <a:gd name="connsiteX4" fmla="*/ 1465 w 10007"/>
              <a:gd name="connsiteY4" fmla="*/ 0 h 10000"/>
              <a:gd name="connsiteX5" fmla="*/ 10007 w 10007"/>
              <a:gd name="connsiteY5" fmla="*/ 496 h 10000"/>
              <a:gd name="connsiteX0" fmla="*/ 0 w 10007"/>
              <a:gd name="connsiteY0" fmla="*/ 9951 h 10000"/>
              <a:gd name="connsiteX1" fmla="*/ 1312 w 10007"/>
              <a:gd name="connsiteY1" fmla="*/ 10000 h 10000"/>
              <a:gd name="connsiteX2" fmla="*/ 1387 w 10007"/>
              <a:gd name="connsiteY2" fmla="*/ 8028 h 10000"/>
              <a:gd name="connsiteX3" fmla="*/ 1387 w 10007"/>
              <a:gd name="connsiteY3" fmla="*/ 1971 h 10000"/>
              <a:gd name="connsiteX4" fmla="*/ 1465 w 10007"/>
              <a:gd name="connsiteY4" fmla="*/ 0 h 10000"/>
              <a:gd name="connsiteX5" fmla="*/ 10007 w 10007"/>
              <a:gd name="connsiteY5" fmla="*/ 1480 h 10000"/>
              <a:gd name="connsiteX0" fmla="*/ 0 w 10007"/>
              <a:gd name="connsiteY0" fmla="*/ 9951 h 10000"/>
              <a:gd name="connsiteX1" fmla="*/ 1312 w 10007"/>
              <a:gd name="connsiteY1" fmla="*/ 10000 h 10000"/>
              <a:gd name="connsiteX2" fmla="*/ 1387 w 10007"/>
              <a:gd name="connsiteY2" fmla="*/ 8028 h 10000"/>
              <a:gd name="connsiteX3" fmla="*/ 1387 w 10007"/>
              <a:gd name="connsiteY3" fmla="*/ 1971 h 10000"/>
              <a:gd name="connsiteX4" fmla="*/ 1465 w 10007"/>
              <a:gd name="connsiteY4" fmla="*/ 0 h 10000"/>
              <a:gd name="connsiteX5" fmla="*/ 10007 w 10007"/>
              <a:gd name="connsiteY5" fmla="*/ 496 h 10000"/>
              <a:gd name="connsiteX0" fmla="*/ 0 w 10021"/>
              <a:gd name="connsiteY0" fmla="*/ 10045 h 10094"/>
              <a:gd name="connsiteX1" fmla="*/ 1312 w 10021"/>
              <a:gd name="connsiteY1" fmla="*/ 10094 h 10094"/>
              <a:gd name="connsiteX2" fmla="*/ 1387 w 10021"/>
              <a:gd name="connsiteY2" fmla="*/ 8122 h 10094"/>
              <a:gd name="connsiteX3" fmla="*/ 1387 w 10021"/>
              <a:gd name="connsiteY3" fmla="*/ 2065 h 10094"/>
              <a:gd name="connsiteX4" fmla="*/ 1465 w 10021"/>
              <a:gd name="connsiteY4" fmla="*/ 94 h 10094"/>
              <a:gd name="connsiteX5" fmla="*/ 10021 w 10021"/>
              <a:gd name="connsiteY5" fmla="*/ 0 h 10094"/>
              <a:gd name="connsiteX0" fmla="*/ 0 w 10021"/>
              <a:gd name="connsiteY0" fmla="*/ 10438 h 10487"/>
              <a:gd name="connsiteX1" fmla="*/ 1312 w 10021"/>
              <a:gd name="connsiteY1" fmla="*/ 10487 h 10487"/>
              <a:gd name="connsiteX2" fmla="*/ 1387 w 10021"/>
              <a:gd name="connsiteY2" fmla="*/ 8515 h 10487"/>
              <a:gd name="connsiteX3" fmla="*/ 1387 w 10021"/>
              <a:gd name="connsiteY3" fmla="*/ 2458 h 10487"/>
              <a:gd name="connsiteX4" fmla="*/ 1465 w 10021"/>
              <a:gd name="connsiteY4" fmla="*/ 487 h 10487"/>
              <a:gd name="connsiteX5" fmla="*/ 10021 w 10021"/>
              <a:gd name="connsiteY5" fmla="*/ 0 h 10487"/>
              <a:gd name="connsiteX0" fmla="*/ 0 w 10021"/>
              <a:gd name="connsiteY0" fmla="*/ 9951 h 10000"/>
              <a:gd name="connsiteX1" fmla="*/ 1312 w 10021"/>
              <a:gd name="connsiteY1" fmla="*/ 10000 h 10000"/>
              <a:gd name="connsiteX2" fmla="*/ 1387 w 10021"/>
              <a:gd name="connsiteY2" fmla="*/ 8028 h 10000"/>
              <a:gd name="connsiteX3" fmla="*/ 1387 w 10021"/>
              <a:gd name="connsiteY3" fmla="*/ 1971 h 10000"/>
              <a:gd name="connsiteX4" fmla="*/ 1465 w 10021"/>
              <a:gd name="connsiteY4" fmla="*/ 0 h 10000"/>
              <a:gd name="connsiteX5" fmla="*/ 10021 w 10021"/>
              <a:gd name="connsiteY5" fmla="*/ 300 h 10000"/>
              <a:gd name="connsiteX0" fmla="*/ 0 w 10021"/>
              <a:gd name="connsiteY0" fmla="*/ 10241 h 10290"/>
              <a:gd name="connsiteX1" fmla="*/ 1312 w 10021"/>
              <a:gd name="connsiteY1" fmla="*/ 10290 h 10290"/>
              <a:gd name="connsiteX2" fmla="*/ 1387 w 10021"/>
              <a:gd name="connsiteY2" fmla="*/ 8318 h 10290"/>
              <a:gd name="connsiteX3" fmla="*/ 1387 w 10021"/>
              <a:gd name="connsiteY3" fmla="*/ 2261 h 10290"/>
              <a:gd name="connsiteX4" fmla="*/ 1465 w 10021"/>
              <a:gd name="connsiteY4" fmla="*/ 290 h 10290"/>
              <a:gd name="connsiteX5" fmla="*/ 10021 w 10021"/>
              <a:gd name="connsiteY5" fmla="*/ 0 h 10290"/>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217"/>
              <a:gd name="connsiteX1" fmla="*/ 1312 w 10018"/>
              <a:gd name="connsiteY1" fmla="*/ 10217 h 10217"/>
              <a:gd name="connsiteX2" fmla="*/ 1387 w 10018"/>
              <a:gd name="connsiteY2" fmla="*/ 8097 h 10217"/>
              <a:gd name="connsiteX3" fmla="*/ 1387 w 10018"/>
              <a:gd name="connsiteY3" fmla="*/ 2040 h 10217"/>
              <a:gd name="connsiteX4" fmla="*/ 1465 w 10018"/>
              <a:gd name="connsiteY4" fmla="*/ 69 h 10217"/>
              <a:gd name="connsiteX5" fmla="*/ 10018 w 10018"/>
              <a:gd name="connsiteY5" fmla="*/ 0 h 10217"/>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12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12 w 10018"/>
              <a:gd name="connsiteY1" fmla="*/ 9921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309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69"/>
              <a:gd name="connsiteX1" fmla="*/ 1309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09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9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9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304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04 w 10018"/>
              <a:gd name="connsiteY1" fmla="*/ 9921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142"/>
              <a:gd name="connsiteX1" fmla="*/ 1304 w 10018"/>
              <a:gd name="connsiteY1" fmla="*/ 10142 h 10142"/>
              <a:gd name="connsiteX2" fmla="*/ 1387 w 10018"/>
              <a:gd name="connsiteY2" fmla="*/ 8097 h 10142"/>
              <a:gd name="connsiteX3" fmla="*/ 1387 w 10018"/>
              <a:gd name="connsiteY3" fmla="*/ 2040 h 10142"/>
              <a:gd name="connsiteX4" fmla="*/ 1465 w 10018"/>
              <a:gd name="connsiteY4" fmla="*/ 69 h 10142"/>
              <a:gd name="connsiteX5" fmla="*/ 10018 w 10018"/>
              <a:gd name="connsiteY5" fmla="*/ 0 h 10142"/>
              <a:gd name="connsiteX0" fmla="*/ 0 w 10018"/>
              <a:gd name="connsiteY0" fmla="*/ 10020 h 10142"/>
              <a:gd name="connsiteX1" fmla="*/ 1309 w 10018"/>
              <a:gd name="connsiteY1" fmla="*/ 10142 h 10142"/>
              <a:gd name="connsiteX2" fmla="*/ 1387 w 10018"/>
              <a:gd name="connsiteY2" fmla="*/ 8097 h 10142"/>
              <a:gd name="connsiteX3" fmla="*/ 1387 w 10018"/>
              <a:gd name="connsiteY3" fmla="*/ 2040 h 10142"/>
              <a:gd name="connsiteX4" fmla="*/ 1465 w 10018"/>
              <a:gd name="connsiteY4" fmla="*/ 69 h 10142"/>
              <a:gd name="connsiteX5" fmla="*/ 10018 w 10018"/>
              <a:gd name="connsiteY5" fmla="*/ 0 h 10142"/>
              <a:gd name="connsiteX0" fmla="*/ 0 w 10018"/>
              <a:gd name="connsiteY0" fmla="*/ 10020 h 10020"/>
              <a:gd name="connsiteX1" fmla="*/ 1309 w 10018"/>
              <a:gd name="connsiteY1" fmla="*/ 9921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298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290"/>
              <a:gd name="connsiteX1" fmla="*/ 1301 w 10018"/>
              <a:gd name="connsiteY1" fmla="*/ 10290 h 10290"/>
              <a:gd name="connsiteX2" fmla="*/ 1387 w 10018"/>
              <a:gd name="connsiteY2" fmla="*/ 8097 h 10290"/>
              <a:gd name="connsiteX3" fmla="*/ 1387 w 10018"/>
              <a:gd name="connsiteY3" fmla="*/ 2040 h 10290"/>
              <a:gd name="connsiteX4" fmla="*/ 1465 w 10018"/>
              <a:gd name="connsiteY4" fmla="*/ 69 h 10290"/>
              <a:gd name="connsiteX5" fmla="*/ 10018 w 10018"/>
              <a:gd name="connsiteY5" fmla="*/ 0 h 10290"/>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301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73"/>
              <a:gd name="connsiteX1" fmla="*/ 1301 w 10018"/>
              <a:gd name="connsiteY1" fmla="*/ 10069 h 10073"/>
              <a:gd name="connsiteX2" fmla="*/ 1387 w 10018"/>
              <a:gd name="connsiteY2" fmla="*/ 8097 h 10073"/>
              <a:gd name="connsiteX3" fmla="*/ 1387 w 10018"/>
              <a:gd name="connsiteY3" fmla="*/ 2040 h 10073"/>
              <a:gd name="connsiteX4" fmla="*/ 1465 w 10018"/>
              <a:gd name="connsiteY4" fmla="*/ 69 h 10073"/>
              <a:gd name="connsiteX5" fmla="*/ 10018 w 10018"/>
              <a:gd name="connsiteY5" fmla="*/ 0 h 10073"/>
              <a:gd name="connsiteX0" fmla="*/ 70 w 10088"/>
              <a:gd name="connsiteY0" fmla="*/ 10020 h 10069"/>
              <a:gd name="connsiteX1" fmla="*/ 1371 w 10088"/>
              <a:gd name="connsiteY1" fmla="*/ 10069 h 10069"/>
              <a:gd name="connsiteX2" fmla="*/ 1457 w 10088"/>
              <a:gd name="connsiteY2" fmla="*/ 8097 h 10069"/>
              <a:gd name="connsiteX3" fmla="*/ 1457 w 10088"/>
              <a:gd name="connsiteY3" fmla="*/ 2040 h 10069"/>
              <a:gd name="connsiteX4" fmla="*/ 1535 w 10088"/>
              <a:gd name="connsiteY4" fmla="*/ 69 h 10069"/>
              <a:gd name="connsiteX5" fmla="*/ 10088 w 10088"/>
              <a:gd name="connsiteY5" fmla="*/ 0 h 10069"/>
              <a:gd name="connsiteX0" fmla="*/ 46 w 10064"/>
              <a:gd name="connsiteY0" fmla="*/ 10020 h 10230"/>
              <a:gd name="connsiteX1" fmla="*/ 1347 w 10064"/>
              <a:gd name="connsiteY1" fmla="*/ 10069 h 10230"/>
              <a:gd name="connsiteX2" fmla="*/ 1433 w 10064"/>
              <a:gd name="connsiteY2" fmla="*/ 8097 h 10230"/>
              <a:gd name="connsiteX3" fmla="*/ 1433 w 10064"/>
              <a:gd name="connsiteY3" fmla="*/ 2040 h 10230"/>
              <a:gd name="connsiteX4" fmla="*/ 1511 w 10064"/>
              <a:gd name="connsiteY4" fmla="*/ 69 h 10230"/>
              <a:gd name="connsiteX5" fmla="*/ 10064 w 10064"/>
              <a:gd name="connsiteY5" fmla="*/ 0 h 10230"/>
              <a:gd name="connsiteX0" fmla="*/ 50 w 10068"/>
              <a:gd name="connsiteY0" fmla="*/ 10020 h 10133"/>
              <a:gd name="connsiteX1" fmla="*/ 1351 w 10068"/>
              <a:gd name="connsiteY1" fmla="*/ 10069 h 10133"/>
              <a:gd name="connsiteX2" fmla="*/ 1437 w 10068"/>
              <a:gd name="connsiteY2" fmla="*/ 8097 h 10133"/>
              <a:gd name="connsiteX3" fmla="*/ 1437 w 10068"/>
              <a:gd name="connsiteY3" fmla="*/ 2040 h 10133"/>
              <a:gd name="connsiteX4" fmla="*/ 1515 w 10068"/>
              <a:gd name="connsiteY4" fmla="*/ 69 h 10133"/>
              <a:gd name="connsiteX5" fmla="*/ 10068 w 10068"/>
              <a:gd name="connsiteY5" fmla="*/ 0 h 10133"/>
              <a:gd name="connsiteX0" fmla="*/ 0 w 10018"/>
              <a:gd name="connsiteY0" fmla="*/ 10020 h 10073"/>
              <a:gd name="connsiteX1" fmla="*/ 1301 w 10018"/>
              <a:gd name="connsiteY1" fmla="*/ 10069 h 10073"/>
              <a:gd name="connsiteX2" fmla="*/ 1387 w 10018"/>
              <a:gd name="connsiteY2" fmla="*/ 8097 h 10073"/>
              <a:gd name="connsiteX3" fmla="*/ 1387 w 10018"/>
              <a:gd name="connsiteY3" fmla="*/ 2040 h 10073"/>
              <a:gd name="connsiteX4" fmla="*/ 1465 w 10018"/>
              <a:gd name="connsiteY4" fmla="*/ 69 h 10073"/>
              <a:gd name="connsiteX5" fmla="*/ 10018 w 10018"/>
              <a:gd name="connsiteY5" fmla="*/ 0 h 10073"/>
              <a:gd name="connsiteX0" fmla="*/ 0 w 10018"/>
              <a:gd name="connsiteY0" fmla="*/ 10020 h 10073"/>
              <a:gd name="connsiteX1" fmla="*/ 1301 w 10018"/>
              <a:gd name="connsiteY1" fmla="*/ 10069 h 10073"/>
              <a:gd name="connsiteX2" fmla="*/ 1387 w 10018"/>
              <a:gd name="connsiteY2" fmla="*/ 8097 h 10073"/>
              <a:gd name="connsiteX3" fmla="*/ 1387 w 10018"/>
              <a:gd name="connsiteY3" fmla="*/ 2040 h 10073"/>
              <a:gd name="connsiteX4" fmla="*/ 1465 w 10018"/>
              <a:gd name="connsiteY4" fmla="*/ 69 h 10073"/>
              <a:gd name="connsiteX5" fmla="*/ 10018 w 10018"/>
              <a:gd name="connsiteY5" fmla="*/ 0 h 10073"/>
              <a:gd name="connsiteX0" fmla="*/ 3 w 10021"/>
              <a:gd name="connsiteY0" fmla="*/ 10020 h 10069"/>
              <a:gd name="connsiteX1" fmla="*/ 1304 w 10021"/>
              <a:gd name="connsiteY1" fmla="*/ 10069 h 10069"/>
              <a:gd name="connsiteX2" fmla="*/ 1390 w 10021"/>
              <a:gd name="connsiteY2" fmla="*/ 8097 h 10069"/>
              <a:gd name="connsiteX3" fmla="*/ 1390 w 10021"/>
              <a:gd name="connsiteY3" fmla="*/ 2040 h 10069"/>
              <a:gd name="connsiteX4" fmla="*/ 1468 w 10021"/>
              <a:gd name="connsiteY4" fmla="*/ 69 h 10069"/>
              <a:gd name="connsiteX5" fmla="*/ 10021 w 10021"/>
              <a:gd name="connsiteY5" fmla="*/ 0 h 10069"/>
              <a:gd name="connsiteX0" fmla="*/ 3 w 10021"/>
              <a:gd name="connsiteY0" fmla="*/ 10020 h 10217"/>
              <a:gd name="connsiteX1" fmla="*/ 1304 w 10021"/>
              <a:gd name="connsiteY1" fmla="*/ 10217 h 10217"/>
              <a:gd name="connsiteX2" fmla="*/ 1390 w 10021"/>
              <a:gd name="connsiteY2" fmla="*/ 8097 h 10217"/>
              <a:gd name="connsiteX3" fmla="*/ 1390 w 10021"/>
              <a:gd name="connsiteY3" fmla="*/ 2040 h 10217"/>
              <a:gd name="connsiteX4" fmla="*/ 1468 w 10021"/>
              <a:gd name="connsiteY4" fmla="*/ 69 h 10217"/>
              <a:gd name="connsiteX5" fmla="*/ 10021 w 10021"/>
              <a:gd name="connsiteY5" fmla="*/ 0 h 10217"/>
              <a:gd name="connsiteX0" fmla="*/ 3 w 10021"/>
              <a:gd name="connsiteY0" fmla="*/ 10020 h 10020"/>
              <a:gd name="connsiteX1" fmla="*/ 1304 w 10021"/>
              <a:gd name="connsiteY1" fmla="*/ 9996 h 10020"/>
              <a:gd name="connsiteX2" fmla="*/ 1390 w 10021"/>
              <a:gd name="connsiteY2" fmla="*/ 8097 h 10020"/>
              <a:gd name="connsiteX3" fmla="*/ 1390 w 10021"/>
              <a:gd name="connsiteY3" fmla="*/ 2040 h 10020"/>
              <a:gd name="connsiteX4" fmla="*/ 1468 w 10021"/>
              <a:gd name="connsiteY4" fmla="*/ 69 h 10020"/>
              <a:gd name="connsiteX5" fmla="*/ 10021 w 10021"/>
              <a:gd name="connsiteY5" fmla="*/ 0 h 10020"/>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4"/>
              <a:gd name="connsiteX1" fmla="*/ 1301 w 10018"/>
              <a:gd name="connsiteY1" fmla="*/ 9996 h 10064"/>
              <a:gd name="connsiteX2" fmla="*/ 1387 w 10018"/>
              <a:gd name="connsiteY2" fmla="*/ 8097 h 10064"/>
              <a:gd name="connsiteX3" fmla="*/ 1387 w 10018"/>
              <a:gd name="connsiteY3" fmla="*/ 2040 h 10064"/>
              <a:gd name="connsiteX4" fmla="*/ 1465 w 10018"/>
              <a:gd name="connsiteY4" fmla="*/ 69 h 10064"/>
              <a:gd name="connsiteX5" fmla="*/ 10018 w 10018"/>
              <a:gd name="connsiteY5" fmla="*/ 0 h 10064"/>
              <a:gd name="connsiteX0" fmla="*/ 0 w 10018"/>
              <a:gd name="connsiteY0" fmla="*/ 10020 h 10047"/>
              <a:gd name="connsiteX1" fmla="*/ 1301 w 10018"/>
              <a:gd name="connsiteY1" fmla="*/ 9996 h 10047"/>
              <a:gd name="connsiteX2" fmla="*/ 1387 w 10018"/>
              <a:gd name="connsiteY2" fmla="*/ 8097 h 10047"/>
              <a:gd name="connsiteX3" fmla="*/ 1387 w 10018"/>
              <a:gd name="connsiteY3" fmla="*/ 2040 h 10047"/>
              <a:gd name="connsiteX4" fmla="*/ 1465 w 10018"/>
              <a:gd name="connsiteY4" fmla="*/ 69 h 10047"/>
              <a:gd name="connsiteX5" fmla="*/ 10018 w 10018"/>
              <a:gd name="connsiteY5" fmla="*/ 0 h 10047"/>
              <a:gd name="connsiteX0" fmla="*/ 0 w 10018"/>
              <a:gd name="connsiteY0" fmla="*/ 10020 h 10047"/>
              <a:gd name="connsiteX1" fmla="*/ 1301 w 10018"/>
              <a:gd name="connsiteY1" fmla="*/ 9996 h 10047"/>
              <a:gd name="connsiteX2" fmla="*/ 1387 w 10018"/>
              <a:gd name="connsiteY2" fmla="*/ 8097 h 10047"/>
              <a:gd name="connsiteX3" fmla="*/ 1387 w 10018"/>
              <a:gd name="connsiteY3" fmla="*/ 2040 h 10047"/>
              <a:gd name="connsiteX4" fmla="*/ 1465 w 10018"/>
              <a:gd name="connsiteY4" fmla="*/ 69 h 10047"/>
              <a:gd name="connsiteX5" fmla="*/ 10018 w 10018"/>
              <a:gd name="connsiteY5" fmla="*/ 0 h 10047"/>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8"/>
              <a:gd name="connsiteX1" fmla="*/ 1301 w 10018"/>
              <a:gd name="connsiteY1" fmla="*/ 9996 h 10068"/>
              <a:gd name="connsiteX2" fmla="*/ 1387 w 10018"/>
              <a:gd name="connsiteY2" fmla="*/ 8097 h 10068"/>
              <a:gd name="connsiteX3" fmla="*/ 1387 w 10018"/>
              <a:gd name="connsiteY3" fmla="*/ 2040 h 10068"/>
              <a:gd name="connsiteX4" fmla="*/ 1465 w 10018"/>
              <a:gd name="connsiteY4" fmla="*/ 69 h 10068"/>
              <a:gd name="connsiteX5" fmla="*/ 10018 w 10018"/>
              <a:gd name="connsiteY5" fmla="*/ 0 h 10068"/>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8" h="10020">
                <a:moveTo>
                  <a:pt x="0" y="10020"/>
                </a:moveTo>
                <a:cubicBezTo>
                  <a:pt x="522" y="10020"/>
                  <a:pt x="1266" y="9996"/>
                  <a:pt x="1301" y="9996"/>
                </a:cubicBezTo>
                <a:cubicBezTo>
                  <a:pt x="1344" y="9996"/>
                  <a:pt x="1387" y="9224"/>
                  <a:pt x="1387" y="8097"/>
                </a:cubicBezTo>
                <a:lnTo>
                  <a:pt x="1387" y="2040"/>
                </a:lnTo>
                <a:cubicBezTo>
                  <a:pt x="1387" y="913"/>
                  <a:pt x="1424" y="69"/>
                  <a:pt x="1465" y="69"/>
                </a:cubicBezTo>
                <a:lnTo>
                  <a:pt x="10018" y="0"/>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17525978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Empty slide">
    <p:spTree>
      <p:nvGrpSpPr>
        <p:cNvPr id="1" name=""/>
        <p:cNvGrpSpPr/>
        <p:nvPr/>
      </p:nvGrpSpPr>
      <p:grpSpPr>
        <a:xfrm>
          <a:off x="0" y="0"/>
          <a:ext cx="0" cy="0"/>
          <a:chOff x="0" y="0"/>
          <a:chExt cx="0" cy="0"/>
        </a:xfrm>
      </p:grpSpPr>
      <p:sp>
        <p:nvSpPr>
          <p:cNvPr id="5" name="Platshållare för datum 3"/>
          <p:cNvSpPr>
            <a:spLocks noGrp="1"/>
          </p:cNvSpPr>
          <p:nvPr>
            <p:ph type="dt" sz="half" idx="10"/>
          </p:nvPr>
        </p:nvSpPr>
        <p:spPr>
          <a:xfrm>
            <a:off x="5580112" y="6288509"/>
            <a:ext cx="2133600" cy="365125"/>
          </a:xfrm>
        </p:spPr>
        <p:txBody>
          <a:bodyPr/>
          <a:lstStyle>
            <a:lvl1pPr>
              <a:defRPr sz="1100"/>
            </a:lvl1pPr>
          </a:lstStyle>
          <a:p>
            <a:r>
              <a:rPr lang="sv-SE"/>
              <a:t>2016-11-20</a:t>
            </a:r>
          </a:p>
        </p:txBody>
      </p:sp>
      <p:sp>
        <p:nvSpPr>
          <p:cNvPr id="6" name="Platshållare för bildnummer 5"/>
          <p:cNvSpPr>
            <a:spLocks noGrp="1"/>
          </p:cNvSpPr>
          <p:nvPr>
            <p:ph type="sldNum" sz="quarter" idx="12"/>
          </p:nvPr>
        </p:nvSpPr>
        <p:spPr>
          <a:xfrm>
            <a:off x="8172399" y="6301410"/>
            <a:ext cx="531863" cy="365125"/>
          </a:xfrm>
        </p:spPr>
        <p:txBody>
          <a:bodyPr/>
          <a:lstStyle>
            <a:lvl1pPr>
              <a:defRPr sz="1100"/>
            </a:lvl1pPr>
          </a:lstStyle>
          <a:p>
            <a:fld id="{227F0B53-9592-4779-891F-997228E46E01}" type="slidenum">
              <a:rPr lang="sv-SE" smtClean="0"/>
              <a:t>‹#›</a:t>
            </a:fld>
            <a:endParaRPr lang="sv-SE"/>
          </a:p>
        </p:txBody>
      </p:sp>
      <p:sp>
        <p:nvSpPr>
          <p:cNvPr id="7"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bg1"/>
                </a:solidFill>
              </a:defRPr>
            </a:lvl1pPr>
          </a:lstStyle>
          <a:p>
            <a:r>
              <a:rPr lang="sv-SE"/>
              <a:t>OpenIPSL Tutorial</a:t>
            </a:r>
            <a:endParaRPr lang="sv-SE" dirty="0"/>
          </a:p>
        </p:txBody>
      </p:sp>
    </p:spTree>
    <p:extLst>
      <p:ext uri="{BB962C8B-B14F-4D97-AF65-F5344CB8AC3E}">
        <p14:creationId xmlns:p14="http://schemas.microsoft.com/office/powerpoint/2010/main" val="222731712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Custom Layout">
    <p:spTree>
      <p:nvGrpSpPr>
        <p:cNvPr id="1" name=""/>
        <p:cNvGrpSpPr/>
        <p:nvPr/>
      </p:nvGrpSpPr>
      <p:grpSpPr>
        <a:xfrm>
          <a:off x="0" y="0"/>
          <a:ext cx="0" cy="0"/>
          <a:chOff x="0" y="0"/>
          <a:chExt cx="0" cy="0"/>
        </a:xfrm>
      </p:grpSpPr>
      <p:pic>
        <p:nvPicPr>
          <p:cNvPr id="6"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38964" y="344488"/>
            <a:ext cx="662749" cy="6627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Platshållare för innehåll 2"/>
          <p:cNvSpPr>
            <a:spLocks noGrp="1"/>
          </p:cNvSpPr>
          <p:nvPr>
            <p:ph idx="1"/>
          </p:nvPr>
        </p:nvSpPr>
        <p:spPr>
          <a:xfrm>
            <a:off x="1619250" y="1582739"/>
            <a:ext cx="6935788" cy="407828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Rubrik 1"/>
          <p:cNvSpPr>
            <a:spLocks noGrp="1"/>
          </p:cNvSpPr>
          <p:nvPr>
            <p:ph type="title"/>
          </p:nvPr>
        </p:nvSpPr>
        <p:spPr>
          <a:xfrm>
            <a:off x="1619250" y="332656"/>
            <a:ext cx="6935788" cy="668338"/>
          </a:xfrm>
        </p:spPr>
        <p:txBody>
          <a:bodyPr/>
          <a:lstStyle/>
          <a:p>
            <a:r>
              <a:rPr lang="en-US"/>
              <a:t>Click to edit Master title style</a:t>
            </a:r>
            <a:endParaRPr lang="en-GB" dirty="0"/>
          </a:p>
        </p:txBody>
      </p:sp>
      <p:sp>
        <p:nvSpPr>
          <p:cNvPr id="9" name="Platshållare för datum 3"/>
          <p:cNvSpPr>
            <a:spLocks noGrp="1"/>
          </p:cNvSpPr>
          <p:nvPr>
            <p:ph type="dt" sz="half" idx="10"/>
          </p:nvPr>
        </p:nvSpPr>
        <p:spPr>
          <a:xfrm>
            <a:off x="5580112" y="6288509"/>
            <a:ext cx="2133600" cy="365125"/>
          </a:xfrm>
        </p:spPr>
        <p:txBody>
          <a:bodyPr/>
          <a:lstStyle>
            <a:lvl1pPr>
              <a:defRPr sz="1100">
                <a:solidFill>
                  <a:schemeClr val="tx1"/>
                </a:solidFill>
              </a:defRPr>
            </a:lvl1pPr>
          </a:lstStyle>
          <a:p>
            <a:r>
              <a:rPr lang="sv-SE"/>
              <a:t>2016-11-20</a:t>
            </a:r>
          </a:p>
        </p:txBody>
      </p:sp>
      <p:sp>
        <p:nvSpPr>
          <p:cNvPr id="14" name="Platshållare för bildnummer 5"/>
          <p:cNvSpPr>
            <a:spLocks noGrp="1"/>
          </p:cNvSpPr>
          <p:nvPr>
            <p:ph type="sldNum" sz="quarter" idx="12"/>
          </p:nvPr>
        </p:nvSpPr>
        <p:spPr>
          <a:xfrm>
            <a:off x="8172399" y="6301410"/>
            <a:ext cx="531863" cy="365125"/>
          </a:xfrm>
        </p:spPr>
        <p:txBody>
          <a:bodyPr/>
          <a:lstStyle>
            <a:lvl1pPr>
              <a:defRPr sz="1100">
                <a:solidFill>
                  <a:schemeClr val="tx1"/>
                </a:solidFill>
              </a:defRPr>
            </a:lvl1pPr>
          </a:lstStyle>
          <a:p>
            <a:fld id="{227F0B53-9592-4779-891F-997228E46E01}" type="slidenum">
              <a:rPr lang="sv-SE" smtClean="0"/>
              <a:t>‹#›</a:t>
            </a:fld>
            <a:endParaRPr lang="sv-SE"/>
          </a:p>
        </p:txBody>
      </p:sp>
      <p:sp>
        <p:nvSpPr>
          <p:cNvPr id="15"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tx1"/>
                </a:solidFill>
              </a:defRPr>
            </a:lvl1pPr>
          </a:lstStyle>
          <a:p>
            <a:r>
              <a:rPr lang="sv-SE"/>
              <a:t>OpenIPSL Tutorial</a:t>
            </a:r>
          </a:p>
        </p:txBody>
      </p:sp>
    </p:spTree>
    <p:extLst>
      <p:ext uri="{BB962C8B-B14F-4D97-AF65-F5344CB8AC3E}">
        <p14:creationId xmlns:p14="http://schemas.microsoft.com/office/powerpoint/2010/main" val="17227051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a:xfrm>
            <a:off x="1619251" y="384398"/>
            <a:ext cx="6935788" cy="668338"/>
          </a:xfrm>
        </p:spPr>
        <p:txBody>
          <a:bodyPr/>
          <a:lstStyle/>
          <a:p>
            <a:r>
              <a:rPr lang="en-US"/>
              <a:t>Click to edit Master title style</a:t>
            </a:r>
            <a:endParaRPr lang="en-GB" dirty="0"/>
          </a:p>
        </p:txBody>
      </p:sp>
      <p:sp>
        <p:nvSpPr>
          <p:cNvPr id="3" name="Platshållare för innehåll 2"/>
          <p:cNvSpPr>
            <a:spLocks noGrp="1"/>
          </p:cNvSpPr>
          <p:nvPr>
            <p:ph idx="1"/>
          </p:nvPr>
        </p:nvSpPr>
        <p:spPr>
          <a:xfrm>
            <a:off x="323528" y="1556792"/>
            <a:ext cx="8231511" cy="41042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Platshållare för datum 3"/>
          <p:cNvSpPr>
            <a:spLocks noGrp="1"/>
          </p:cNvSpPr>
          <p:nvPr>
            <p:ph type="dt" sz="half" idx="10"/>
          </p:nvPr>
        </p:nvSpPr>
        <p:spPr/>
        <p:txBody>
          <a:bodyPr/>
          <a:lstStyle/>
          <a:p>
            <a:r>
              <a:rPr lang="sv-SE"/>
              <a:t>2016-11-20</a:t>
            </a:r>
          </a:p>
        </p:txBody>
      </p:sp>
      <p:sp>
        <p:nvSpPr>
          <p:cNvPr id="6" name="Platshållare för bildnummer 5"/>
          <p:cNvSpPr>
            <a:spLocks noGrp="1"/>
          </p:cNvSpPr>
          <p:nvPr>
            <p:ph type="sldNum" sz="quarter" idx="12"/>
          </p:nvPr>
        </p:nvSpPr>
        <p:spPr/>
        <p:txBody>
          <a:bodyPr/>
          <a:lstStyle/>
          <a:p>
            <a:fld id="{227F0B53-9592-4779-891F-997228E46E01}" type="slidenum">
              <a:rPr lang="sv-SE" smtClean="0"/>
              <a:t>‹#›</a:t>
            </a:fld>
            <a:endParaRPr lang="sv-SE"/>
          </a:p>
        </p:txBody>
      </p:sp>
      <p:sp>
        <p:nvSpPr>
          <p:cNvPr id="5" name="Platshållare för sidfot 4"/>
          <p:cNvSpPr>
            <a:spLocks noGrp="1"/>
          </p:cNvSpPr>
          <p:nvPr>
            <p:ph type="ftr" sz="quarter" idx="11"/>
          </p:nvPr>
        </p:nvSpPr>
        <p:spPr>
          <a:xfrm>
            <a:off x="1619251" y="6308738"/>
            <a:ext cx="2895600" cy="365125"/>
          </a:xfrm>
        </p:spPr>
        <p:txBody>
          <a:bodyPr lIns="0" tIns="0" rIns="0" bIns="0" anchor="t"/>
          <a:lstStyle>
            <a:lvl1pPr algn="l">
              <a:lnSpc>
                <a:spcPts val="899"/>
              </a:lnSpc>
              <a:defRPr sz="700" b="1" cap="all" baseline="0">
                <a:solidFill>
                  <a:schemeClr val="bg1"/>
                </a:solidFill>
              </a:defRPr>
            </a:lvl1pPr>
          </a:lstStyle>
          <a:p>
            <a:r>
              <a:rPr lang="sv-SE"/>
              <a:t>OpenIPSL Tutorial</a:t>
            </a:r>
            <a:endParaRPr lang="sv-SE" dirty="0"/>
          </a:p>
        </p:txBody>
      </p:sp>
    </p:spTree>
    <p:extLst>
      <p:ext uri="{BB962C8B-B14F-4D97-AF65-F5344CB8AC3E}">
        <p14:creationId xmlns:p14="http://schemas.microsoft.com/office/powerpoint/2010/main" val="362800193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a:xfrm>
            <a:off x="1619672" y="6282354"/>
            <a:ext cx="2895600" cy="365125"/>
          </a:xfrm>
        </p:spPr>
        <p:txBody>
          <a:bodyPr/>
          <a:lstStyle/>
          <a:p>
            <a:r>
              <a:rPr lang="sv-SE"/>
              <a:t>OpenIPSL Tutorial</a:t>
            </a:r>
          </a:p>
        </p:txBody>
      </p:sp>
      <p:sp>
        <p:nvSpPr>
          <p:cNvPr id="4" name="Slide Number Placeholder 3"/>
          <p:cNvSpPr>
            <a:spLocks noGrp="1"/>
          </p:cNvSpPr>
          <p:nvPr>
            <p:ph type="sldNum" sz="quarter" idx="11"/>
          </p:nvPr>
        </p:nvSpPr>
        <p:spPr>
          <a:xfrm>
            <a:off x="8172400" y="6282354"/>
            <a:ext cx="531863" cy="365125"/>
          </a:xfrm>
        </p:spPr>
        <p:txBody>
          <a:bodyPr/>
          <a:lstStyle/>
          <a:p>
            <a:fld id="{227F0B53-9592-4779-891F-997228E46E01}" type="slidenum">
              <a:rPr lang="sv-SE" smtClean="0"/>
              <a:t>‹#›</a:t>
            </a:fld>
            <a:endParaRPr lang="sv-SE"/>
          </a:p>
        </p:txBody>
      </p:sp>
      <p:sp>
        <p:nvSpPr>
          <p:cNvPr id="5" name="Date Placeholder 4"/>
          <p:cNvSpPr>
            <a:spLocks noGrp="1"/>
          </p:cNvSpPr>
          <p:nvPr>
            <p:ph type="dt" sz="half" idx="12"/>
          </p:nvPr>
        </p:nvSpPr>
        <p:spPr/>
        <p:txBody>
          <a:bodyPr/>
          <a:lstStyle/>
          <a:p>
            <a:r>
              <a:rPr lang="sv-SE"/>
              <a:t>2016-11-20</a:t>
            </a:r>
          </a:p>
        </p:txBody>
      </p:sp>
      <p:sp>
        <p:nvSpPr>
          <p:cNvPr id="6" name="Platshållare för text 2"/>
          <p:cNvSpPr>
            <a:spLocks noGrp="1"/>
          </p:cNvSpPr>
          <p:nvPr>
            <p:ph idx="1"/>
          </p:nvPr>
        </p:nvSpPr>
        <p:spPr>
          <a:xfrm>
            <a:off x="338964" y="1582739"/>
            <a:ext cx="8481508" cy="4078286"/>
          </a:xfrm>
          <a:prstGeom prst="rect">
            <a:avLst/>
          </a:prstGeom>
        </p:spPr>
        <p:txBody>
          <a:bodyPr vert="horz" lIns="0" tIns="0" rIns="0" bIns="0" rtlCol="0">
            <a:normAutofit/>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endParaRPr lang="en-GB" dirty="0"/>
          </a:p>
        </p:txBody>
      </p:sp>
    </p:spTree>
    <p:extLst>
      <p:ext uri="{BB962C8B-B14F-4D97-AF65-F5344CB8AC3E}">
        <p14:creationId xmlns:p14="http://schemas.microsoft.com/office/powerpoint/2010/main" val="115141069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ext and image">
    <p:spTree>
      <p:nvGrpSpPr>
        <p:cNvPr id="1" name=""/>
        <p:cNvGrpSpPr/>
        <p:nvPr/>
      </p:nvGrpSpPr>
      <p:grpSpPr>
        <a:xfrm>
          <a:off x="0" y="0"/>
          <a:ext cx="0" cy="0"/>
          <a:chOff x="0" y="0"/>
          <a:chExt cx="0" cy="0"/>
        </a:xfrm>
      </p:grpSpPr>
      <p:sp>
        <p:nvSpPr>
          <p:cNvPr id="3" name="Platshållare för innehåll 2"/>
          <p:cNvSpPr>
            <a:spLocks noGrp="1"/>
          </p:cNvSpPr>
          <p:nvPr>
            <p:ph idx="1"/>
          </p:nvPr>
        </p:nvSpPr>
        <p:spPr>
          <a:xfrm>
            <a:off x="1619250" y="1582739"/>
            <a:ext cx="3312790" cy="407828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Platshållare för bild 8"/>
          <p:cNvSpPr>
            <a:spLocks noGrp="1"/>
          </p:cNvSpPr>
          <p:nvPr>
            <p:ph type="pic" sz="quarter" idx="13"/>
          </p:nvPr>
        </p:nvSpPr>
        <p:spPr>
          <a:xfrm>
            <a:off x="5226050" y="1582739"/>
            <a:ext cx="3328988" cy="4078286"/>
          </a:xfrm>
        </p:spPr>
        <p:txBody>
          <a:bodyPr/>
          <a:lstStyle/>
          <a:p>
            <a:r>
              <a:rPr lang="en-US"/>
              <a:t>Click icon to add picture</a:t>
            </a:r>
            <a:endParaRPr lang="en-GB"/>
          </a:p>
        </p:txBody>
      </p:sp>
      <p:sp>
        <p:nvSpPr>
          <p:cNvPr id="8" name="Rubrik 1"/>
          <p:cNvSpPr>
            <a:spLocks noGrp="1"/>
          </p:cNvSpPr>
          <p:nvPr>
            <p:ph type="title"/>
          </p:nvPr>
        </p:nvSpPr>
        <p:spPr>
          <a:xfrm>
            <a:off x="1619250" y="404870"/>
            <a:ext cx="6935788" cy="668338"/>
          </a:xfrm>
        </p:spPr>
        <p:txBody>
          <a:bodyPr/>
          <a:lstStyle/>
          <a:p>
            <a:r>
              <a:rPr lang="en-US"/>
              <a:t>Click to edit Master title style</a:t>
            </a:r>
            <a:endParaRPr lang="en-GB" dirty="0"/>
          </a:p>
        </p:txBody>
      </p:sp>
      <p:sp>
        <p:nvSpPr>
          <p:cNvPr id="10" name="Platshållare för datum 3"/>
          <p:cNvSpPr>
            <a:spLocks noGrp="1"/>
          </p:cNvSpPr>
          <p:nvPr>
            <p:ph type="dt" sz="half" idx="10"/>
          </p:nvPr>
        </p:nvSpPr>
        <p:spPr>
          <a:xfrm>
            <a:off x="5580112" y="6288509"/>
            <a:ext cx="2133600" cy="365125"/>
          </a:xfrm>
        </p:spPr>
        <p:txBody>
          <a:bodyPr/>
          <a:lstStyle>
            <a:lvl1pPr>
              <a:defRPr sz="1100"/>
            </a:lvl1pPr>
          </a:lstStyle>
          <a:p>
            <a:r>
              <a:rPr lang="sv-SE"/>
              <a:t>2016-11-20</a:t>
            </a:r>
          </a:p>
        </p:txBody>
      </p:sp>
      <p:sp>
        <p:nvSpPr>
          <p:cNvPr id="11" name="Platshållare för bildnummer 5"/>
          <p:cNvSpPr>
            <a:spLocks noGrp="1"/>
          </p:cNvSpPr>
          <p:nvPr>
            <p:ph type="sldNum" sz="quarter" idx="12"/>
          </p:nvPr>
        </p:nvSpPr>
        <p:spPr>
          <a:xfrm>
            <a:off x="8172399" y="6301410"/>
            <a:ext cx="531863" cy="365125"/>
          </a:xfrm>
        </p:spPr>
        <p:txBody>
          <a:bodyPr/>
          <a:lstStyle>
            <a:lvl1pPr>
              <a:defRPr sz="1100"/>
            </a:lvl1pPr>
          </a:lstStyle>
          <a:p>
            <a:fld id="{227F0B53-9592-4779-891F-997228E46E01}" type="slidenum">
              <a:rPr lang="sv-SE" smtClean="0"/>
              <a:t>‹#›</a:t>
            </a:fld>
            <a:endParaRPr lang="sv-SE"/>
          </a:p>
        </p:txBody>
      </p:sp>
      <p:sp>
        <p:nvSpPr>
          <p:cNvPr id="12"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bg1"/>
                </a:solidFill>
              </a:defRPr>
            </a:lvl1pPr>
          </a:lstStyle>
          <a:p>
            <a:r>
              <a:rPr lang="sv-SE"/>
              <a:t>OpenIPSL Tutorial</a:t>
            </a:r>
          </a:p>
        </p:txBody>
      </p:sp>
    </p:spTree>
    <p:extLst>
      <p:ext uri="{BB962C8B-B14F-4D97-AF65-F5344CB8AC3E}">
        <p14:creationId xmlns:p14="http://schemas.microsoft.com/office/powerpoint/2010/main" val="164638743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ext and graph">
    <p:spTree>
      <p:nvGrpSpPr>
        <p:cNvPr id="1" name=""/>
        <p:cNvGrpSpPr/>
        <p:nvPr/>
      </p:nvGrpSpPr>
      <p:grpSpPr>
        <a:xfrm>
          <a:off x="0" y="0"/>
          <a:ext cx="0" cy="0"/>
          <a:chOff x="0" y="0"/>
          <a:chExt cx="0" cy="0"/>
        </a:xfrm>
      </p:grpSpPr>
      <p:sp>
        <p:nvSpPr>
          <p:cNvPr id="3" name="Platshållare för innehåll 2"/>
          <p:cNvSpPr>
            <a:spLocks noGrp="1"/>
          </p:cNvSpPr>
          <p:nvPr>
            <p:ph idx="1"/>
          </p:nvPr>
        </p:nvSpPr>
        <p:spPr>
          <a:xfrm>
            <a:off x="1619250" y="1582739"/>
            <a:ext cx="3312790" cy="407828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Platshållare för diagram 7"/>
          <p:cNvSpPr>
            <a:spLocks noGrp="1"/>
          </p:cNvSpPr>
          <p:nvPr>
            <p:ph type="chart" sz="quarter" idx="13"/>
          </p:nvPr>
        </p:nvSpPr>
        <p:spPr>
          <a:xfrm>
            <a:off x="5226050" y="1582740"/>
            <a:ext cx="3328988" cy="4078286"/>
          </a:xfrm>
        </p:spPr>
        <p:txBody>
          <a:bodyPr>
            <a:normAutofit/>
          </a:bodyPr>
          <a:lstStyle>
            <a:lvl1pPr>
              <a:defRPr sz="1400"/>
            </a:lvl1pPr>
          </a:lstStyle>
          <a:p>
            <a:r>
              <a:rPr lang="en-US"/>
              <a:t>Click icon to add chart</a:t>
            </a:r>
            <a:endParaRPr lang="en-GB"/>
          </a:p>
        </p:txBody>
      </p:sp>
      <p:sp>
        <p:nvSpPr>
          <p:cNvPr id="9" name="Rubrik 1"/>
          <p:cNvSpPr>
            <a:spLocks noGrp="1"/>
          </p:cNvSpPr>
          <p:nvPr>
            <p:ph type="title"/>
          </p:nvPr>
        </p:nvSpPr>
        <p:spPr>
          <a:xfrm>
            <a:off x="1619250" y="404870"/>
            <a:ext cx="6935788" cy="668338"/>
          </a:xfrm>
        </p:spPr>
        <p:txBody>
          <a:bodyPr/>
          <a:lstStyle/>
          <a:p>
            <a:r>
              <a:rPr lang="en-US"/>
              <a:t>Click to edit Master title style</a:t>
            </a:r>
            <a:endParaRPr lang="en-GB" dirty="0"/>
          </a:p>
        </p:txBody>
      </p:sp>
      <p:sp>
        <p:nvSpPr>
          <p:cNvPr id="10" name="Platshållare för datum 3"/>
          <p:cNvSpPr>
            <a:spLocks noGrp="1"/>
          </p:cNvSpPr>
          <p:nvPr>
            <p:ph type="dt" sz="half" idx="10"/>
          </p:nvPr>
        </p:nvSpPr>
        <p:spPr>
          <a:xfrm>
            <a:off x="5580112" y="6288509"/>
            <a:ext cx="2133600" cy="365125"/>
          </a:xfrm>
        </p:spPr>
        <p:txBody>
          <a:bodyPr/>
          <a:lstStyle>
            <a:lvl1pPr>
              <a:defRPr sz="1100"/>
            </a:lvl1pPr>
          </a:lstStyle>
          <a:p>
            <a:r>
              <a:rPr lang="sv-SE"/>
              <a:t>2016-11-20</a:t>
            </a:r>
          </a:p>
        </p:txBody>
      </p:sp>
      <p:sp>
        <p:nvSpPr>
          <p:cNvPr id="11" name="Platshållare för bildnummer 5"/>
          <p:cNvSpPr>
            <a:spLocks noGrp="1"/>
          </p:cNvSpPr>
          <p:nvPr>
            <p:ph type="sldNum" sz="quarter" idx="12"/>
          </p:nvPr>
        </p:nvSpPr>
        <p:spPr>
          <a:xfrm>
            <a:off x="8172399" y="6301410"/>
            <a:ext cx="531863" cy="365125"/>
          </a:xfrm>
        </p:spPr>
        <p:txBody>
          <a:bodyPr/>
          <a:lstStyle>
            <a:lvl1pPr>
              <a:defRPr sz="1100"/>
            </a:lvl1pPr>
          </a:lstStyle>
          <a:p>
            <a:fld id="{227F0B53-9592-4779-891F-997228E46E01}" type="slidenum">
              <a:rPr lang="sv-SE" smtClean="0"/>
              <a:t>‹#›</a:t>
            </a:fld>
            <a:endParaRPr lang="sv-SE"/>
          </a:p>
        </p:txBody>
      </p:sp>
      <p:sp>
        <p:nvSpPr>
          <p:cNvPr id="12"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bg1"/>
                </a:solidFill>
              </a:defRPr>
            </a:lvl1pPr>
          </a:lstStyle>
          <a:p>
            <a:r>
              <a:rPr lang="sv-SE"/>
              <a:t>OpenIPSL Tutorial</a:t>
            </a:r>
          </a:p>
        </p:txBody>
      </p:sp>
    </p:spTree>
    <p:extLst>
      <p:ext uri="{BB962C8B-B14F-4D97-AF65-F5344CB8AC3E}">
        <p14:creationId xmlns:p14="http://schemas.microsoft.com/office/powerpoint/2010/main" val="272496975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wo images">
    <p:spTree>
      <p:nvGrpSpPr>
        <p:cNvPr id="1" name=""/>
        <p:cNvGrpSpPr/>
        <p:nvPr/>
      </p:nvGrpSpPr>
      <p:grpSpPr>
        <a:xfrm>
          <a:off x="0" y="0"/>
          <a:ext cx="0" cy="0"/>
          <a:chOff x="0" y="0"/>
          <a:chExt cx="0" cy="0"/>
        </a:xfrm>
      </p:grpSpPr>
      <p:sp>
        <p:nvSpPr>
          <p:cNvPr id="9" name="Platshållare för bild 8"/>
          <p:cNvSpPr>
            <a:spLocks noGrp="1"/>
          </p:cNvSpPr>
          <p:nvPr>
            <p:ph type="pic" sz="quarter" idx="13"/>
          </p:nvPr>
        </p:nvSpPr>
        <p:spPr>
          <a:xfrm>
            <a:off x="5226050" y="1582739"/>
            <a:ext cx="3328988" cy="4078286"/>
          </a:xfrm>
        </p:spPr>
        <p:txBody>
          <a:bodyPr/>
          <a:lstStyle/>
          <a:p>
            <a:r>
              <a:rPr lang="en-US"/>
              <a:t>Click icon to add picture</a:t>
            </a:r>
            <a:endParaRPr lang="en-GB" dirty="0"/>
          </a:p>
        </p:txBody>
      </p:sp>
      <p:sp>
        <p:nvSpPr>
          <p:cNvPr id="8" name="Platshållare för bild 8"/>
          <p:cNvSpPr>
            <a:spLocks noGrp="1"/>
          </p:cNvSpPr>
          <p:nvPr>
            <p:ph type="pic" sz="quarter" idx="14"/>
          </p:nvPr>
        </p:nvSpPr>
        <p:spPr>
          <a:xfrm>
            <a:off x="1619250" y="1582739"/>
            <a:ext cx="3328988" cy="4078286"/>
          </a:xfrm>
        </p:spPr>
        <p:txBody>
          <a:bodyPr/>
          <a:lstStyle/>
          <a:p>
            <a:r>
              <a:rPr lang="en-US"/>
              <a:t>Click icon to add picture</a:t>
            </a:r>
            <a:endParaRPr lang="en-GB" dirty="0"/>
          </a:p>
        </p:txBody>
      </p:sp>
      <p:sp>
        <p:nvSpPr>
          <p:cNvPr id="10" name="Rubrik 1"/>
          <p:cNvSpPr>
            <a:spLocks noGrp="1"/>
          </p:cNvSpPr>
          <p:nvPr>
            <p:ph type="title"/>
          </p:nvPr>
        </p:nvSpPr>
        <p:spPr>
          <a:xfrm>
            <a:off x="1619250" y="404870"/>
            <a:ext cx="6935788" cy="668338"/>
          </a:xfrm>
        </p:spPr>
        <p:txBody>
          <a:bodyPr/>
          <a:lstStyle/>
          <a:p>
            <a:r>
              <a:rPr lang="en-US"/>
              <a:t>Click to edit Master title style</a:t>
            </a:r>
            <a:endParaRPr lang="en-GB" dirty="0"/>
          </a:p>
        </p:txBody>
      </p:sp>
      <p:sp>
        <p:nvSpPr>
          <p:cNvPr id="11" name="Platshållare för datum 3"/>
          <p:cNvSpPr>
            <a:spLocks noGrp="1"/>
          </p:cNvSpPr>
          <p:nvPr>
            <p:ph type="dt" sz="half" idx="10"/>
          </p:nvPr>
        </p:nvSpPr>
        <p:spPr>
          <a:xfrm>
            <a:off x="5580112" y="6288509"/>
            <a:ext cx="2133600" cy="365125"/>
          </a:xfrm>
        </p:spPr>
        <p:txBody>
          <a:bodyPr/>
          <a:lstStyle>
            <a:lvl1pPr>
              <a:defRPr sz="1100"/>
            </a:lvl1pPr>
          </a:lstStyle>
          <a:p>
            <a:r>
              <a:rPr lang="sv-SE"/>
              <a:t>2016-11-20</a:t>
            </a:r>
          </a:p>
        </p:txBody>
      </p:sp>
      <p:sp>
        <p:nvSpPr>
          <p:cNvPr id="12" name="Platshållare för bildnummer 5"/>
          <p:cNvSpPr>
            <a:spLocks noGrp="1"/>
          </p:cNvSpPr>
          <p:nvPr>
            <p:ph type="sldNum" sz="quarter" idx="12"/>
          </p:nvPr>
        </p:nvSpPr>
        <p:spPr>
          <a:xfrm>
            <a:off x="8172399" y="6301410"/>
            <a:ext cx="531863" cy="365125"/>
          </a:xfrm>
        </p:spPr>
        <p:txBody>
          <a:bodyPr/>
          <a:lstStyle>
            <a:lvl1pPr>
              <a:defRPr sz="1100"/>
            </a:lvl1pPr>
          </a:lstStyle>
          <a:p>
            <a:fld id="{227F0B53-9592-4779-891F-997228E46E01}" type="slidenum">
              <a:rPr lang="sv-SE" smtClean="0"/>
              <a:t>‹#›</a:t>
            </a:fld>
            <a:endParaRPr lang="sv-SE"/>
          </a:p>
        </p:txBody>
      </p:sp>
      <p:sp>
        <p:nvSpPr>
          <p:cNvPr id="13"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bg1"/>
                </a:solidFill>
              </a:defRPr>
            </a:lvl1pPr>
          </a:lstStyle>
          <a:p>
            <a:r>
              <a:rPr lang="sv-SE"/>
              <a:t>OpenIPSL Tutorial</a:t>
            </a:r>
          </a:p>
        </p:txBody>
      </p:sp>
    </p:spTree>
    <p:extLst>
      <p:ext uri="{BB962C8B-B14F-4D97-AF65-F5344CB8AC3E}">
        <p14:creationId xmlns:p14="http://schemas.microsoft.com/office/powerpoint/2010/main" val="198388955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hapter slide">
    <p:spTree>
      <p:nvGrpSpPr>
        <p:cNvPr id="1" name=""/>
        <p:cNvGrpSpPr/>
        <p:nvPr/>
      </p:nvGrpSpPr>
      <p:grpSpPr>
        <a:xfrm>
          <a:off x="0" y="0"/>
          <a:ext cx="0" cy="0"/>
          <a:chOff x="0" y="0"/>
          <a:chExt cx="0" cy="0"/>
        </a:xfrm>
      </p:grpSpPr>
      <p:sp>
        <p:nvSpPr>
          <p:cNvPr id="8" name="Platshållare för bild 7"/>
          <p:cNvSpPr>
            <a:spLocks noGrp="1"/>
          </p:cNvSpPr>
          <p:nvPr>
            <p:ph type="pic" sz="quarter" idx="13"/>
          </p:nvPr>
        </p:nvSpPr>
        <p:spPr>
          <a:xfrm>
            <a:off x="-10639" y="1582739"/>
            <a:ext cx="9208426" cy="4713858"/>
          </a:xfrm>
          <a:custGeom>
            <a:avLst/>
            <a:gdLst>
              <a:gd name="connsiteX0" fmla="*/ 708568 w 9144000"/>
              <a:gd name="connsiteY0" fmla="*/ 0 h 4251325"/>
              <a:gd name="connsiteX1" fmla="*/ 9144000 w 9144000"/>
              <a:gd name="connsiteY1" fmla="*/ 0 h 4251325"/>
              <a:gd name="connsiteX2" fmla="*/ 9144000 w 9144000"/>
              <a:gd name="connsiteY2" fmla="*/ 0 h 4251325"/>
              <a:gd name="connsiteX3" fmla="*/ 9144000 w 9144000"/>
              <a:gd name="connsiteY3" fmla="*/ 3542757 h 4251325"/>
              <a:gd name="connsiteX4" fmla="*/ 8435432 w 9144000"/>
              <a:gd name="connsiteY4" fmla="*/ 4251325 h 4251325"/>
              <a:gd name="connsiteX5" fmla="*/ 0 w 9144000"/>
              <a:gd name="connsiteY5" fmla="*/ 4251325 h 4251325"/>
              <a:gd name="connsiteX6" fmla="*/ 0 w 9144000"/>
              <a:gd name="connsiteY6" fmla="*/ 4251325 h 4251325"/>
              <a:gd name="connsiteX7" fmla="*/ 0 w 9144000"/>
              <a:gd name="connsiteY7" fmla="*/ 708568 h 4251325"/>
              <a:gd name="connsiteX8" fmla="*/ 708568 w 9144000"/>
              <a:gd name="connsiteY8" fmla="*/ 0 h 4251325"/>
              <a:gd name="connsiteX0" fmla="*/ 180030 w 9301262"/>
              <a:gd name="connsiteY0" fmla="*/ 0 h 4260850"/>
              <a:gd name="connsiteX1" fmla="*/ 9301262 w 9301262"/>
              <a:gd name="connsiteY1" fmla="*/ 9525 h 4260850"/>
              <a:gd name="connsiteX2" fmla="*/ 9301262 w 9301262"/>
              <a:gd name="connsiteY2" fmla="*/ 9525 h 4260850"/>
              <a:gd name="connsiteX3" fmla="*/ 9301262 w 9301262"/>
              <a:gd name="connsiteY3" fmla="*/ 3552282 h 4260850"/>
              <a:gd name="connsiteX4" fmla="*/ 8592694 w 9301262"/>
              <a:gd name="connsiteY4" fmla="*/ 4260850 h 4260850"/>
              <a:gd name="connsiteX5" fmla="*/ 157262 w 9301262"/>
              <a:gd name="connsiteY5" fmla="*/ 4260850 h 4260850"/>
              <a:gd name="connsiteX6" fmla="*/ 157262 w 9301262"/>
              <a:gd name="connsiteY6" fmla="*/ 4260850 h 4260850"/>
              <a:gd name="connsiteX7" fmla="*/ 157262 w 9301262"/>
              <a:gd name="connsiteY7" fmla="*/ 718093 h 4260850"/>
              <a:gd name="connsiteX8" fmla="*/ 180030 w 9301262"/>
              <a:gd name="connsiteY8" fmla="*/ 0 h 4260850"/>
              <a:gd name="connsiteX0" fmla="*/ 23406 w 9144638"/>
              <a:gd name="connsiteY0" fmla="*/ 0 h 4260850"/>
              <a:gd name="connsiteX1" fmla="*/ 9144638 w 9144638"/>
              <a:gd name="connsiteY1" fmla="*/ 9525 h 4260850"/>
              <a:gd name="connsiteX2" fmla="*/ 9144638 w 9144638"/>
              <a:gd name="connsiteY2" fmla="*/ 9525 h 4260850"/>
              <a:gd name="connsiteX3" fmla="*/ 9144638 w 9144638"/>
              <a:gd name="connsiteY3" fmla="*/ 3552282 h 4260850"/>
              <a:gd name="connsiteX4" fmla="*/ 8436070 w 9144638"/>
              <a:gd name="connsiteY4" fmla="*/ 4260850 h 4260850"/>
              <a:gd name="connsiteX5" fmla="*/ 638 w 9144638"/>
              <a:gd name="connsiteY5" fmla="*/ 4260850 h 4260850"/>
              <a:gd name="connsiteX6" fmla="*/ 638 w 9144638"/>
              <a:gd name="connsiteY6" fmla="*/ 4260850 h 4260850"/>
              <a:gd name="connsiteX7" fmla="*/ 638 w 9144638"/>
              <a:gd name="connsiteY7" fmla="*/ 718093 h 4260850"/>
              <a:gd name="connsiteX8" fmla="*/ 23406 w 9144638"/>
              <a:gd name="connsiteY8" fmla="*/ 0 h 4260850"/>
              <a:gd name="connsiteX0" fmla="*/ 11705 w 9161512"/>
              <a:gd name="connsiteY0" fmla="*/ 9525 h 4251325"/>
              <a:gd name="connsiteX1" fmla="*/ 9161512 w 9161512"/>
              <a:gd name="connsiteY1" fmla="*/ 0 h 4251325"/>
              <a:gd name="connsiteX2" fmla="*/ 9161512 w 9161512"/>
              <a:gd name="connsiteY2" fmla="*/ 0 h 4251325"/>
              <a:gd name="connsiteX3" fmla="*/ 9161512 w 9161512"/>
              <a:gd name="connsiteY3" fmla="*/ 3542757 h 4251325"/>
              <a:gd name="connsiteX4" fmla="*/ 8452944 w 9161512"/>
              <a:gd name="connsiteY4" fmla="*/ 4251325 h 4251325"/>
              <a:gd name="connsiteX5" fmla="*/ 17512 w 9161512"/>
              <a:gd name="connsiteY5" fmla="*/ 4251325 h 4251325"/>
              <a:gd name="connsiteX6" fmla="*/ 17512 w 9161512"/>
              <a:gd name="connsiteY6" fmla="*/ 4251325 h 4251325"/>
              <a:gd name="connsiteX7" fmla="*/ 17512 w 9161512"/>
              <a:gd name="connsiteY7" fmla="*/ 708568 h 4251325"/>
              <a:gd name="connsiteX8" fmla="*/ 11705 w 9161512"/>
              <a:gd name="connsiteY8" fmla="*/ 9525 h 4251325"/>
              <a:gd name="connsiteX0" fmla="*/ 69 w 9149876"/>
              <a:gd name="connsiteY0" fmla="*/ 9525 h 4251325"/>
              <a:gd name="connsiteX1" fmla="*/ 9149876 w 9149876"/>
              <a:gd name="connsiteY1" fmla="*/ 0 h 4251325"/>
              <a:gd name="connsiteX2" fmla="*/ 9149876 w 9149876"/>
              <a:gd name="connsiteY2" fmla="*/ 0 h 4251325"/>
              <a:gd name="connsiteX3" fmla="*/ 9149876 w 9149876"/>
              <a:gd name="connsiteY3" fmla="*/ 3542757 h 4251325"/>
              <a:gd name="connsiteX4" fmla="*/ 8441308 w 9149876"/>
              <a:gd name="connsiteY4" fmla="*/ 4251325 h 4251325"/>
              <a:gd name="connsiteX5" fmla="*/ 5876 w 9149876"/>
              <a:gd name="connsiteY5" fmla="*/ 4251325 h 4251325"/>
              <a:gd name="connsiteX6" fmla="*/ 5876 w 9149876"/>
              <a:gd name="connsiteY6" fmla="*/ 4251325 h 4251325"/>
              <a:gd name="connsiteX7" fmla="*/ 5876 w 9149876"/>
              <a:gd name="connsiteY7" fmla="*/ 708568 h 4251325"/>
              <a:gd name="connsiteX8" fmla="*/ 69 w 9149876"/>
              <a:gd name="connsiteY8" fmla="*/ 9525 h 4251325"/>
              <a:gd name="connsiteX0" fmla="*/ 69 w 9149876"/>
              <a:gd name="connsiteY0" fmla="*/ 9525 h 4251325"/>
              <a:gd name="connsiteX1" fmla="*/ 9149876 w 9149876"/>
              <a:gd name="connsiteY1" fmla="*/ 0 h 4251325"/>
              <a:gd name="connsiteX2" fmla="*/ 9149876 w 9149876"/>
              <a:gd name="connsiteY2" fmla="*/ 0 h 4251325"/>
              <a:gd name="connsiteX3" fmla="*/ 9149876 w 9149876"/>
              <a:gd name="connsiteY3" fmla="*/ 3542757 h 4251325"/>
              <a:gd name="connsiteX4" fmla="*/ 1316608 w 9149876"/>
              <a:gd name="connsiteY4" fmla="*/ 3946525 h 4251325"/>
              <a:gd name="connsiteX5" fmla="*/ 5876 w 9149876"/>
              <a:gd name="connsiteY5" fmla="*/ 4251325 h 4251325"/>
              <a:gd name="connsiteX6" fmla="*/ 5876 w 9149876"/>
              <a:gd name="connsiteY6" fmla="*/ 4251325 h 4251325"/>
              <a:gd name="connsiteX7" fmla="*/ 5876 w 9149876"/>
              <a:gd name="connsiteY7" fmla="*/ 708568 h 4251325"/>
              <a:gd name="connsiteX8" fmla="*/ 69 w 9149876"/>
              <a:gd name="connsiteY8" fmla="*/ 9525 h 4251325"/>
              <a:gd name="connsiteX0" fmla="*/ 69 w 9149876"/>
              <a:gd name="connsiteY0" fmla="*/ 9525 h 4257675"/>
              <a:gd name="connsiteX1" fmla="*/ 9149876 w 9149876"/>
              <a:gd name="connsiteY1" fmla="*/ 0 h 4257675"/>
              <a:gd name="connsiteX2" fmla="*/ 9149876 w 9149876"/>
              <a:gd name="connsiteY2" fmla="*/ 0 h 4257675"/>
              <a:gd name="connsiteX3" fmla="*/ 9149876 w 9149876"/>
              <a:gd name="connsiteY3" fmla="*/ 3542757 h 4257675"/>
              <a:gd name="connsiteX4" fmla="*/ 1316608 w 9149876"/>
              <a:gd name="connsiteY4" fmla="*/ 3946525 h 4257675"/>
              <a:gd name="connsiteX5" fmla="*/ 1177451 w 9149876"/>
              <a:gd name="connsiteY5" fmla="*/ 4257675 h 4257675"/>
              <a:gd name="connsiteX6" fmla="*/ 5876 w 9149876"/>
              <a:gd name="connsiteY6" fmla="*/ 4251325 h 4257675"/>
              <a:gd name="connsiteX7" fmla="*/ 5876 w 9149876"/>
              <a:gd name="connsiteY7" fmla="*/ 4251325 h 4257675"/>
              <a:gd name="connsiteX8" fmla="*/ 5876 w 9149876"/>
              <a:gd name="connsiteY8" fmla="*/ 708568 h 4257675"/>
              <a:gd name="connsiteX9" fmla="*/ 69 w 9149876"/>
              <a:gd name="connsiteY9" fmla="*/ 9525 h 4257675"/>
              <a:gd name="connsiteX0" fmla="*/ 69 w 9149876"/>
              <a:gd name="connsiteY0" fmla="*/ 9525 h 4257675"/>
              <a:gd name="connsiteX1" fmla="*/ 9149876 w 9149876"/>
              <a:gd name="connsiteY1" fmla="*/ 0 h 4257675"/>
              <a:gd name="connsiteX2" fmla="*/ 9149876 w 9149876"/>
              <a:gd name="connsiteY2" fmla="*/ 0 h 4257675"/>
              <a:gd name="connsiteX3" fmla="*/ 9149876 w 9149876"/>
              <a:gd name="connsiteY3" fmla="*/ 3895182 h 4257675"/>
              <a:gd name="connsiteX4" fmla="*/ 1316608 w 9149876"/>
              <a:gd name="connsiteY4" fmla="*/ 3946525 h 4257675"/>
              <a:gd name="connsiteX5" fmla="*/ 1177451 w 9149876"/>
              <a:gd name="connsiteY5" fmla="*/ 4257675 h 4257675"/>
              <a:gd name="connsiteX6" fmla="*/ 5876 w 9149876"/>
              <a:gd name="connsiteY6" fmla="*/ 4251325 h 4257675"/>
              <a:gd name="connsiteX7" fmla="*/ 5876 w 9149876"/>
              <a:gd name="connsiteY7" fmla="*/ 4251325 h 4257675"/>
              <a:gd name="connsiteX8" fmla="*/ 5876 w 9149876"/>
              <a:gd name="connsiteY8" fmla="*/ 708568 h 4257675"/>
              <a:gd name="connsiteX9" fmla="*/ 69 w 9149876"/>
              <a:gd name="connsiteY9" fmla="*/ 9525 h 4257675"/>
              <a:gd name="connsiteX0" fmla="*/ 69 w 9149876"/>
              <a:gd name="connsiteY0" fmla="*/ 9525 h 4257675"/>
              <a:gd name="connsiteX1" fmla="*/ 9149876 w 9149876"/>
              <a:gd name="connsiteY1" fmla="*/ 0 h 4257675"/>
              <a:gd name="connsiteX2" fmla="*/ 9149876 w 9149876"/>
              <a:gd name="connsiteY2" fmla="*/ 0 h 4257675"/>
              <a:gd name="connsiteX3" fmla="*/ 9149876 w 9149876"/>
              <a:gd name="connsiteY3" fmla="*/ 3895182 h 4257675"/>
              <a:gd name="connsiteX4" fmla="*/ 1316608 w 9149876"/>
              <a:gd name="connsiteY4" fmla="*/ 3946525 h 4257675"/>
              <a:gd name="connsiteX5" fmla="*/ 1177451 w 9149876"/>
              <a:gd name="connsiteY5" fmla="*/ 4257675 h 4257675"/>
              <a:gd name="connsiteX6" fmla="*/ 5876 w 9149876"/>
              <a:gd name="connsiteY6" fmla="*/ 4251325 h 4257675"/>
              <a:gd name="connsiteX7" fmla="*/ 5876 w 9149876"/>
              <a:gd name="connsiteY7" fmla="*/ 4251325 h 4257675"/>
              <a:gd name="connsiteX8" fmla="*/ 5876 w 9149876"/>
              <a:gd name="connsiteY8" fmla="*/ 708568 h 4257675"/>
              <a:gd name="connsiteX9" fmla="*/ 69 w 9149876"/>
              <a:gd name="connsiteY9" fmla="*/ 9525 h 4257675"/>
              <a:gd name="connsiteX0" fmla="*/ 69 w 9149876"/>
              <a:gd name="connsiteY0" fmla="*/ 9525 h 4257675"/>
              <a:gd name="connsiteX1" fmla="*/ 9149876 w 9149876"/>
              <a:gd name="connsiteY1" fmla="*/ 0 h 4257675"/>
              <a:gd name="connsiteX2" fmla="*/ 9149876 w 9149876"/>
              <a:gd name="connsiteY2" fmla="*/ 0 h 4257675"/>
              <a:gd name="connsiteX3" fmla="*/ 9149876 w 9149876"/>
              <a:gd name="connsiteY3" fmla="*/ 3923757 h 4257675"/>
              <a:gd name="connsiteX4" fmla="*/ 1316608 w 9149876"/>
              <a:gd name="connsiteY4" fmla="*/ 3946525 h 4257675"/>
              <a:gd name="connsiteX5" fmla="*/ 1177451 w 9149876"/>
              <a:gd name="connsiteY5" fmla="*/ 4257675 h 4257675"/>
              <a:gd name="connsiteX6" fmla="*/ 5876 w 9149876"/>
              <a:gd name="connsiteY6" fmla="*/ 4251325 h 4257675"/>
              <a:gd name="connsiteX7" fmla="*/ 5876 w 9149876"/>
              <a:gd name="connsiteY7" fmla="*/ 4251325 h 4257675"/>
              <a:gd name="connsiteX8" fmla="*/ 5876 w 9149876"/>
              <a:gd name="connsiteY8" fmla="*/ 708568 h 4257675"/>
              <a:gd name="connsiteX9" fmla="*/ 69 w 9149876"/>
              <a:gd name="connsiteY9" fmla="*/ 9525 h 4257675"/>
              <a:gd name="connsiteX0" fmla="*/ 69 w 9149876"/>
              <a:gd name="connsiteY0" fmla="*/ 9525 h 4257675"/>
              <a:gd name="connsiteX1" fmla="*/ 9149876 w 9149876"/>
              <a:gd name="connsiteY1" fmla="*/ 0 h 4257675"/>
              <a:gd name="connsiteX2" fmla="*/ 9149876 w 9149876"/>
              <a:gd name="connsiteY2" fmla="*/ 0 h 4257675"/>
              <a:gd name="connsiteX3" fmla="*/ 9149876 w 9149876"/>
              <a:gd name="connsiteY3" fmla="*/ 3923757 h 4257675"/>
              <a:gd name="connsiteX4" fmla="*/ 1316608 w 9149876"/>
              <a:gd name="connsiteY4" fmla="*/ 3946525 h 4257675"/>
              <a:gd name="connsiteX5" fmla="*/ 1177451 w 9149876"/>
              <a:gd name="connsiteY5" fmla="*/ 4257675 h 4257675"/>
              <a:gd name="connsiteX6" fmla="*/ 5876 w 9149876"/>
              <a:gd name="connsiteY6" fmla="*/ 4251325 h 4257675"/>
              <a:gd name="connsiteX7" fmla="*/ 5876 w 9149876"/>
              <a:gd name="connsiteY7" fmla="*/ 4251325 h 4257675"/>
              <a:gd name="connsiteX8" fmla="*/ 5876 w 9149876"/>
              <a:gd name="connsiteY8" fmla="*/ 708568 h 4257675"/>
              <a:gd name="connsiteX9" fmla="*/ 69 w 9149876"/>
              <a:gd name="connsiteY9" fmla="*/ 9525 h 4257675"/>
              <a:gd name="connsiteX0" fmla="*/ 6893 w 9156700"/>
              <a:gd name="connsiteY0" fmla="*/ 9525 h 4270375"/>
              <a:gd name="connsiteX1" fmla="*/ 9156700 w 9156700"/>
              <a:gd name="connsiteY1" fmla="*/ 0 h 4270375"/>
              <a:gd name="connsiteX2" fmla="*/ 9156700 w 9156700"/>
              <a:gd name="connsiteY2" fmla="*/ 0 h 4270375"/>
              <a:gd name="connsiteX3" fmla="*/ 9156700 w 9156700"/>
              <a:gd name="connsiteY3" fmla="*/ 3923757 h 4270375"/>
              <a:gd name="connsiteX4" fmla="*/ 1323432 w 9156700"/>
              <a:gd name="connsiteY4" fmla="*/ 3946525 h 4270375"/>
              <a:gd name="connsiteX5" fmla="*/ 1184275 w 9156700"/>
              <a:gd name="connsiteY5" fmla="*/ 4257675 h 4270375"/>
              <a:gd name="connsiteX6" fmla="*/ 12700 w 9156700"/>
              <a:gd name="connsiteY6" fmla="*/ 4251325 h 4270375"/>
              <a:gd name="connsiteX7" fmla="*/ 0 w 9156700"/>
              <a:gd name="connsiteY7" fmla="*/ 4270375 h 4270375"/>
              <a:gd name="connsiteX8" fmla="*/ 12700 w 9156700"/>
              <a:gd name="connsiteY8" fmla="*/ 708568 h 4270375"/>
              <a:gd name="connsiteX9" fmla="*/ 6893 w 9156700"/>
              <a:gd name="connsiteY9" fmla="*/ 9525 h 4270375"/>
              <a:gd name="connsiteX0" fmla="*/ 6893 w 9156700"/>
              <a:gd name="connsiteY0" fmla="*/ 9525 h 4270375"/>
              <a:gd name="connsiteX1" fmla="*/ 9156700 w 9156700"/>
              <a:gd name="connsiteY1" fmla="*/ 0 h 4270375"/>
              <a:gd name="connsiteX2" fmla="*/ 9156700 w 9156700"/>
              <a:gd name="connsiteY2" fmla="*/ 0 h 4270375"/>
              <a:gd name="connsiteX3" fmla="*/ 9156700 w 9156700"/>
              <a:gd name="connsiteY3" fmla="*/ 3923757 h 4270375"/>
              <a:gd name="connsiteX4" fmla="*/ 1342482 w 9156700"/>
              <a:gd name="connsiteY4" fmla="*/ 3908425 h 4270375"/>
              <a:gd name="connsiteX5" fmla="*/ 1184275 w 9156700"/>
              <a:gd name="connsiteY5" fmla="*/ 4257675 h 4270375"/>
              <a:gd name="connsiteX6" fmla="*/ 12700 w 9156700"/>
              <a:gd name="connsiteY6" fmla="*/ 4251325 h 4270375"/>
              <a:gd name="connsiteX7" fmla="*/ 0 w 9156700"/>
              <a:gd name="connsiteY7" fmla="*/ 4270375 h 4270375"/>
              <a:gd name="connsiteX8" fmla="*/ 12700 w 9156700"/>
              <a:gd name="connsiteY8" fmla="*/ 708568 h 4270375"/>
              <a:gd name="connsiteX9" fmla="*/ 6893 w 9156700"/>
              <a:gd name="connsiteY9" fmla="*/ 9525 h 4270375"/>
              <a:gd name="connsiteX0" fmla="*/ 6893 w 9156700"/>
              <a:gd name="connsiteY0" fmla="*/ 9525 h 4270375"/>
              <a:gd name="connsiteX1" fmla="*/ 9156700 w 9156700"/>
              <a:gd name="connsiteY1" fmla="*/ 0 h 4270375"/>
              <a:gd name="connsiteX2" fmla="*/ 9156700 w 9156700"/>
              <a:gd name="connsiteY2" fmla="*/ 0 h 4270375"/>
              <a:gd name="connsiteX3" fmla="*/ 9156700 w 9156700"/>
              <a:gd name="connsiteY3" fmla="*/ 3923757 h 4270375"/>
              <a:gd name="connsiteX4" fmla="*/ 1342482 w 9156700"/>
              <a:gd name="connsiteY4" fmla="*/ 3908425 h 4270375"/>
              <a:gd name="connsiteX5" fmla="*/ 1190625 w 9156700"/>
              <a:gd name="connsiteY5" fmla="*/ 4264025 h 4270375"/>
              <a:gd name="connsiteX6" fmla="*/ 12700 w 9156700"/>
              <a:gd name="connsiteY6" fmla="*/ 4251325 h 4270375"/>
              <a:gd name="connsiteX7" fmla="*/ 0 w 9156700"/>
              <a:gd name="connsiteY7" fmla="*/ 4270375 h 4270375"/>
              <a:gd name="connsiteX8" fmla="*/ 12700 w 9156700"/>
              <a:gd name="connsiteY8" fmla="*/ 708568 h 4270375"/>
              <a:gd name="connsiteX9" fmla="*/ 6893 w 9156700"/>
              <a:gd name="connsiteY9" fmla="*/ 9525 h 4270375"/>
              <a:gd name="connsiteX0" fmla="*/ 6893 w 9156700"/>
              <a:gd name="connsiteY0" fmla="*/ 9525 h 4270375"/>
              <a:gd name="connsiteX1" fmla="*/ 9156700 w 9156700"/>
              <a:gd name="connsiteY1" fmla="*/ 0 h 4270375"/>
              <a:gd name="connsiteX2" fmla="*/ 9156700 w 9156700"/>
              <a:gd name="connsiteY2" fmla="*/ 0 h 4270375"/>
              <a:gd name="connsiteX3" fmla="*/ 9156700 w 9156700"/>
              <a:gd name="connsiteY3" fmla="*/ 3923757 h 4270375"/>
              <a:gd name="connsiteX4" fmla="*/ 1342482 w 9156700"/>
              <a:gd name="connsiteY4" fmla="*/ 3908425 h 4270375"/>
              <a:gd name="connsiteX5" fmla="*/ 1190625 w 9156700"/>
              <a:gd name="connsiteY5" fmla="*/ 4264025 h 4270375"/>
              <a:gd name="connsiteX6" fmla="*/ 0 w 9156700"/>
              <a:gd name="connsiteY6" fmla="*/ 4270375 h 4270375"/>
              <a:gd name="connsiteX7" fmla="*/ 12700 w 9156700"/>
              <a:gd name="connsiteY7" fmla="*/ 708568 h 4270375"/>
              <a:gd name="connsiteX8" fmla="*/ 6893 w 9156700"/>
              <a:gd name="connsiteY8" fmla="*/ 9525 h 4270375"/>
              <a:gd name="connsiteX0" fmla="*/ 6893 w 9156700"/>
              <a:gd name="connsiteY0" fmla="*/ 9525 h 4264025"/>
              <a:gd name="connsiteX1" fmla="*/ 9156700 w 9156700"/>
              <a:gd name="connsiteY1" fmla="*/ 0 h 4264025"/>
              <a:gd name="connsiteX2" fmla="*/ 9156700 w 9156700"/>
              <a:gd name="connsiteY2" fmla="*/ 0 h 4264025"/>
              <a:gd name="connsiteX3" fmla="*/ 9156700 w 9156700"/>
              <a:gd name="connsiteY3" fmla="*/ 3923757 h 4264025"/>
              <a:gd name="connsiteX4" fmla="*/ 1342482 w 9156700"/>
              <a:gd name="connsiteY4" fmla="*/ 3908425 h 4264025"/>
              <a:gd name="connsiteX5" fmla="*/ 1190625 w 9156700"/>
              <a:gd name="connsiteY5" fmla="*/ 4264025 h 4264025"/>
              <a:gd name="connsiteX6" fmla="*/ 0 w 9156700"/>
              <a:gd name="connsiteY6" fmla="*/ 4257675 h 4264025"/>
              <a:gd name="connsiteX7" fmla="*/ 12700 w 9156700"/>
              <a:gd name="connsiteY7" fmla="*/ 708568 h 4264025"/>
              <a:gd name="connsiteX8" fmla="*/ 6893 w 9156700"/>
              <a:gd name="connsiteY8" fmla="*/ 9525 h 4264025"/>
              <a:gd name="connsiteX0" fmla="*/ 6893 w 9156700"/>
              <a:gd name="connsiteY0" fmla="*/ 9525 h 4264025"/>
              <a:gd name="connsiteX1" fmla="*/ 9156700 w 9156700"/>
              <a:gd name="connsiteY1" fmla="*/ 0 h 4264025"/>
              <a:gd name="connsiteX2" fmla="*/ 9156700 w 9156700"/>
              <a:gd name="connsiteY2" fmla="*/ 0 h 4264025"/>
              <a:gd name="connsiteX3" fmla="*/ 9156700 w 9156700"/>
              <a:gd name="connsiteY3" fmla="*/ 3923757 h 4264025"/>
              <a:gd name="connsiteX4" fmla="*/ 1342482 w 9156700"/>
              <a:gd name="connsiteY4" fmla="*/ 3921125 h 4264025"/>
              <a:gd name="connsiteX5" fmla="*/ 1190625 w 9156700"/>
              <a:gd name="connsiteY5" fmla="*/ 4264025 h 4264025"/>
              <a:gd name="connsiteX6" fmla="*/ 0 w 9156700"/>
              <a:gd name="connsiteY6" fmla="*/ 4257675 h 4264025"/>
              <a:gd name="connsiteX7" fmla="*/ 12700 w 9156700"/>
              <a:gd name="connsiteY7" fmla="*/ 708568 h 4264025"/>
              <a:gd name="connsiteX8" fmla="*/ 6893 w 9156700"/>
              <a:gd name="connsiteY8" fmla="*/ 9525 h 4264025"/>
              <a:gd name="connsiteX0" fmla="*/ 6893 w 9156700"/>
              <a:gd name="connsiteY0" fmla="*/ 9525 h 4283160"/>
              <a:gd name="connsiteX1" fmla="*/ 9156700 w 9156700"/>
              <a:gd name="connsiteY1" fmla="*/ 0 h 4283160"/>
              <a:gd name="connsiteX2" fmla="*/ 9156700 w 9156700"/>
              <a:gd name="connsiteY2" fmla="*/ 0 h 4283160"/>
              <a:gd name="connsiteX3" fmla="*/ 9156700 w 9156700"/>
              <a:gd name="connsiteY3" fmla="*/ 3923757 h 4283160"/>
              <a:gd name="connsiteX4" fmla="*/ 1342482 w 9156700"/>
              <a:gd name="connsiteY4" fmla="*/ 3921125 h 4283160"/>
              <a:gd name="connsiteX5" fmla="*/ 1203325 w 9156700"/>
              <a:gd name="connsiteY5" fmla="*/ 4283160 h 4283160"/>
              <a:gd name="connsiteX6" fmla="*/ 0 w 9156700"/>
              <a:gd name="connsiteY6" fmla="*/ 4257675 h 4283160"/>
              <a:gd name="connsiteX7" fmla="*/ 12700 w 9156700"/>
              <a:gd name="connsiteY7" fmla="*/ 708568 h 4283160"/>
              <a:gd name="connsiteX8" fmla="*/ 6893 w 9156700"/>
              <a:gd name="connsiteY8" fmla="*/ 9525 h 4283160"/>
              <a:gd name="connsiteX0" fmla="*/ 13243 w 9163050"/>
              <a:gd name="connsiteY0" fmla="*/ 9525 h 4295946"/>
              <a:gd name="connsiteX1" fmla="*/ 9163050 w 9163050"/>
              <a:gd name="connsiteY1" fmla="*/ 0 h 4295946"/>
              <a:gd name="connsiteX2" fmla="*/ 9163050 w 9163050"/>
              <a:gd name="connsiteY2" fmla="*/ 0 h 4295946"/>
              <a:gd name="connsiteX3" fmla="*/ 9163050 w 9163050"/>
              <a:gd name="connsiteY3" fmla="*/ 3923757 h 4295946"/>
              <a:gd name="connsiteX4" fmla="*/ 1348832 w 9163050"/>
              <a:gd name="connsiteY4" fmla="*/ 3921125 h 4295946"/>
              <a:gd name="connsiteX5" fmla="*/ 1209675 w 9163050"/>
              <a:gd name="connsiteY5" fmla="*/ 4283160 h 4295946"/>
              <a:gd name="connsiteX6" fmla="*/ 0 w 9163050"/>
              <a:gd name="connsiteY6" fmla="*/ 4295946 h 4295946"/>
              <a:gd name="connsiteX7" fmla="*/ 19050 w 9163050"/>
              <a:gd name="connsiteY7" fmla="*/ 708568 h 4295946"/>
              <a:gd name="connsiteX8" fmla="*/ 13243 w 9163050"/>
              <a:gd name="connsiteY8" fmla="*/ 9525 h 4295946"/>
              <a:gd name="connsiteX0" fmla="*/ 6893 w 9156700"/>
              <a:gd name="connsiteY0" fmla="*/ 9525 h 4283160"/>
              <a:gd name="connsiteX1" fmla="*/ 9156700 w 9156700"/>
              <a:gd name="connsiteY1" fmla="*/ 0 h 4283160"/>
              <a:gd name="connsiteX2" fmla="*/ 9156700 w 9156700"/>
              <a:gd name="connsiteY2" fmla="*/ 0 h 4283160"/>
              <a:gd name="connsiteX3" fmla="*/ 9156700 w 9156700"/>
              <a:gd name="connsiteY3" fmla="*/ 3923757 h 4283160"/>
              <a:gd name="connsiteX4" fmla="*/ 1342482 w 9156700"/>
              <a:gd name="connsiteY4" fmla="*/ 3921125 h 4283160"/>
              <a:gd name="connsiteX5" fmla="*/ 1203325 w 9156700"/>
              <a:gd name="connsiteY5" fmla="*/ 4283160 h 4283160"/>
              <a:gd name="connsiteX6" fmla="*/ 0 w 9156700"/>
              <a:gd name="connsiteY6" fmla="*/ 4276811 h 4283160"/>
              <a:gd name="connsiteX7" fmla="*/ 12700 w 9156700"/>
              <a:gd name="connsiteY7" fmla="*/ 708568 h 4283160"/>
              <a:gd name="connsiteX8" fmla="*/ 6893 w 9156700"/>
              <a:gd name="connsiteY8" fmla="*/ 9525 h 4283160"/>
              <a:gd name="connsiteX0" fmla="*/ 6893 w 9156700"/>
              <a:gd name="connsiteY0" fmla="*/ 9525 h 4283160"/>
              <a:gd name="connsiteX1" fmla="*/ 9156700 w 9156700"/>
              <a:gd name="connsiteY1" fmla="*/ 0 h 4283160"/>
              <a:gd name="connsiteX2" fmla="*/ 9156700 w 9156700"/>
              <a:gd name="connsiteY2" fmla="*/ 0 h 4283160"/>
              <a:gd name="connsiteX3" fmla="*/ 9156700 w 9156700"/>
              <a:gd name="connsiteY3" fmla="*/ 3923757 h 4283160"/>
              <a:gd name="connsiteX4" fmla="*/ 1342482 w 9156700"/>
              <a:gd name="connsiteY4" fmla="*/ 3921125 h 4283160"/>
              <a:gd name="connsiteX5" fmla="*/ 1203325 w 9156700"/>
              <a:gd name="connsiteY5" fmla="*/ 4283160 h 4283160"/>
              <a:gd name="connsiteX6" fmla="*/ 0 w 9156700"/>
              <a:gd name="connsiteY6" fmla="*/ 4276812 h 4283160"/>
              <a:gd name="connsiteX7" fmla="*/ 12700 w 9156700"/>
              <a:gd name="connsiteY7" fmla="*/ 708568 h 4283160"/>
              <a:gd name="connsiteX8" fmla="*/ 6893 w 9156700"/>
              <a:gd name="connsiteY8" fmla="*/ 9525 h 4283160"/>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21125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21125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30693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40261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40261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40261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59604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6812"/>
              <a:gd name="connsiteX1" fmla="*/ 9156700 w 9156700"/>
              <a:gd name="connsiteY1" fmla="*/ 0 h 4276812"/>
              <a:gd name="connsiteX2" fmla="*/ 9156700 w 9156700"/>
              <a:gd name="connsiteY2" fmla="*/ 0 h 4276812"/>
              <a:gd name="connsiteX3" fmla="*/ 9156700 w 9156700"/>
              <a:gd name="connsiteY3" fmla="*/ 3923757 h 4276812"/>
              <a:gd name="connsiteX4" fmla="*/ 1342482 w 9156700"/>
              <a:gd name="connsiteY4" fmla="*/ 3959604 h 4276812"/>
              <a:gd name="connsiteX5" fmla="*/ 1203325 w 9156700"/>
              <a:gd name="connsiteY5" fmla="*/ 4267882 h 4276812"/>
              <a:gd name="connsiteX6" fmla="*/ 0 w 9156700"/>
              <a:gd name="connsiteY6" fmla="*/ 4276812 h 4276812"/>
              <a:gd name="connsiteX7" fmla="*/ 12700 w 9156700"/>
              <a:gd name="connsiteY7" fmla="*/ 708568 h 4276812"/>
              <a:gd name="connsiteX8" fmla="*/ 6893 w 9156700"/>
              <a:gd name="connsiteY8" fmla="*/ 9525 h 427681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23757 h 4267882"/>
              <a:gd name="connsiteX4" fmla="*/ 1335658 w 9149876"/>
              <a:gd name="connsiteY4" fmla="*/ 3959604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23757 h 4267882"/>
              <a:gd name="connsiteX4" fmla="*/ 1335658 w 9149876"/>
              <a:gd name="connsiteY4" fmla="*/ 3959604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5658 w 9149876"/>
              <a:gd name="connsiteY4" fmla="*/ 3959604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5658 w 9149876"/>
              <a:gd name="connsiteY4" fmla="*/ 3959604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8039 w 9149876"/>
              <a:gd name="connsiteY4" fmla="*/ 3969276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8039 w 9149876"/>
              <a:gd name="connsiteY4" fmla="*/ 3954857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8039 w 9149876"/>
              <a:gd name="connsiteY4" fmla="*/ 3954857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8039 w 9149876"/>
              <a:gd name="connsiteY4" fmla="*/ 3954857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8039 w 9149876"/>
              <a:gd name="connsiteY4" fmla="*/ 3954857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54641"/>
              <a:gd name="connsiteY0" fmla="*/ 9525 h 4267882"/>
              <a:gd name="connsiteX1" fmla="*/ 9149876 w 9154641"/>
              <a:gd name="connsiteY1" fmla="*/ 0 h 4267882"/>
              <a:gd name="connsiteX2" fmla="*/ 9149876 w 9154641"/>
              <a:gd name="connsiteY2" fmla="*/ 0 h 4267882"/>
              <a:gd name="connsiteX3" fmla="*/ 9154641 w 9154641"/>
              <a:gd name="connsiteY3" fmla="*/ 3952802 h 4267882"/>
              <a:gd name="connsiteX4" fmla="*/ 1338039 w 9154641"/>
              <a:gd name="connsiteY4" fmla="*/ 3954857 h 4267882"/>
              <a:gd name="connsiteX5" fmla="*/ 1196501 w 9154641"/>
              <a:gd name="connsiteY5" fmla="*/ 4267882 h 4267882"/>
              <a:gd name="connsiteX6" fmla="*/ 2701 w 9154641"/>
              <a:gd name="connsiteY6" fmla="*/ 4264722 h 4267882"/>
              <a:gd name="connsiteX7" fmla="*/ 5876 w 9154641"/>
              <a:gd name="connsiteY7" fmla="*/ 708568 h 4267882"/>
              <a:gd name="connsiteX8" fmla="*/ 69 w 9154641"/>
              <a:gd name="connsiteY8" fmla="*/ 9525 h 4267882"/>
              <a:gd name="connsiteX0" fmla="*/ 69 w 9154641"/>
              <a:gd name="connsiteY0" fmla="*/ 0 h 4277584"/>
              <a:gd name="connsiteX1" fmla="*/ 9149876 w 9154641"/>
              <a:gd name="connsiteY1" fmla="*/ 9702 h 4277584"/>
              <a:gd name="connsiteX2" fmla="*/ 9149876 w 9154641"/>
              <a:gd name="connsiteY2" fmla="*/ 9702 h 4277584"/>
              <a:gd name="connsiteX3" fmla="*/ 9154641 w 9154641"/>
              <a:gd name="connsiteY3" fmla="*/ 3962504 h 4277584"/>
              <a:gd name="connsiteX4" fmla="*/ 1338039 w 9154641"/>
              <a:gd name="connsiteY4" fmla="*/ 3964559 h 4277584"/>
              <a:gd name="connsiteX5" fmla="*/ 1196501 w 9154641"/>
              <a:gd name="connsiteY5" fmla="*/ 4277584 h 4277584"/>
              <a:gd name="connsiteX6" fmla="*/ 2701 w 9154641"/>
              <a:gd name="connsiteY6" fmla="*/ 4274424 h 4277584"/>
              <a:gd name="connsiteX7" fmla="*/ 5876 w 9154641"/>
              <a:gd name="connsiteY7" fmla="*/ 718270 h 4277584"/>
              <a:gd name="connsiteX8" fmla="*/ 69 w 9154641"/>
              <a:gd name="connsiteY8" fmla="*/ 0 h 4277584"/>
              <a:gd name="connsiteX0" fmla="*/ 69 w 9154641"/>
              <a:gd name="connsiteY0" fmla="*/ 0 h 4277584"/>
              <a:gd name="connsiteX1" fmla="*/ 9149876 w 9154641"/>
              <a:gd name="connsiteY1" fmla="*/ 9702 h 4277584"/>
              <a:gd name="connsiteX2" fmla="*/ 9149876 w 9154641"/>
              <a:gd name="connsiteY2" fmla="*/ 89 h 4277584"/>
              <a:gd name="connsiteX3" fmla="*/ 9154641 w 9154641"/>
              <a:gd name="connsiteY3" fmla="*/ 3962504 h 4277584"/>
              <a:gd name="connsiteX4" fmla="*/ 1338039 w 9154641"/>
              <a:gd name="connsiteY4" fmla="*/ 3964559 h 4277584"/>
              <a:gd name="connsiteX5" fmla="*/ 1196501 w 9154641"/>
              <a:gd name="connsiteY5" fmla="*/ 4277584 h 4277584"/>
              <a:gd name="connsiteX6" fmla="*/ 2701 w 9154641"/>
              <a:gd name="connsiteY6" fmla="*/ 4274424 h 4277584"/>
              <a:gd name="connsiteX7" fmla="*/ 5876 w 9154641"/>
              <a:gd name="connsiteY7" fmla="*/ 718270 h 4277584"/>
              <a:gd name="connsiteX8" fmla="*/ 69 w 9154641"/>
              <a:gd name="connsiteY8" fmla="*/ 0 h 4277584"/>
              <a:gd name="connsiteX0" fmla="*/ 69 w 9154641"/>
              <a:gd name="connsiteY0" fmla="*/ 0 h 4277584"/>
              <a:gd name="connsiteX1" fmla="*/ 9149876 w 9154641"/>
              <a:gd name="connsiteY1" fmla="*/ 9702 h 4277584"/>
              <a:gd name="connsiteX2" fmla="*/ 9149876 w 9154641"/>
              <a:gd name="connsiteY2" fmla="*/ 89 h 4277584"/>
              <a:gd name="connsiteX3" fmla="*/ 9154641 w 9154641"/>
              <a:gd name="connsiteY3" fmla="*/ 3962504 h 4277584"/>
              <a:gd name="connsiteX4" fmla="*/ 1338039 w 9154641"/>
              <a:gd name="connsiteY4" fmla="*/ 3964559 h 4277584"/>
              <a:gd name="connsiteX5" fmla="*/ 1196501 w 9154641"/>
              <a:gd name="connsiteY5" fmla="*/ 4277584 h 4277584"/>
              <a:gd name="connsiteX6" fmla="*/ 2701 w 9154641"/>
              <a:gd name="connsiteY6" fmla="*/ 4274424 h 4277584"/>
              <a:gd name="connsiteX7" fmla="*/ 5876 w 9154641"/>
              <a:gd name="connsiteY7" fmla="*/ 718270 h 4277584"/>
              <a:gd name="connsiteX8" fmla="*/ 69 w 9154641"/>
              <a:gd name="connsiteY8" fmla="*/ 0 h 4277584"/>
              <a:gd name="connsiteX0" fmla="*/ 69 w 9154641"/>
              <a:gd name="connsiteY0" fmla="*/ 0 h 4277584"/>
              <a:gd name="connsiteX1" fmla="*/ 9149876 w 9154641"/>
              <a:gd name="connsiteY1" fmla="*/ 9702 h 4277584"/>
              <a:gd name="connsiteX2" fmla="*/ 9149876 w 9154641"/>
              <a:gd name="connsiteY2" fmla="*/ 89 h 4277584"/>
              <a:gd name="connsiteX3" fmla="*/ 9154641 w 9154641"/>
              <a:gd name="connsiteY3" fmla="*/ 3962504 h 4277584"/>
              <a:gd name="connsiteX4" fmla="*/ 1350697 w 9154641"/>
              <a:gd name="connsiteY4" fmla="*/ 3951741 h 4277584"/>
              <a:gd name="connsiteX5" fmla="*/ 1196501 w 9154641"/>
              <a:gd name="connsiteY5" fmla="*/ 4277584 h 4277584"/>
              <a:gd name="connsiteX6" fmla="*/ 2701 w 9154641"/>
              <a:gd name="connsiteY6" fmla="*/ 4274424 h 4277584"/>
              <a:gd name="connsiteX7" fmla="*/ 5876 w 9154641"/>
              <a:gd name="connsiteY7" fmla="*/ 718270 h 4277584"/>
              <a:gd name="connsiteX8" fmla="*/ 69 w 9154641"/>
              <a:gd name="connsiteY8" fmla="*/ 0 h 4277584"/>
              <a:gd name="connsiteX0" fmla="*/ 69 w 9154641"/>
              <a:gd name="connsiteY0" fmla="*/ 0 h 4277584"/>
              <a:gd name="connsiteX1" fmla="*/ 9149876 w 9154641"/>
              <a:gd name="connsiteY1" fmla="*/ 9702 h 4277584"/>
              <a:gd name="connsiteX2" fmla="*/ 9149876 w 9154641"/>
              <a:gd name="connsiteY2" fmla="*/ 89 h 4277584"/>
              <a:gd name="connsiteX3" fmla="*/ 9154641 w 9154641"/>
              <a:gd name="connsiteY3" fmla="*/ 3962504 h 4277584"/>
              <a:gd name="connsiteX4" fmla="*/ 1350697 w 9154641"/>
              <a:gd name="connsiteY4" fmla="*/ 3951741 h 4277584"/>
              <a:gd name="connsiteX5" fmla="*/ 1196501 w 9154641"/>
              <a:gd name="connsiteY5" fmla="*/ 4277584 h 4277584"/>
              <a:gd name="connsiteX6" fmla="*/ 2701 w 9154641"/>
              <a:gd name="connsiteY6" fmla="*/ 4274424 h 4277584"/>
              <a:gd name="connsiteX7" fmla="*/ 5876 w 9154641"/>
              <a:gd name="connsiteY7" fmla="*/ 718270 h 4277584"/>
              <a:gd name="connsiteX8" fmla="*/ 69 w 9154641"/>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52890 h 4277584"/>
              <a:gd name="connsiteX4" fmla="*/ 1350697 w 9150032"/>
              <a:gd name="connsiteY4" fmla="*/ 3951741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52890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52890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0600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41204 w 9150032"/>
              <a:gd name="connsiteY4" fmla="*/ 3965431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41204 w 9150032"/>
              <a:gd name="connsiteY4" fmla="*/ 3967847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3015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5431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3015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3015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3015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3015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4357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4357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4357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4357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4357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4357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3645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3645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3645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3645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3645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26964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26964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26964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19844 w 9150032"/>
              <a:gd name="connsiteY4" fmla="*/ 3967847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26965 w 9150032"/>
              <a:gd name="connsiteY4" fmla="*/ 3960599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3115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9257"/>
              <a:gd name="connsiteX1" fmla="*/ 9149876 w 9150032"/>
              <a:gd name="connsiteY1" fmla="*/ 9702 h 4279257"/>
              <a:gd name="connsiteX2" fmla="*/ 9149876 w 9150032"/>
              <a:gd name="connsiteY2" fmla="*/ 89 h 4279257"/>
              <a:gd name="connsiteX3" fmla="*/ 9141983 w 9150032"/>
              <a:gd name="connsiteY3" fmla="*/ 3960138 h 4279257"/>
              <a:gd name="connsiteX4" fmla="*/ 1326965 w 9150032"/>
              <a:gd name="connsiteY4" fmla="*/ 3960599 h 4279257"/>
              <a:gd name="connsiteX5" fmla="*/ 1213115 w 9150032"/>
              <a:gd name="connsiteY5" fmla="*/ 4275168 h 4279257"/>
              <a:gd name="connsiteX6" fmla="*/ 2701 w 9150032"/>
              <a:gd name="connsiteY6" fmla="*/ 4279257 h 4279257"/>
              <a:gd name="connsiteX7" fmla="*/ 5876 w 9150032"/>
              <a:gd name="connsiteY7" fmla="*/ 718270 h 4279257"/>
              <a:gd name="connsiteX8" fmla="*/ 69 w 9150032"/>
              <a:gd name="connsiteY8" fmla="*/ 0 h 4279257"/>
              <a:gd name="connsiteX0" fmla="*/ 69 w 9150032"/>
              <a:gd name="connsiteY0" fmla="*/ 0 h 4282416"/>
              <a:gd name="connsiteX1" fmla="*/ 9149876 w 9150032"/>
              <a:gd name="connsiteY1" fmla="*/ 9702 h 4282416"/>
              <a:gd name="connsiteX2" fmla="*/ 9149876 w 9150032"/>
              <a:gd name="connsiteY2" fmla="*/ 89 h 4282416"/>
              <a:gd name="connsiteX3" fmla="*/ 9141983 w 9150032"/>
              <a:gd name="connsiteY3" fmla="*/ 3960138 h 4282416"/>
              <a:gd name="connsiteX4" fmla="*/ 1326965 w 9150032"/>
              <a:gd name="connsiteY4" fmla="*/ 3960599 h 4282416"/>
              <a:gd name="connsiteX5" fmla="*/ 1210742 w 9150032"/>
              <a:gd name="connsiteY5" fmla="*/ 4282416 h 4282416"/>
              <a:gd name="connsiteX6" fmla="*/ 2701 w 9150032"/>
              <a:gd name="connsiteY6" fmla="*/ 4279257 h 4282416"/>
              <a:gd name="connsiteX7" fmla="*/ 5876 w 9150032"/>
              <a:gd name="connsiteY7" fmla="*/ 718270 h 4282416"/>
              <a:gd name="connsiteX8" fmla="*/ 69 w 9150032"/>
              <a:gd name="connsiteY8" fmla="*/ 0 h 4282416"/>
              <a:gd name="connsiteX0" fmla="*/ 69 w 9150032"/>
              <a:gd name="connsiteY0" fmla="*/ 0 h 4282416"/>
              <a:gd name="connsiteX1" fmla="*/ 9149876 w 9150032"/>
              <a:gd name="connsiteY1" fmla="*/ 9702 h 4282416"/>
              <a:gd name="connsiteX2" fmla="*/ 9149876 w 9150032"/>
              <a:gd name="connsiteY2" fmla="*/ 89 h 4282416"/>
              <a:gd name="connsiteX3" fmla="*/ 9141983 w 9150032"/>
              <a:gd name="connsiteY3" fmla="*/ 3960138 h 4282416"/>
              <a:gd name="connsiteX4" fmla="*/ 1326965 w 9150032"/>
              <a:gd name="connsiteY4" fmla="*/ 3960599 h 4282416"/>
              <a:gd name="connsiteX5" fmla="*/ 1210742 w 9150032"/>
              <a:gd name="connsiteY5" fmla="*/ 4282416 h 4282416"/>
              <a:gd name="connsiteX6" fmla="*/ 2701 w 9150032"/>
              <a:gd name="connsiteY6" fmla="*/ 4279257 h 4282416"/>
              <a:gd name="connsiteX7" fmla="*/ 5876 w 9150032"/>
              <a:gd name="connsiteY7" fmla="*/ 718270 h 4282416"/>
              <a:gd name="connsiteX8" fmla="*/ 69 w 9150032"/>
              <a:gd name="connsiteY8" fmla="*/ 0 h 4282416"/>
              <a:gd name="connsiteX0" fmla="*/ 69 w 9150032"/>
              <a:gd name="connsiteY0" fmla="*/ 0 h 4279257"/>
              <a:gd name="connsiteX1" fmla="*/ 9149876 w 9150032"/>
              <a:gd name="connsiteY1" fmla="*/ 9702 h 4279257"/>
              <a:gd name="connsiteX2" fmla="*/ 9149876 w 9150032"/>
              <a:gd name="connsiteY2" fmla="*/ 89 h 4279257"/>
              <a:gd name="connsiteX3" fmla="*/ 9141983 w 9150032"/>
              <a:gd name="connsiteY3" fmla="*/ 3960138 h 4279257"/>
              <a:gd name="connsiteX4" fmla="*/ 1326965 w 9150032"/>
              <a:gd name="connsiteY4" fmla="*/ 3960599 h 4279257"/>
              <a:gd name="connsiteX5" fmla="*/ 1210742 w 9150032"/>
              <a:gd name="connsiteY5" fmla="*/ 4277583 h 4279257"/>
              <a:gd name="connsiteX6" fmla="*/ 2701 w 9150032"/>
              <a:gd name="connsiteY6" fmla="*/ 4279257 h 4279257"/>
              <a:gd name="connsiteX7" fmla="*/ 5876 w 9150032"/>
              <a:gd name="connsiteY7" fmla="*/ 718270 h 4279257"/>
              <a:gd name="connsiteX8" fmla="*/ 69 w 9150032"/>
              <a:gd name="connsiteY8" fmla="*/ 0 h 4279257"/>
              <a:gd name="connsiteX0" fmla="*/ 69 w 9150032"/>
              <a:gd name="connsiteY0" fmla="*/ 0 h 4284831"/>
              <a:gd name="connsiteX1" fmla="*/ 9149876 w 9150032"/>
              <a:gd name="connsiteY1" fmla="*/ 9702 h 4284831"/>
              <a:gd name="connsiteX2" fmla="*/ 9149876 w 9150032"/>
              <a:gd name="connsiteY2" fmla="*/ 89 h 4284831"/>
              <a:gd name="connsiteX3" fmla="*/ 9141983 w 9150032"/>
              <a:gd name="connsiteY3" fmla="*/ 3960138 h 4284831"/>
              <a:gd name="connsiteX4" fmla="*/ 1326965 w 9150032"/>
              <a:gd name="connsiteY4" fmla="*/ 3960599 h 4284831"/>
              <a:gd name="connsiteX5" fmla="*/ 1210742 w 9150032"/>
              <a:gd name="connsiteY5" fmla="*/ 4284831 h 4284831"/>
              <a:gd name="connsiteX6" fmla="*/ 2701 w 9150032"/>
              <a:gd name="connsiteY6" fmla="*/ 4279257 h 4284831"/>
              <a:gd name="connsiteX7" fmla="*/ 5876 w 9150032"/>
              <a:gd name="connsiteY7" fmla="*/ 718270 h 4284831"/>
              <a:gd name="connsiteX8" fmla="*/ 69 w 9150032"/>
              <a:gd name="connsiteY8" fmla="*/ 0 h 4284831"/>
              <a:gd name="connsiteX0" fmla="*/ 69 w 9150032"/>
              <a:gd name="connsiteY0" fmla="*/ 0 h 4279257"/>
              <a:gd name="connsiteX1" fmla="*/ 9149876 w 9150032"/>
              <a:gd name="connsiteY1" fmla="*/ 9702 h 4279257"/>
              <a:gd name="connsiteX2" fmla="*/ 9149876 w 9150032"/>
              <a:gd name="connsiteY2" fmla="*/ 89 h 4279257"/>
              <a:gd name="connsiteX3" fmla="*/ 9141983 w 9150032"/>
              <a:gd name="connsiteY3" fmla="*/ 3960138 h 4279257"/>
              <a:gd name="connsiteX4" fmla="*/ 1326965 w 9150032"/>
              <a:gd name="connsiteY4" fmla="*/ 3960599 h 4279257"/>
              <a:gd name="connsiteX5" fmla="*/ 1210742 w 9150032"/>
              <a:gd name="connsiteY5" fmla="*/ 4277583 h 4279257"/>
              <a:gd name="connsiteX6" fmla="*/ 2701 w 9150032"/>
              <a:gd name="connsiteY6" fmla="*/ 4279257 h 4279257"/>
              <a:gd name="connsiteX7" fmla="*/ 5876 w 9150032"/>
              <a:gd name="connsiteY7" fmla="*/ 718270 h 4279257"/>
              <a:gd name="connsiteX8" fmla="*/ 69 w 9150032"/>
              <a:gd name="connsiteY8" fmla="*/ 0 h 4279257"/>
              <a:gd name="connsiteX0" fmla="*/ 69 w 9150032"/>
              <a:gd name="connsiteY0" fmla="*/ 0 h 4282416"/>
              <a:gd name="connsiteX1" fmla="*/ 9149876 w 9150032"/>
              <a:gd name="connsiteY1" fmla="*/ 9702 h 4282416"/>
              <a:gd name="connsiteX2" fmla="*/ 9149876 w 9150032"/>
              <a:gd name="connsiteY2" fmla="*/ 89 h 4282416"/>
              <a:gd name="connsiteX3" fmla="*/ 9141983 w 9150032"/>
              <a:gd name="connsiteY3" fmla="*/ 3960138 h 4282416"/>
              <a:gd name="connsiteX4" fmla="*/ 1326965 w 9150032"/>
              <a:gd name="connsiteY4" fmla="*/ 3960599 h 4282416"/>
              <a:gd name="connsiteX5" fmla="*/ 1213116 w 9150032"/>
              <a:gd name="connsiteY5" fmla="*/ 4282416 h 4282416"/>
              <a:gd name="connsiteX6" fmla="*/ 2701 w 9150032"/>
              <a:gd name="connsiteY6" fmla="*/ 4279257 h 4282416"/>
              <a:gd name="connsiteX7" fmla="*/ 5876 w 9150032"/>
              <a:gd name="connsiteY7" fmla="*/ 718270 h 4282416"/>
              <a:gd name="connsiteX8" fmla="*/ 69 w 9150032"/>
              <a:gd name="connsiteY8" fmla="*/ 0 h 4282416"/>
              <a:gd name="connsiteX0" fmla="*/ 69 w 9150032"/>
              <a:gd name="connsiteY0" fmla="*/ 0 h 4284089"/>
              <a:gd name="connsiteX1" fmla="*/ 9149876 w 9150032"/>
              <a:gd name="connsiteY1" fmla="*/ 9702 h 4284089"/>
              <a:gd name="connsiteX2" fmla="*/ 9149876 w 9150032"/>
              <a:gd name="connsiteY2" fmla="*/ 89 h 4284089"/>
              <a:gd name="connsiteX3" fmla="*/ 9141983 w 9150032"/>
              <a:gd name="connsiteY3" fmla="*/ 3960138 h 4284089"/>
              <a:gd name="connsiteX4" fmla="*/ 1326965 w 9150032"/>
              <a:gd name="connsiteY4" fmla="*/ 3960599 h 4284089"/>
              <a:gd name="connsiteX5" fmla="*/ 1213116 w 9150032"/>
              <a:gd name="connsiteY5" fmla="*/ 4282416 h 4284089"/>
              <a:gd name="connsiteX6" fmla="*/ 2701 w 9150032"/>
              <a:gd name="connsiteY6" fmla="*/ 4284089 h 4284089"/>
              <a:gd name="connsiteX7" fmla="*/ 5876 w 9150032"/>
              <a:gd name="connsiteY7" fmla="*/ 718270 h 4284089"/>
              <a:gd name="connsiteX8" fmla="*/ 69 w 9150032"/>
              <a:gd name="connsiteY8" fmla="*/ 0 h 4284089"/>
              <a:gd name="connsiteX0" fmla="*/ 69 w 9150032"/>
              <a:gd name="connsiteY0" fmla="*/ 0 h 4282416"/>
              <a:gd name="connsiteX1" fmla="*/ 9149876 w 9150032"/>
              <a:gd name="connsiteY1" fmla="*/ 9702 h 4282416"/>
              <a:gd name="connsiteX2" fmla="*/ 9149876 w 9150032"/>
              <a:gd name="connsiteY2" fmla="*/ 89 h 4282416"/>
              <a:gd name="connsiteX3" fmla="*/ 9141983 w 9150032"/>
              <a:gd name="connsiteY3" fmla="*/ 3960138 h 4282416"/>
              <a:gd name="connsiteX4" fmla="*/ 1326965 w 9150032"/>
              <a:gd name="connsiteY4" fmla="*/ 3960599 h 4282416"/>
              <a:gd name="connsiteX5" fmla="*/ 1213116 w 9150032"/>
              <a:gd name="connsiteY5" fmla="*/ 4282416 h 4282416"/>
              <a:gd name="connsiteX6" fmla="*/ 5075 w 9150032"/>
              <a:gd name="connsiteY6" fmla="*/ 4281672 h 4282416"/>
              <a:gd name="connsiteX7" fmla="*/ 5876 w 9150032"/>
              <a:gd name="connsiteY7" fmla="*/ 718270 h 4282416"/>
              <a:gd name="connsiteX8" fmla="*/ 69 w 9150032"/>
              <a:gd name="connsiteY8" fmla="*/ 0 h 4282416"/>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6965 w 9150032"/>
              <a:gd name="connsiteY4" fmla="*/ 3960599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31713 w 9150032"/>
              <a:gd name="connsiteY4" fmla="*/ 3960599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31713 w 9150032"/>
              <a:gd name="connsiteY4" fmla="*/ 3960599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2219 w 9150032"/>
              <a:gd name="connsiteY4" fmla="*/ 3970263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9340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9340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9340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9340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9340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9340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6967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26967 w 9150006"/>
              <a:gd name="connsiteY4" fmla="*/ 3965430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26967 w 9150006"/>
              <a:gd name="connsiteY4" fmla="*/ 3965430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26967 w 9150006"/>
              <a:gd name="connsiteY4" fmla="*/ 3965430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26967 w 9150006"/>
              <a:gd name="connsiteY4" fmla="*/ 3965430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31714 w 9150006"/>
              <a:gd name="connsiteY4" fmla="*/ 3963015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05053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05053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05053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05053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70986 w 9150006"/>
              <a:gd name="connsiteY5" fmla="*/ 4017134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70986 w 9150006"/>
              <a:gd name="connsiteY5" fmla="*/ 4007470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6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6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6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6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75733 w 9150006"/>
              <a:gd name="connsiteY5" fmla="*/ 4005054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73360 w 9150006"/>
              <a:gd name="connsiteY5" fmla="*/ 4002638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70987 w 9150006"/>
              <a:gd name="connsiteY5" fmla="*/ 4009885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70987 w 9150006"/>
              <a:gd name="connsiteY5" fmla="*/ 4009885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5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5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5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806 w 9152201"/>
              <a:gd name="connsiteY0" fmla="*/ 0 h 4280000"/>
              <a:gd name="connsiteX1" fmla="*/ 9150613 w 9152201"/>
              <a:gd name="connsiteY1" fmla="*/ 9702 h 4280000"/>
              <a:gd name="connsiteX2" fmla="*/ 9150613 w 9152201"/>
              <a:gd name="connsiteY2" fmla="*/ 89 h 4280000"/>
              <a:gd name="connsiteX3" fmla="*/ 9140347 w 9152201"/>
              <a:gd name="connsiteY3" fmla="*/ 3967387 h 4280000"/>
              <a:gd name="connsiteX4" fmla="*/ 1344317 w 9152201"/>
              <a:gd name="connsiteY4" fmla="*/ 3963016 h 4280000"/>
              <a:gd name="connsiteX5" fmla="*/ 1269350 w 9152201"/>
              <a:gd name="connsiteY5" fmla="*/ 4009885 h 4280000"/>
              <a:gd name="connsiteX6" fmla="*/ 1262230 w 9152201"/>
              <a:gd name="connsiteY6" fmla="*/ 4220084 h 4280000"/>
              <a:gd name="connsiteX7" fmla="*/ 1213854 w 9152201"/>
              <a:gd name="connsiteY7" fmla="*/ 4280000 h 4280000"/>
              <a:gd name="connsiteX8" fmla="*/ 4376 w 9152201"/>
              <a:gd name="connsiteY8" fmla="*/ 4265541 h 4280000"/>
              <a:gd name="connsiteX9" fmla="*/ 6613 w 9152201"/>
              <a:gd name="connsiteY9" fmla="*/ 718270 h 4280000"/>
              <a:gd name="connsiteX10" fmla="*/ 806 w 9152201"/>
              <a:gd name="connsiteY10" fmla="*/ 0 h 4280000"/>
              <a:gd name="connsiteX0" fmla="*/ 806 w 9152201"/>
              <a:gd name="connsiteY0" fmla="*/ 0 h 4280000"/>
              <a:gd name="connsiteX1" fmla="*/ 9150613 w 9152201"/>
              <a:gd name="connsiteY1" fmla="*/ 9702 h 4280000"/>
              <a:gd name="connsiteX2" fmla="*/ 9150613 w 9152201"/>
              <a:gd name="connsiteY2" fmla="*/ 89 h 4280000"/>
              <a:gd name="connsiteX3" fmla="*/ 9140347 w 9152201"/>
              <a:gd name="connsiteY3" fmla="*/ 3967387 h 4280000"/>
              <a:gd name="connsiteX4" fmla="*/ 1344317 w 9152201"/>
              <a:gd name="connsiteY4" fmla="*/ 3963016 h 4280000"/>
              <a:gd name="connsiteX5" fmla="*/ 1269350 w 9152201"/>
              <a:gd name="connsiteY5" fmla="*/ 4009885 h 4280000"/>
              <a:gd name="connsiteX6" fmla="*/ 1262230 w 9152201"/>
              <a:gd name="connsiteY6" fmla="*/ 4220084 h 4280000"/>
              <a:gd name="connsiteX7" fmla="*/ 1196100 w 9152201"/>
              <a:gd name="connsiteY7" fmla="*/ 4280000 h 4280000"/>
              <a:gd name="connsiteX8" fmla="*/ 4376 w 9152201"/>
              <a:gd name="connsiteY8" fmla="*/ 4265541 h 4280000"/>
              <a:gd name="connsiteX9" fmla="*/ 6613 w 9152201"/>
              <a:gd name="connsiteY9" fmla="*/ 718270 h 4280000"/>
              <a:gd name="connsiteX10" fmla="*/ 806 w 9152201"/>
              <a:gd name="connsiteY10" fmla="*/ 0 h 4280000"/>
              <a:gd name="connsiteX0" fmla="*/ 806 w 9152201"/>
              <a:gd name="connsiteY0" fmla="*/ 0 h 4265541"/>
              <a:gd name="connsiteX1" fmla="*/ 9150613 w 9152201"/>
              <a:gd name="connsiteY1" fmla="*/ 9702 h 4265541"/>
              <a:gd name="connsiteX2" fmla="*/ 9150613 w 9152201"/>
              <a:gd name="connsiteY2" fmla="*/ 89 h 4265541"/>
              <a:gd name="connsiteX3" fmla="*/ 9140347 w 9152201"/>
              <a:gd name="connsiteY3" fmla="*/ 3967387 h 4265541"/>
              <a:gd name="connsiteX4" fmla="*/ 1344317 w 9152201"/>
              <a:gd name="connsiteY4" fmla="*/ 3963016 h 4265541"/>
              <a:gd name="connsiteX5" fmla="*/ 1269350 w 9152201"/>
              <a:gd name="connsiteY5" fmla="*/ 4009885 h 4265541"/>
              <a:gd name="connsiteX6" fmla="*/ 1262230 w 9152201"/>
              <a:gd name="connsiteY6" fmla="*/ 4220084 h 4265541"/>
              <a:gd name="connsiteX7" fmla="*/ 1196100 w 9152201"/>
              <a:gd name="connsiteY7" fmla="*/ 4258492 h 4265541"/>
              <a:gd name="connsiteX8" fmla="*/ 4376 w 9152201"/>
              <a:gd name="connsiteY8" fmla="*/ 4265541 h 4265541"/>
              <a:gd name="connsiteX9" fmla="*/ 6613 w 9152201"/>
              <a:gd name="connsiteY9" fmla="*/ 718270 h 4265541"/>
              <a:gd name="connsiteX10" fmla="*/ 806 w 9152201"/>
              <a:gd name="connsiteY10" fmla="*/ 0 h 4265541"/>
              <a:gd name="connsiteX0" fmla="*/ 806 w 9152201"/>
              <a:gd name="connsiteY0" fmla="*/ 0 h 4268653"/>
              <a:gd name="connsiteX1" fmla="*/ 9150613 w 9152201"/>
              <a:gd name="connsiteY1" fmla="*/ 9702 h 4268653"/>
              <a:gd name="connsiteX2" fmla="*/ 9150613 w 9152201"/>
              <a:gd name="connsiteY2" fmla="*/ 89 h 4268653"/>
              <a:gd name="connsiteX3" fmla="*/ 9140347 w 9152201"/>
              <a:gd name="connsiteY3" fmla="*/ 3967387 h 4268653"/>
              <a:gd name="connsiteX4" fmla="*/ 1344317 w 9152201"/>
              <a:gd name="connsiteY4" fmla="*/ 3963016 h 4268653"/>
              <a:gd name="connsiteX5" fmla="*/ 1269350 w 9152201"/>
              <a:gd name="connsiteY5" fmla="*/ 4009885 h 4268653"/>
              <a:gd name="connsiteX6" fmla="*/ 1262230 w 9152201"/>
              <a:gd name="connsiteY6" fmla="*/ 4220084 h 4268653"/>
              <a:gd name="connsiteX7" fmla="*/ 1173736 w 9152201"/>
              <a:gd name="connsiteY7" fmla="*/ 4268653 h 4268653"/>
              <a:gd name="connsiteX8" fmla="*/ 4376 w 9152201"/>
              <a:gd name="connsiteY8" fmla="*/ 4265541 h 4268653"/>
              <a:gd name="connsiteX9" fmla="*/ 6613 w 9152201"/>
              <a:gd name="connsiteY9" fmla="*/ 718270 h 4268653"/>
              <a:gd name="connsiteX10" fmla="*/ 806 w 9152201"/>
              <a:gd name="connsiteY10" fmla="*/ 0 h 4268653"/>
              <a:gd name="connsiteX0" fmla="*/ 806 w 9152201"/>
              <a:gd name="connsiteY0" fmla="*/ 0 h 4275580"/>
              <a:gd name="connsiteX1" fmla="*/ 9150613 w 9152201"/>
              <a:gd name="connsiteY1" fmla="*/ 9702 h 4275580"/>
              <a:gd name="connsiteX2" fmla="*/ 9150613 w 9152201"/>
              <a:gd name="connsiteY2" fmla="*/ 89 h 4275580"/>
              <a:gd name="connsiteX3" fmla="*/ 9140347 w 9152201"/>
              <a:gd name="connsiteY3" fmla="*/ 3967387 h 4275580"/>
              <a:gd name="connsiteX4" fmla="*/ 1344317 w 9152201"/>
              <a:gd name="connsiteY4" fmla="*/ 3963016 h 4275580"/>
              <a:gd name="connsiteX5" fmla="*/ 1269350 w 9152201"/>
              <a:gd name="connsiteY5" fmla="*/ 4009885 h 4275580"/>
              <a:gd name="connsiteX6" fmla="*/ 1262230 w 9152201"/>
              <a:gd name="connsiteY6" fmla="*/ 4220084 h 4275580"/>
              <a:gd name="connsiteX7" fmla="*/ 1173736 w 9152201"/>
              <a:gd name="connsiteY7" fmla="*/ 4268653 h 4275580"/>
              <a:gd name="connsiteX8" fmla="*/ 4376 w 9152201"/>
              <a:gd name="connsiteY8" fmla="*/ 4265541 h 4275580"/>
              <a:gd name="connsiteX9" fmla="*/ 6613 w 9152201"/>
              <a:gd name="connsiteY9" fmla="*/ 718270 h 4275580"/>
              <a:gd name="connsiteX10" fmla="*/ 806 w 9152201"/>
              <a:gd name="connsiteY10" fmla="*/ 0 h 4275580"/>
              <a:gd name="connsiteX0" fmla="*/ 806 w 9152201"/>
              <a:gd name="connsiteY0" fmla="*/ 0 h 4268653"/>
              <a:gd name="connsiteX1" fmla="*/ 9150613 w 9152201"/>
              <a:gd name="connsiteY1" fmla="*/ 9702 h 4268653"/>
              <a:gd name="connsiteX2" fmla="*/ 9150613 w 9152201"/>
              <a:gd name="connsiteY2" fmla="*/ 89 h 4268653"/>
              <a:gd name="connsiteX3" fmla="*/ 9140347 w 9152201"/>
              <a:gd name="connsiteY3" fmla="*/ 3967387 h 4268653"/>
              <a:gd name="connsiteX4" fmla="*/ 1344317 w 9152201"/>
              <a:gd name="connsiteY4" fmla="*/ 3963016 h 4268653"/>
              <a:gd name="connsiteX5" fmla="*/ 1269350 w 9152201"/>
              <a:gd name="connsiteY5" fmla="*/ 4009885 h 4268653"/>
              <a:gd name="connsiteX6" fmla="*/ 1262230 w 9152201"/>
              <a:gd name="connsiteY6" fmla="*/ 4220084 h 4268653"/>
              <a:gd name="connsiteX7" fmla="*/ 1173736 w 9152201"/>
              <a:gd name="connsiteY7" fmla="*/ 4268653 h 4268653"/>
              <a:gd name="connsiteX8" fmla="*/ 4376 w 9152201"/>
              <a:gd name="connsiteY8" fmla="*/ 4265541 h 4268653"/>
              <a:gd name="connsiteX9" fmla="*/ 6613 w 9152201"/>
              <a:gd name="connsiteY9" fmla="*/ 718270 h 4268653"/>
              <a:gd name="connsiteX10" fmla="*/ 806 w 9152201"/>
              <a:gd name="connsiteY10" fmla="*/ 0 h 4268653"/>
              <a:gd name="connsiteX0" fmla="*/ 806 w 9152201"/>
              <a:gd name="connsiteY0" fmla="*/ 0 h 4290821"/>
              <a:gd name="connsiteX1" fmla="*/ 9150613 w 9152201"/>
              <a:gd name="connsiteY1" fmla="*/ 9702 h 4290821"/>
              <a:gd name="connsiteX2" fmla="*/ 9150613 w 9152201"/>
              <a:gd name="connsiteY2" fmla="*/ 89 h 4290821"/>
              <a:gd name="connsiteX3" fmla="*/ 9140347 w 9152201"/>
              <a:gd name="connsiteY3" fmla="*/ 3967387 h 4290821"/>
              <a:gd name="connsiteX4" fmla="*/ 1344317 w 9152201"/>
              <a:gd name="connsiteY4" fmla="*/ 3963016 h 4290821"/>
              <a:gd name="connsiteX5" fmla="*/ 1269350 w 9152201"/>
              <a:gd name="connsiteY5" fmla="*/ 4009885 h 4290821"/>
              <a:gd name="connsiteX6" fmla="*/ 1262230 w 9152201"/>
              <a:gd name="connsiteY6" fmla="*/ 4220084 h 4290821"/>
              <a:gd name="connsiteX7" fmla="*/ 1173736 w 9152201"/>
              <a:gd name="connsiteY7" fmla="*/ 4268653 h 4290821"/>
              <a:gd name="connsiteX8" fmla="*/ 4376 w 9152201"/>
              <a:gd name="connsiteY8" fmla="*/ 4265541 h 4290821"/>
              <a:gd name="connsiteX9" fmla="*/ 6613 w 9152201"/>
              <a:gd name="connsiteY9" fmla="*/ 718270 h 4290821"/>
              <a:gd name="connsiteX10" fmla="*/ 806 w 9152201"/>
              <a:gd name="connsiteY10" fmla="*/ 0 h 4290821"/>
              <a:gd name="connsiteX0" fmla="*/ 806 w 9152201"/>
              <a:gd name="connsiteY0" fmla="*/ 0 h 4270324"/>
              <a:gd name="connsiteX1" fmla="*/ 9150613 w 9152201"/>
              <a:gd name="connsiteY1" fmla="*/ 9702 h 4270324"/>
              <a:gd name="connsiteX2" fmla="*/ 9150613 w 9152201"/>
              <a:gd name="connsiteY2" fmla="*/ 89 h 4270324"/>
              <a:gd name="connsiteX3" fmla="*/ 9140347 w 9152201"/>
              <a:gd name="connsiteY3" fmla="*/ 3967387 h 4270324"/>
              <a:gd name="connsiteX4" fmla="*/ 1344317 w 9152201"/>
              <a:gd name="connsiteY4" fmla="*/ 3963016 h 4270324"/>
              <a:gd name="connsiteX5" fmla="*/ 1269350 w 9152201"/>
              <a:gd name="connsiteY5" fmla="*/ 4009885 h 4270324"/>
              <a:gd name="connsiteX6" fmla="*/ 1262230 w 9152201"/>
              <a:gd name="connsiteY6" fmla="*/ 4220084 h 4270324"/>
              <a:gd name="connsiteX7" fmla="*/ 1173736 w 9152201"/>
              <a:gd name="connsiteY7" fmla="*/ 4268653 h 4270324"/>
              <a:gd name="connsiteX8" fmla="*/ 4376 w 9152201"/>
              <a:gd name="connsiteY8" fmla="*/ 4265541 h 4270324"/>
              <a:gd name="connsiteX9" fmla="*/ 6613 w 9152201"/>
              <a:gd name="connsiteY9" fmla="*/ 718270 h 4270324"/>
              <a:gd name="connsiteX10" fmla="*/ 806 w 9152201"/>
              <a:gd name="connsiteY10" fmla="*/ 0 h 4270324"/>
              <a:gd name="connsiteX0" fmla="*/ 806 w 9152201"/>
              <a:gd name="connsiteY0" fmla="*/ 0 h 4275702"/>
              <a:gd name="connsiteX1" fmla="*/ 9150613 w 9152201"/>
              <a:gd name="connsiteY1" fmla="*/ 9702 h 4275702"/>
              <a:gd name="connsiteX2" fmla="*/ 9150613 w 9152201"/>
              <a:gd name="connsiteY2" fmla="*/ 89 h 4275702"/>
              <a:gd name="connsiteX3" fmla="*/ 9140347 w 9152201"/>
              <a:gd name="connsiteY3" fmla="*/ 3967387 h 4275702"/>
              <a:gd name="connsiteX4" fmla="*/ 1344317 w 9152201"/>
              <a:gd name="connsiteY4" fmla="*/ 3963016 h 4275702"/>
              <a:gd name="connsiteX5" fmla="*/ 1269350 w 9152201"/>
              <a:gd name="connsiteY5" fmla="*/ 4009885 h 4275702"/>
              <a:gd name="connsiteX6" fmla="*/ 1262230 w 9152201"/>
              <a:gd name="connsiteY6" fmla="*/ 4220084 h 4275702"/>
              <a:gd name="connsiteX7" fmla="*/ 1173736 w 9152201"/>
              <a:gd name="connsiteY7" fmla="*/ 4268653 h 4275702"/>
              <a:gd name="connsiteX8" fmla="*/ 0 w 9152201"/>
              <a:gd name="connsiteY8" fmla="*/ 4275702 h 4275702"/>
              <a:gd name="connsiteX9" fmla="*/ 6613 w 9152201"/>
              <a:gd name="connsiteY9" fmla="*/ 718270 h 4275702"/>
              <a:gd name="connsiteX10" fmla="*/ 806 w 9152201"/>
              <a:gd name="connsiteY10" fmla="*/ 0 h 4275702"/>
              <a:gd name="connsiteX0" fmla="*/ 806 w 9152201"/>
              <a:gd name="connsiteY0" fmla="*/ 0 h 4270324"/>
              <a:gd name="connsiteX1" fmla="*/ 9150613 w 9152201"/>
              <a:gd name="connsiteY1" fmla="*/ 9702 h 4270324"/>
              <a:gd name="connsiteX2" fmla="*/ 9150613 w 9152201"/>
              <a:gd name="connsiteY2" fmla="*/ 89 h 4270324"/>
              <a:gd name="connsiteX3" fmla="*/ 9140347 w 9152201"/>
              <a:gd name="connsiteY3" fmla="*/ 3967387 h 4270324"/>
              <a:gd name="connsiteX4" fmla="*/ 1344317 w 9152201"/>
              <a:gd name="connsiteY4" fmla="*/ 3963016 h 4270324"/>
              <a:gd name="connsiteX5" fmla="*/ 1269350 w 9152201"/>
              <a:gd name="connsiteY5" fmla="*/ 4009885 h 4270324"/>
              <a:gd name="connsiteX6" fmla="*/ 1262230 w 9152201"/>
              <a:gd name="connsiteY6" fmla="*/ 4220084 h 4270324"/>
              <a:gd name="connsiteX7" fmla="*/ 1173736 w 9152201"/>
              <a:gd name="connsiteY7" fmla="*/ 4268653 h 4270324"/>
              <a:gd name="connsiteX8" fmla="*/ 0 w 9152201"/>
              <a:gd name="connsiteY8" fmla="*/ 4265542 h 4270324"/>
              <a:gd name="connsiteX9" fmla="*/ 6613 w 9152201"/>
              <a:gd name="connsiteY9" fmla="*/ 718270 h 4270324"/>
              <a:gd name="connsiteX10" fmla="*/ 806 w 9152201"/>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41153 w 9153007"/>
              <a:gd name="connsiteY3" fmla="*/ 3967387 h 4270324"/>
              <a:gd name="connsiteX4" fmla="*/ 1345123 w 9153007"/>
              <a:gd name="connsiteY4" fmla="*/ 396301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41153 w 9153007"/>
              <a:gd name="connsiteY3" fmla="*/ 3967387 h 4270324"/>
              <a:gd name="connsiteX4" fmla="*/ 1339531 w 9153007"/>
              <a:gd name="connsiteY4" fmla="*/ 3968097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41153 w 9153007"/>
              <a:gd name="connsiteY3" fmla="*/ 3967387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41153 w 9153007"/>
              <a:gd name="connsiteY3" fmla="*/ 3967387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41153 w 9153007"/>
              <a:gd name="connsiteY3" fmla="*/ 3967387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67917"/>
              <a:gd name="connsiteY0" fmla="*/ 0 h 4270324"/>
              <a:gd name="connsiteX1" fmla="*/ 9151419 w 9167917"/>
              <a:gd name="connsiteY1" fmla="*/ 9702 h 4270324"/>
              <a:gd name="connsiteX2" fmla="*/ 9151419 w 9167917"/>
              <a:gd name="connsiteY2" fmla="*/ 89 h 4270324"/>
              <a:gd name="connsiteX3" fmla="*/ 9167917 w 9167917"/>
              <a:gd name="connsiteY3" fmla="*/ 3971134 h 4270324"/>
              <a:gd name="connsiteX4" fmla="*/ 1352489 w 9167917"/>
              <a:gd name="connsiteY4" fmla="*/ 3975946 h 4270324"/>
              <a:gd name="connsiteX5" fmla="*/ 1270156 w 9167917"/>
              <a:gd name="connsiteY5" fmla="*/ 4009885 h 4270324"/>
              <a:gd name="connsiteX6" fmla="*/ 1263036 w 9167917"/>
              <a:gd name="connsiteY6" fmla="*/ 4220084 h 4270324"/>
              <a:gd name="connsiteX7" fmla="*/ 1174542 w 9167917"/>
              <a:gd name="connsiteY7" fmla="*/ 4268653 h 4270324"/>
              <a:gd name="connsiteX8" fmla="*/ 806 w 9167917"/>
              <a:gd name="connsiteY8" fmla="*/ 4265542 h 4270324"/>
              <a:gd name="connsiteX9" fmla="*/ 7419 w 9167917"/>
              <a:gd name="connsiteY9" fmla="*/ 718270 h 4270324"/>
              <a:gd name="connsiteX10" fmla="*/ 806 w 916791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67387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67917"/>
              <a:gd name="connsiteY0" fmla="*/ 0 h 4270324"/>
              <a:gd name="connsiteX1" fmla="*/ 9151419 w 9167917"/>
              <a:gd name="connsiteY1" fmla="*/ 9702 h 4270324"/>
              <a:gd name="connsiteX2" fmla="*/ 9151419 w 9167917"/>
              <a:gd name="connsiteY2" fmla="*/ 89 h 4270324"/>
              <a:gd name="connsiteX3" fmla="*/ 9167917 w 9167917"/>
              <a:gd name="connsiteY3" fmla="*/ 3974881 h 4270324"/>
              <a:gd name="connsiteX4" fmla="*/ 1352489 w 9167917"/>
              <a:gd name="connsiteY4" fmla="*/ 3975946 h 4270324"/>
              <a:gd name="connsiteX5" fmla="*/ 1270156 w 9167917"/>
              <a:gd name="connsiteY5" fmla="*/ 4009885 h 4270324"/>
              <a:gd name="connsiteX6" fmla="*/ 1263036 w 9167917"/>
              <a:gd name="connsiteY6" fmla="*/ 4220084 h 4270324"/>
              <a:gd name="connsiteX7" fmla="*/ 1174542 w 9167917"/>
              <a:gd name="connsiteY7" fmla="*/ 4268653 h 4270324"/>
              <a:gd name="connsiteX8" fmla="*/ 806 w 9167917"/>
              <a:gd name="connsiteY8" fmla="*/ 4265542 h 4270324"/>
              <a:gd name="connsiteX9" fmla="*/ 7419 w 9167917"/>
              <a:gd name="connsiteY9" fmla="*/ 718270 h 4270324"/>
              <a:gd name="connsiteX10" fmla="*/ 806 w 9167917"/>
              <a:gd name="connsiteY10" fmla="*/ 0 h 4270324"/>
              <a:gd name="connsiteX0" fmla="*/ 806 w 9167917"/>
              <a:gd name="connsiteY0" fmla="*/ 0 h 4276230"/>
              <a:gd name="connsiteX1" fmla="*/ 9151419 w 9167917"/>
              <a:gd name="connsiteY1" fmla="*/ 9702 h 4276230"/>
              <a:gd name="connsiteX2" fmla="*/ 9151419 w 9167917"/>
              <a:gd name="connsiteY2" fmla="*/ 89 h 4276230"/>
              <a:gd name="connsiteX3" fmla="*/ 9167917 w 9167917"/>
              <a:gd name="connsiteY3" fmla="*/ 3974881 h 4276230"/>
              <a:gd name="connsiteX4" fmla="*/ 1352489 w 9167917"/>
              <a:gd name="connsiteY4" fmla="*/ 3975946 h 4276230"/>
              <a:gd name="connsiteX5" fmla="*/ 1270156 w 9167917"/>
              <a:gd name="connsiteY5" fmla="*/ 4009885 h 4276230"/>
              <a:gd name="connsiteX6" fmla="*/ 1263036 w 9167917"/>
              <a:gd name="connsiteY6" fmla="*/ 4220084 h 4276230"/>
              <a:gd name="connsiteX7" fmla="*/ 1174542 w 9167917"/>
              <a:gd name="connsiteY7" fmla="*/ 4268653 h 4276230"/>
              <a:gd name="connsiteX8" fmla="*/ 806 w 9167917"/>
              <a:gd name="connsiteY8" fmla="*/ 4265543 h 4276230"/>
              <a:gd name="connsiteX9" fmla="*/ 7419 w 9167917"/>
              <a:gd name="connsiteY9" fmla="*/ 718270 h 4276230"/>
              <a:gd name="connsiteX10" fmla="*/ 806 w 9167917"/>
              <a:gd name="connsiteY10" fmla="*/ 0 h 4276230"/>
              <a:gd name="connsiteX0" fmla="*/ 806 w 9167917"/>
              <a:gd name="connsiteY0" fmla="*/ 0 h 4268653"/>
              <a:gd name="connsiteX1" fmla="*/ 9151419 w 9167917"/>
              <a:gd name="connsiteY1" fmla="*/ 9702 h 4268653"/>
              <a:gd name="connsiteX2" fmla="*/ 9151419 w 9167917"/>
              <a:gd name="connsiteY2" fmla="*/ 89 h 4268653"/>
              <a:gd name="connsiteX3" fmla="*/ 9167917 w 9167917"/>
              <a:gd name="connsiteY3" fmla="*/ 3974881 h 4268653"/>
              <a:gd name="connsiteX4" fmla="*/ 1352489 w 9167917"/>
              <a:gd name="connsiteY4" fmla="*/ 3975946 h 4268653"/>
              <a:gd name="connsiteX5" fmla="*/ 1270156 w 9167917"/>
              <a:gd name="connsiteY5" fmla="*/ 4009885 h 4268653"/>
              <a:gd name="connsiteX6" fmla="*/ 1263036 w 9167917"/>
              <a:gd name="connsiteY6" fmla="*/ 4220084 h 4268653"/>
              <a:gd name="connsiteX7" fmla="*/ 1174542 w 9167917"/>
              <a:gd name="connsiteY7" fmla="*/ 4268653 h 4268653"/>
              <a:gd name="connsiteX8" fmla="*/ 806 w 9167917"/>
              <a:gd name="connsiteY8" fmla="*/ 4250555 h 4268653"/>
              <a:gd name="connsiteX9" fmla="*/ 7419 w 9167917"/>
              <a:gd name="connsiteY9" fmla="*/ 718270 h 4268653"/>
              <a:gd name="connsiteX10" fmla="*/ 806 w 9167917"/>
              <a:gd name="connsiteY10" fmla="*/ 0 h 4268653"/>
              <a:gd name="connsiteX0" fmla="*/ 90722 w 9257833"/>
              <a:gd name="connsiteY0" fmla="*/ 0 h 4268653"/>
              <a:gd name="connsiteX1" fmla="*/ 9241335 w 9257833"/>
              <a:gd name="connsiteY1" fmla="*/ 9702 h 4268653"/>
              <a:gd name="connsiteX2" fmla="*/ 9241335 w 9257833"/>
              <a:gd name="connsiteY2" fmla="*/ 89 h 4268653"/>
              <a:gd name="connsiteX3" fmla="*/ 9257833 w 9257833"/>
              <a:gd name="connsiteY3" fmla="*/ 3974881 h 4268653"/>
              <a:gd name="connsiteX4" fmla="*/ 1442405 w 9257833"/>
              <a:gd name="connsiteY4" fmla="*/ 3975946 h 4268653"/>
              <a:gd name="connsiteX5" fmla="*/ 1360072 w 9257833"/>
              <a:gd name="connsiteY5" fmla="*/ 4009885 h 4268653"/>
              <a:gd name="connsiteX6" fmla="*/ 1352952 w 9257833"/>
              <a:gd name="connsiteY6" fmla="*/ 4220084 h 4268653"/>
              <a:gd name="connsiteX7" fmla="*/ 1264458 w 9257833"/>
              <a:gd name="connsiteY7" fmla="*/ 4268653 h 4268653"/>
              <a:gd name="connsiteX8" fmla="*/ 0 w 9257833"/>
              <a:gd name="connsiteY8" fmla="*/ 4246809 h 4268653"/>
              <a:gd name="connsiteX9" fmla="*/ 97335 w 9257833"/>
              <a:gd name="connsiteY9" fmla="*/ 718270 h 4268653"/>
              <a:gd name="connsiteX10" fmla="*/ 90722 w 9257833"/>
              <a:gd name="connsiteY10" fmla="*/ 0 h 4268653"/>
              <a:gd name="connsiteX0" fmla="*/ 806 w 9167917"/>
              <a:gd name="connsiteY0" fmla="*/ 0 h 4268653"/>
              <a:gd name="connsiteX1" fmla="*/ 9151419 w 9167917"/>
              <a:gd name="connsiteY1" fmla="*/ 9702 h 4268653"/>
              <a:gd name="connsiteX2" fmla="*/ 9151419 w 9167917"/>
              <a:gd name="connsiteY2" fmla="*/ 89 h 4268653"/>
              <a:gd name="connsiteX3" fmla="*/ 9167917 w 9167917"/>
              <a:gd name="connsiteY3" fmla="*/ 3974881 h 4268653"/>
              <a:gd name="connsiteX4" fmla="*/ 1352489 w 9167917"/>
              <a:gd name="connsiteY4" fmla="*/ 3975946 h 4268653"/>
              <a:gd name="connsiteX5" fmla="*/ 1270156 w 9167917"/>
              <a:gd name="connsiteY5" fmla="*/ 4009885 h 4268653"/>
              <a:gd name="connsiteX6" fmla="*/ 1263036 w 9167917"/>
              <a:gd name="connsiteY6" fmla="*/ 4220084 h 4268653"/>
              <a:gd name="connsiteX7" fmla="*/ 1174542 w 9167917"/>
              <a:gd name="connsiteY7" fmla="*/ 4268653 h 4268653"/>
              <a:gd name="connsiteX8" fmla="*/ 807 w 9167917"/>
              <a:gd name="connsiteY8" fmla="*/ 4261796 h 4268653"/>
              <a:gd name="connsiteX9" fmla="*/ 7419 w 9167917"/>
              <a:gd name="connsiteY9" fmla="*/ 718270 h 4268653"/>
              <a:gd name="connsiteX10" fmla="*/ 806 w 9167917"/>
              <a:gd name="connsiteY10" fmla="*/ 0 h 4268653"/>
              <a:gd name="connsiteX0" fmla="*/ 70102 w 9237213"/>
              <a:gd name="connsiteY0" fmla="*/ 0 h 4273036"/>
              <a:gd name="connsiteX1" fmla="*/ 9220715 w 9237213"/>
              <a:gd name="connsiteY1" fmla="*/ 9702 h 4273036"/>
              <a:gd name="connsiteX2" fmla="*/ 9220715 w 9237213"/>
              <a:gd name="connsiteY2" fmla="*/ 89 h 4273036"/>
              <a:gd name="connsiteX3" fmla="*/ 9237213 w 9237213"/>
              <a:gd name="connsiteY3" fmla="*/ 3974881 h 4273036"/>
              <a:gd name="connsiteX4" fmla="*/ 1421785 w 9237213"/>
              <a:gd name="connsiteY4" fmla="*/ 3975946 h 4273036"/>
              <a:gd name="connsiteX5" fmla="*/ 1339452 w 9237213"/>
              <a:gd name="connsiteY5" fmla="*/ 4009885 h 4273036"/>
              <a:gd name="connsiteX6" fmla="*/ 1332332 w 9237213"/>
              <a:gd name="connsiteY6" fmla="*/ 4220084 h 4273036"/>
              <a:gd name="connsiteX7" fmla="*/ 1243838 w 9237213"/>
              <a:gd name="connsiteY7" fmla="*/ 4268653 h 4273036"/>
              <a:gd name="connsiteX8" fmla="*/ 0 w 9237213"/>
              <a:gd name="connsiteY8" fmla="*/ 4273036 h 4273036"/>
              <a:gd name="connsiteX9" fmla="*/ 76715 w 9237213"/>
              <a:gd name="connsiteY9" fmla="*/ 718270 h 4273036"/>
              <a:gd name="connsiteX10" fmla="*/ 70102 w 9237213"/>
              <a:gd name="connsiteY10" fmla="*/ 0 h 4273036"/>
              <a:gd name="connsiteX0" fmla="*/ 53607 w 9220718"/>
              <a:gd name="connsiteY0" fmla="*/ 0 h 4268653"/>
              <a:gd name="connsiteX1" fmla="*/ 9204220 w 9220718"/>
              <a:gd name="connsiteY1" fmla="*/ 9702 h 4268653"/>
              <a:gd name="connsiteX2" fmla="*/ 9204220 w 9220718"/>
              <a:gd name="connsiteY2" fmla="*/ 89 h 4268653"/>
              <a:gd name="connsiteX3" fmla="*/ 9220718 w 9220718"/>
              <a:gd name="connsiteY3" fmla="*/ 3974881 h 4268653"/>
              <a:gd name="connsiteX4" fmla="*/ 1405290 w 9220718"/>
              <a:gd name="connsiteY4" fmla="*/ 3975946 h 4268653"/>
              <a:gd name="connsiteX5" fmla="*/ 1322957 w 9220718"/>
              <a:gd name="connsiteY5" fmla="*/ 4009885 h 4268653"/>
              <a:gd name="connsiteX6" fmla="*/ 1315837 w 9220718"/>
              <a:gd name="connsiteY6" fmla="*/ 4220084 h 4268653"/>
              <a:gd name="connsiteX7" fmla="*/ 1227343 w 9220718"/>
              <a:gd name="connsiteY7" fmla="*/ 4268653 h 4268653"/>
              <a:gd name="connsiteX8" fmla="*/ 0 w 9220718"/>
              <a:gd name="connsiteY8" fmla="*/ 4265542 h 4268653"/>
              <a:gd name="connsiteX9" fmla="*/ 60220 w 9220718"/>
              <a:gd name="connsiteY9" fmla="*/ 718270 h 4268653"/>
              <a:gd name="connsiteX10" fmla="*/ 53607 w 9220718"/>
              <a:gd name="connsiteY10" fmla="*/ 0 h 4268653"/>
              <a:gd name="connsiteX0" fmla="*/ 53607 w 9220718"/>
              <a:gd name="connsiteY0" fmla="*/ 0 h 4271069"/>
              <a:gd name="connsiteX1" fmla="*/ 9204220 w 9220718"/>
              <a:gd name="connsiteY1" fmla="*/ 9702 h 4271069"/>
              <a:gd name="connsiteX2" fmla="*/ 9204220 w 9220718"/>
              <a:gd name="connsiteY2" fmla="*/ 89 h 4271069"/>
              <a:gd name="connsiteX3" fmla="*/ 9220718 w 9220718"/>
              <a:gd name="connsiteY3" fmla="*/ 3974881 h 4271069"/>
              <a:gd name="connsiteX4" fmla="*/ 1405290 w 9220718"/>
              <a:gd name="connsiteY4" fmla="*/ 3975946 h 4271069"/>
              <a:gd name="connsiteX5" fmla="*/ 1322957 w 9220718"/>
              <a:gd name="connsiteY5" fmla="*/ 4009885 h 4271069"/>
              <a:gd name="connsiteX6" fmla="*/ 1315837 w 9220718"/>
              <a:gd name="connsiteY6" fmla="*/ 4220084 h 4271069"/>
              <a:gd name="connsiteX7" fmla="*/ 1227343 w 9220718"/>
              <a:gd name="connsiteY7" fmla="*/ 4268653 h 4271069"/>
              <a:gd name="connsiteX8" fmla="*/ 0 w 9220718"/>
              <a:gd name="connsiteY8" fmla="*/ 4265542 h 4271069"/>
              <a:gd name="connsiteX9" fmla="*/ 60220 w 9220718"/>
              <a:gd name="connsiteY9" fmla="*/ 718270 h 4271069"/>
              <a:gd name="connsiteX10" fmla="*/ 53607 w 9220718"/>
              <a:gd name="connsiteY10" fmla="*/ 0 h 4271069"/>
              <a:gd name="connsiteX0" fmla="*/ 53607 w 9220718"/>
              <a:gd name="connsiteY0" fmla="*/ 0 h 4271069"/>
              <a:gd name="connsiteX1" fmla="*/ 9204220 w 9220718"/>
              <a:gd name="connsiteY1" fmla="*/ 9702 h 4271069"/>
              <a:gd name="connsiteX2" fmla="*/ 9204220 w 9220718"/>
              <a:gd name="connsiteY2" fmla="*/ 89 h 4271069"/>
              <a:gd name="connsiteX3" fmla="*/ 9220718 w 9220718"/>
              <a:gd name="connsiteY3" fmla="*/ 3974881 h 4271069"/>
              <a:gd name="connsiteX4" fmla="*/ 1405290 w 9220718"/>
              <a:gd name="connsiteY4" fmla="*/ 3975946 h 4271069"/>
              <a:gd name="connsiteX5" fmla="*/ 1322957 w 9220718"/>
              <a:gd name="connsiteY5" fmla="*/ 4009885 h 4271069"/>
              <a:gd name="connsiteX6" fmla="*/ 1315837 w 9220718"/>
              <a:gd name="connsiteY6" fmla="*/ 4220084 h 4271069"/>
              <a:gd name="connsiteX7" fmla="*/ 1206724 w 9220718"/>
              <a:gd name="connsiteY7" fmla="*/ 4268653 h 4271069"/>
              <a:gd name="connsiteX8" fmla="*/ 0 w 9220718"/>
              <a:gd name="connsiteY8" fmla="*/ 4265542 h 4271069"/>
              <a:gd name="connsiteX9" fmla="*/ 60220 w 9220718"/>
              <a:gd name="connsiteY9" fmla="*/ 718270 h 4271069"/>
              <a:gd name="connsiteX10" fmla="*/ 53607 w 9220718"/>
              <a:gd name="connsiteY10" fmla="*/ 0 h 4271069"/>
              <a:gd name="connsiteX0" fmla="*/ 53607 w 9220718"/>
              <a:gd name="connsiteY0" fmla="*/ 0 h 4271069"/>
              <a:gd name="connsiteX1" fmla="*/ 9204220 w 9220718"/>
              <a:gd name="connsiteY1" fmla="*/ 9702 h 4271069"/>
              <a:gd name="connsiteX2" fmla="*/ 9204220 w 9220718"/>
              <a:gd name="connsiteY2" fmla="*/ 89 h 4271069"/>
              <a:gd name="connsiteX3" fmla="*/ 9220718 w 9220718"/>
              <a:gd name="connsiteY3" fmla="*/ 3974881 h 4271069"/>
              <a:gd name="connsiteX4" fmla="*/ 1405290 w 9220718"/>
              <a:gd name="connsiteY4" fmla="*/ 3975946 h 4271069"/>
              <a:gd name="connsiteX5" fmla="*/ 1322957 w 9220718"/>
              <a:gd name="connsiteY5" fmla="*/ 4009885 h 4271069"/>
              <a:gd name="connsiteX6" fmla="*/ 1315837 w 9220718"/>
              <a:gd name="connsiteY6" fmla="*/ 4220084 h 4271069"/>
              <a:gd name="connsiteX7" fmla="*/ 1177857 w 9220718"/>
              <a:gd name="connsiteY7" fmla="*/ 4268653 h 4271069"/>
              <a:gd name="connsiteX8" fmla="*/ 0 w 9220718"/>
              <a:gd name="connsiteY8" fmla="*/ 4265542 h 4271069"/>
              <a:gd name="connsiteX9" fmla="*/ 60220 w 9220718"/>
              <a:gd name="connsiteY9" fmla="*/ 718270 h 4271069"/>
              <a:gd name="connsiteX10" fmla="*/ 53607 w 9220718"/>
              <a:gd name="connsiteY10" fmla="*/ 0 h 4271069"/>
              <a:gd name="connsiteX0" fmla="*/ 53607 w 9220718"/>
              <a:gd name="connsiteY0" fmla="*/ 0 h 4271069"/>
              <a:gd name="connsiteX1" fmla="*/ 9204220 w 9220718"/>
              <a:gd name="connsiteY1" fmla="*/ 9702 h 4271069"/>
              <a:gd name="connsiteX2" fmla="*/ 9204220 w 9220718"/>
              <a:gd name="connsiteY2" fmla="*/ 89 h 4271069"/>
              <a:gd name="connsiteX3" fmla="*/ 9220718 w 9220718"/>
              <a:gd name="connsiteY3" fmla="*/ 3974881 h 4271069"/>
              <a:gd name="connsiteX4" fmla="*/ 1405290 w 9220718"/>
              <a:gd name="connsiteY4" fmla="*/ 3975946 h 4271069"/>
              <a:gd name="connsiteX5" fmla="*/ 1322957 w 9220718"/>
              <a:gd name="connsiteY5" fmla="*/ 4009885 h 4271069"/>
              <a:gd name="connsiteX6" fmla="*/ 1315837 w 9220718"/>
              <a:gd name="connsiteY6" fmla="*/ 4220084 h 4271069"/>
              <a:gd name="connsiteX7" fmla="*/ 1210847 w 9220718"/>
              <a:gd name="connsiteY7" fmla="*/ 4268653 h 4271069"/>
              <a:gd name="connsiteX8" fmla="*/ 0 w 9220718"/>
              <a:gd name="connsiteY8" fmla="*/ 4265542 h 4271069"/>
              <a:gd name="connsiteX9" fmla="*/ 60220 w 9220718"/>
              <a:gd name="connsiteY9" fmla="*/ 718270 h 4271069"/>
              <a:gd name="connsiteX10" fmla="*/ 53607 w 9220718"/>
              <a:gd name="connsiteY10" fmla="*/ 0 h 4271069"/>
              <a:gd name="connsiteX0" fmla="*/ 53608 w 9220718"/>
              <a:gd name="connsiteY0" fmla="*/ 0 h 4271068"/>
              <a:gd name="connsiteX1" fmla="*/ 9204220 w 9220718"/>
              <a:gd name="connsiteY1" fmla="*/ 9701 h 4271068"/>
              <a:gd name="connsiteX2" fmla="*/ 9204220 w 9220718"/>
              <a:gd name="connsiteY2" fmla="*/ 88 h 4271068"/>
              <a:gd name="connsiteX3" fmla="*/ 9220718 w 9220718"/>
              <a:gd name="connsiteY3" fmla="*/ 3974880 h 4271068"/>
              <a:gd name="connsiteX4" fmla="*/ 1405290 w 9220718"/>
              <a:gd name="connsiteY4" fmla="*/ 3975945 h 4271068"/>
              <a:gd name="connsiteX5" fmla="*/ 1322957 w 9220718"/>
              <a:gd name="connsiteY5" fmla="*/ 4009884 h 4271068"/>
              <a:gd name="connsiteX6" fmla="*/ 1315837 w 9220718"/>
              <a:gd name="connsiteY6" fmla="*/ 4220083 h 4271068"/>
              <a:gd name="connsiteX7" fmla="*/ 1210847 w 9220718"/>
              <a:gd name="connsiteY7" fmla="*/ 4268652 h 4271068"/>
              <a:gd name="connsiteX8" fmla="*/ 0 w 9220718"/>
              <a:gd name="connsiteY8" fmla="*/ 4265541 h 4271068"/>
              <a:gd name="connsiteX9" fmla="*/ 60220 w 9220718"/>
              <a:gd name="connsiteY9" fmla="*/ 718269 h 4271068"/>
              <a:gd name="connsiteX10" fmla="*/ 53608 w 9220718"/>
              <a:gd name="connsiteY10" fmla="*/ 0 h 4271068"/>
              <a:gd name="connsiteX0" fmla="*/ 92467 w 9259577"/>
              <a:gd name="connsiteY0" fmla="*/ 0 h 4271068"/>
              <a:gd name="connsiteX1" fmla="*/ 9243079 w 9259577"/>
              <a:gd name="connsiteY1" fmla="*/ 9701 h 4271068"/>
              <a:gd name="connsiteX2" fmla="*/ 9243079 w 9259577"/>
              <a:gd name="connsiteY2" fmla="*/ 88 h 4271068"/>
              <a:gd name="connsiteX3" fmla="*/ 9259577 w 9259577"/>
              <a:gd name="connsiteY3" fmla="*/ 3974880 h 4271068"/>
              <a:gd name="connsiteX4" fmla="*/ 1444149 w 9259577"/>
              <a:gd name="connsiteY4" fmla="*/ 3975945 h 4271068"/>
              <a:gd name="connsiteX5" fmla="*/ 1361816 w 9259577"/>
              <a:gd name="connsiteY5" fmla="*/ 4009884 h 4271068"/>
              <a:gd name="connsiteX6" fmla="*/ 1354696 w 9259577"/>
              <a:gd name="connsiteY6" fmla="*/ 4220083 h 4271068"/>
              <a:gd name="connsiteX7" fmla="*/ 1249706 w 9259577"/>
              <a:gd name="connsiteY7" fmla="*/ 4268652 h 4271068"/>
              <a:gd name="connsiteX8" fmla="*/ 38859 w 9259577"/>
              <a:gd name="connsiteY8" fmla="*/ 4265541 h 4271068"/>
              <a:gd name="connsiteX9" fmla="*/ 4233 w 9259577"/>
              <a:gd name="connsiteY9" fmla="*/ 718269 h 4271068"/>
              <a:gd name="connsiteX10" fmla="*/ 92467 w 9259577"/>
              <a:gd name="connsiteY10" fmla="*/ 0 h 4271068"/>
              <a:gd name="connsiteX0" fmla="*/ 1534037 w 10701147"/>
              <a:gd name="connsiteY0" fmla="*/ 0 h 4271068"/>
              <a:gd name="connsiteX1" fmla="*/ 10684649 w 10701147"/>
              <a:gd name="connsiteY1" fmla="*/ 9701 h 4271068"/>
              <a:gd name="connsiteX2" fmla="*/ 10684649 w 10701147"/>
              <a:gd name="connsiteY2" fmla="*/ 88 h 4271068"/>
              <a:gd name="connsiteX3" fmla="*/ 10701147 w 10701147"/>
              <a:gd name="connsiteY3" fmla="*/ 3974880 h 4271068"/>
              <a:gd name="connsiteX4" fmla="*/ 2885719 w 10701147"/>
              <a:gd name="connsiteY4" fmla="*/ 3975945 h 4271068"/>
              <a:gd name="connsiteX5" fmla="*/ 2803386 w 10701147"/>
              <a:gd name="connsiteY5" fmla="*/ 4009884 h 4271068"/>
              <a:gd name="connsiteX6" fmla="*/ 2796266 w 10701147"/>
              <a:gd name="connsiteY6" fmla="*/ 4220083 h 4271068"/>
              <a:gd name="connsiteX7" fmla="*/ 2691276 w 10701147"/>
              <a:gd name="connsiteY7" fmla="*/ 4268652 h 4271068"/>
              <a:gd name="connsiteX8" fmla="*/ 1480429 w 10701147"/>
              <a:gd name="connsiteY8" fmla="*/ 4265541 h 4271068"/>
              <a:gd name="connsiteX9" fmla="*/ 1534037 w 10701147"/>
              <a:gd name="connsiteY9" fmla="*/ 0 h 4271068"/>
              <a:gd name="connsiteX0" fmla="*/ 1534037 w 10701147"/>
              <a:gd name="connsiteY0" fmla="*/ 0 h 4271068"/>
              <a:gd name="connsiteX1" fmla="*/ 10684649 w 10701147"/>
              <a:gd name="connsiteY1" fmla="*/ 9701 h 4271068"/>
              <a:gd name="connsiteX2" fmla="*/ 10684649 w 10701147"/>
              <a:gd name="connsiteY2" fmla="*/ 88 h 4271068"/>
              <a:gd name="connsiteX3" fmla="*/ 10701147 w 10701147"/>
              <a:gd name="connsiteY3" fmla="*/ 3974880 h 4271068"/>
              <a:gd name="connsiteX4" fmla="*/ 2885719 w 10701147"/>
              <a:gd name="connsiteY4" fmla="*/ 3975945 h 4271068"/>
              <a:gd name="connsiteX5" fmla="*/ 2803386 w 10701147"/>
              <a:gd name="connsiteY5" fmla="*/ 4009884 h 4271068"/>
              <a:gd name="connsiteX6" fmla="*/ 2796266 w 10701147"/>
              <a:gd name="connsiteY6" fmla="*/ 4220083 h 4271068"/>
              <a:gd name="connsiteX7" fmla="*/ 2691276 w 10701147"/>
              <a:gd name="connsiteY7" fmla="*/ 4268652 h 4271068"/>
              <a:gd name="connsiteX8" fmla="*/ 1480429 w 10701147"/>
              <a:gd name="connsiteY8" fmla="*/ 4265541 h 4271068"/>
              <a:gd name="connsiteX9" fmla="*/ 1534037 w 10701147"/>
              <a:gd name="connsiteY9" fmla="*/ 0 h 4271068"/>
              <a:gd name="connsiteX0" fmla="*/ 246481 w 9413591"/>
              <a:gd name="connsiteY0" fmla="*/ 0 h 4271068"/>
              <a:gd name="connsiteX1" fmla="*/ 9397093 w 9413591"/>
              <a:gd name="connsiteY1" fmla="*/ 9701 h 4271068"/>
              <a:gd name="connsiteX2" fmla="*/ 9397093 w 9413591"/>
              <a:gd name="connsiteY2" fmla="*/ 88 h 4271068"/>
              <a:gd name="connsiteX3" fmla="*/ 9413591 w 9413591"/>
              <a:gd name="connsiteY3" fmla="*/ 3974880 h 4271068"/>
              <a:gd name="connsiteX4" fmla="*/ 1598163 w 9413591"/>
              <a:gd name="connsiteY4" fmla="*/ 3975945 h 4271068"/>
              <a:gd name="connsiteX5" fmla="*/ 1515830 w 9413591"/>
              <a:gd name="connsiteY5" fmla="*/ 4009884 h 4271068"/>
              <a:gd name="connsiteX6" fmla="*/ 1508710 w 9413591"/>
              <a:gd name="connsiteY6" fmla="*/ 4220083 h 4271068"/>
              <a:gd name="connsiteX7" fmla="*/ 1403720 w 9413591"/>
              <a:gd name="connsiteY7" fmla="*/ 4268652 h 4271068"/>
              <a:gd name="connsiteX8" fmla="*/ 192873 w 9413591"/>
              <a:gd name="connsiteY8" fmla="*/ 4265541 h 4271068"/>
              <a:gd name="connsiteX9" fmla="*/ 246481 w 9413591"/>
              <a:gd name="connsiteY9" fmla="*/ 0 h 4271068"/>
              <a:gd name="connsiteX0" fmla="*/ 64211 w 9231321"/>
              <a:gd name="connsiteY0" fmla="*/ 0 h 4271068"/>
              <a:gd name="connsiteX1" fmla="*/ 9214823 w 9231321"/>
              <a:gd name="connsiteY1" fmla="*/ 9701 h 4271068"/>
              <a:gd name="connsiteX2" fmla="*/ 9214823 w 9231321"/>
              <a:gd name="connsiteY2" fmla="*/ 88 h 4271068"/>
              <a:gd name="connsiteX3" fmla="*/ 9231321 w 9231321"/>
              <a:gd name="connsiteY3" fmla="*/ 3974880 h 4271068"/>
              <a:gd name="connsiteX4" fmla="*/ 1415893 w 9231321"/>
              <a:gd name="connsiteY4" fmla="*/ 3975945 h 4271068"/>
              <a:gd name="connsiteX5" fmla="*/ 1333560 w 9231321"/>
              <a:gd name="connsiteY5" fmla="*/ 4009884 h 4271068"/>
              <a:gd name="connsiteX6" fmla="*/ 1326440 w 9231321"/>
              <a:gd name="connsiteY6" fmla="*/ 4220083 h 4271068"/>
              <a:gd name="connsiteX7" fmla="*/ 1221450 w 9231321"/>
              <a:gd name="connsiteY7" fmla="*/ 4268652 h 4271068"/>
              <a:gd name="connsiteX8" fmla="*/ 10603 w 9231321"/>
              <a:gd name="connsiteY8" fmla="*/ 4265541 h 4271068"/>
              <a:gd name="connsiteX9" fmla="*/ 64211 w 9231321"/>
              <a:gd name="connsiteY9" fmla="*/ 0 h 4271068"/>
              <a:gd name="connsiteX0" fmla="*/ 10604 w 9177714"/>
              <a:gd name="connsiteY0" fmla="*/ 0 h 4276228"/>
              <a:gd name="connsiteX1" fmla="*/ 9161216 w 9177714"/>
              <a:gd name="connsiteY1" fmla="*/ 9701 h 4276228"/>
              <a:gd name="connsiteX2" fmla="*/ 9161216 w 9177714"/>
              <a:gd name="connsiteY2" fmla="*/ 88 h 4276228"/>
              <a:gd name="connsiteX3" fmla="*/ 9177714 w 9177714"/>
              <a:gd name="connsiteY3" fmla="*/ 3974880 h 4276228"/>
              <a:gd name="connsiteX4" fmla="*/ 1362286 w 9177714"/>
              <a:gd name="connsiteY4" fmla="*/ 3975945 h 4276228"/>
              <a:gd name="connsiteX5" fmla="*/ 1279953 w 9177714"/>
              <a:gd name="connsiteY5" fmla="*/ 4009884 h 4276228"/>
              <a:gd name="connsiteX6" fmla="*/ 1272833 w 9177714"/>
              <a:gd name="connsiteY6" fmla="*/ 4220083 h 4276228"/>
              <a:gd name="connsiteX7" fmla="*/ 1167843 w 9177714"/>
              <a:gd name="connsiteY7" fmla="*/ 4268652 h 4276228"/>
              <a:gd name="connsiteX8" fmla="*/ 10603 w 9177714"/>
              <a:gd name="connsiteY8" fmla="*/ 4265541 h 4276228"/>
              <a:gd name="connsiteX9" fmla="*/ 10604 w 9177714"/>
              <a:gd name="connsiteY9" fmla="*/ 0 h 4276228"/>
              <a:gd name="connsiteX0" fmla="*/ 10604 w 9177714"/>
              <a:gd name="connsiteY0" fmla="*/ 0 h 4268609"/>
              <a:gd name="connsiteX1" fmla="*/ 9161216 w 9177714"/>
              <a:gd name="connsiteY1" fmla="*/ 9701 h 4268609"/>
              <a:gd name="connsiteX2" fmla="*/ 9161216 w 9177714"/>
              <a:gd name="connsiteY2" fmla="*/ 88 h 4268609"/>
              <a:gd name="connsiteX3" fmla="*/ 9177714 w 9177714"/>
              <a:gd name="connsiteY3" fmla="*/ 3974880 h 4268609"/>
              <a:gd name="connsiteX4" fmla="*/ 1362286 w 9177714"/>
              <a:gd name="connsiteY4" fmla="*/ 3975945 h 4268609"/>
              <a:gd name="connsiteX5" fmla="*/ 1279953 w 9177714"/>
              <a:gd name="connsiteY5" fmla="*/ 4009884 h 4268609"/>
              <a:gd name="connsiteX6" fmla="*/ 1272833 w 9177714"/>
              <a:gd name="connsiteY6" fmla="*/ 4220083 h 4268609"/>
              <a:gd name="connsiteX7" fmla="*/ 1206981 w 9177714"/>
              <a:gd name="connsiteY7" fmla="*/ 4261033 h 4268609"/>
              <a:gd name="connsiteX8" fmla="*/ 10603 w 9177714"/>
              <a:gd name="connsiteY8" fmla="*/ 4265541 h 4268609"/>
              <a:gd name="connsiteX9" fmla="*/ 10604 w 9177714"/>
              <a:gd name="connsiteY9" fmla="*/ 0 h 4268609"/>
              <a:gd name="connsiteX0" fmla="*/ 10604 w 9177714"/>
              <a:gd name="connsiteY0" fmla="*/ 0 h 4265541"/>
              <a:gd name="connsiteX1" fmla="*/ 9161216 w 9177714"/>
              <a:gd name="connsiteY1" fmla="*/ 9701 h 4265541"/>
              <a:gd name="connsiteX2" fmla="*/ 9161216 w 9177714"/>
              <a:gd name="connsiteY2" fmla="*/ 88 h 4265541"/>
              <a:gd name="connsiteX3" fmla="*/ 9177714 w 9177714"/>
              <a:gd name="connsiteY3" fmla="*/ 3974880 h 4265541"/>
              <a:gd name="connsiteX4" fmla="*/ 1362286 w 9177714"/>
              <a:gd name="connsiteY4" fmla="*/ 3975945 h 4265541"/>
              <a:gd name="connsiteX5" fmla="*/ 1279953 w 9177714"/>
              <a:gd name="connsiteY5" fmla="*/ 4009884 h 4265541"/>
              <a:gd name="connsiteX6" fmla="*/ 1272833 w 9177714"/>
              <a:gd name="connsiteY6" fmla="*/ 4220083 h 4265541"/>
              <a:gd name="connsiteX7" fmla="*/ 1206981 w 9177714"/>
              <a:gd name="connsiteY7" fmla="*/ 4261033 h 4265541"/>
              <a:gd name="connsiteX8" fmla="*/ 10603 w 9177714"/>
              <a:gd name="connsiteY8" fmla="*/ 4265541 h 4265541"/>
              <a:gd name="connsiteX9" fmla="*/ 10604 w 9177714"/>
              <a:gd name="connsiteY9" fmla="*/ 0 h 4265541"/>
              <a:gd name="connsiteX0" fmla="*/ 10604 w 9177714"/>
              <a:gd name="connsiteY0" fmla="*/ 0 h 4265541"/>
              <a:gd name="connsiteX1" fmla="*/ 9161216 w 9177714"/>
              <a:gd name="connsiteY1" fmla="*/ 9701 h 4265541"/>
              <a:gd name="connsiteX2" fmla="*/ 9161216 w 9177714"/>
              <a:gd name="connsiteY2" fmla="*/ 88 h 4265541"/>
              <a:gd name="connsiteX3" fmla="*/ 9177714 w 9177714"/>
              <a:gd name="connsiteY3" fmla="*/ 3974880 h 4265541"/>
              <a:gd name="connsiteX4" fmla="*/ 1362286 w 9177714"/>
              <a:gd name="connsiteY4" fmla="*/ 3975945 h 4265541"/>
              <a:gd name="connsiteX5" fmla="*/ 1279953 w 9177714"/>
              <a:gd name="connsiteY5" fmla="*/ 4009884 h 4265541"/>
              <a:gd name="connsiteX6" fmla="*/ 1272833 w 9177714"/>
              <a:gd name="connsiteY6" fmla="*/ 4220083 h 4265541"/>
              <a:gd name="connsiteX7" fmla="*/ 1206981 w 9177714"/>
              <a:gd name="connsiteY7" fmla="*/ 4261033 h 4265541"/>
              <a:gd name="connsiteX8" fmla="*/ 10603 w 9177714"/>
              <a:gd name="connsiteY8" fmla="*/ 4265541 h 4265541"/>
              <a:gd name="connsiteX9" fmla="*/ 10604 w 9177714"/>
              <a:gd name="connsiteY9" fmla="*/ 0 h 4265541"/>
              <a:gd name="connsiteX0" fmla="*/ 10604 w 9177714"/>
              <a:gd name="connsiteY0" fmla="*/ 0 h 4265541"/>
              <a:gd name="connsiteX1" fmla="*/ 9161216 w 9177714"/>
              <a:gd name="connsiteY1" fmla="*/ 9701 h 4265541"/>
              <a:gd name="connsiteX2" fmla="*/ 9161216 w 9177714"/>
              <a:gd name="connsiteY2" fmla="*/ 88 h 4265541"/>
              <a:gd name="connsiteX3" fmla="*/ 9177714 w 9177714"/>
              <a:gd name="connsiteY3" fmla="*/ 3974880 h 4265541"/>
              <a:gd name="connsiteX4" fmla="*/ 1362286 w 9177714"/>
              <a:gd name="connsiteY4" fmla="*/ 3975945 h 4265541"/>
              <a:gd name="connsiteX5" fmla="*/ 1279953 w 9177714"/>
              <a:gd name="connsiteY5" fmla="*/ 4009884 h 4265541"/>
              <a:gd name="connsiteX6" fmla="*/ 1272833 w 9177714"/>
              <a:gd name="connsiteY6" fmla="*/ 4197223 h 4265541"/>
              <a:gd name="connsiteX7" fmla="*/ 1206981 w 9177714"/>
              <a:gd name="connsiteY7" fmla="*/ 4261033 h 4265541"/>
              <a:gd name="connsiteX8" fmla="*/ 10603 w 9177714"/>
              <a:gd name="connsiteY8" fmla="*/ 4265541 h 4265541"/>
              <a:gd name="connsiteX9" fmla="*/ 10604 w 9177714"/>
              <a:gd name="connsiteY9" fmla="*/ 0 h 4265541"/>
              <a:gd name="connsiteX0" fmla="*/ 10604 w 9177714"/>
              <a:gd name="connsiteY0" fmla="*/ 0 h 4265541"/>
              <a:gd name="connsiteX1" fmla="*/ 9161216 w 9177714"/>
              <a:gd name="connsiteY1" fmla="*/ 9701 h 4265541"/>
              <a:gd name="connsiteX2" fmla="*/ 9161216 w 9177714"/>
              <a:gd name="connsiteY2" fmla="*/ 88 h 4265541"/>
              <a:gd name="connsiteX3" fmla="*/ 9177714 w 9177714"/>
              <a:gd name="connsiteY3" fmla="*/ 3974880 h 4265541"/>
              <a:gd name="connsiteX4" fmla="*/ 1362286 w 9177714"/>
              <a:gd name="connsiteY4" fmla="*/ 3975945 h 4265541"/>
              <a:gd name="connsiteX5" fmla="*/ 1279953 w 9177714"/>
              <a:gd name="connsiteY5" fmla="*/ 4009884 h 4265541"/>
              <a:gd name="connsiteX6" fmla="*/ 1272833 w 9177714"/>
              <a:gd name="connsiteY6" fmla="*/ 4197223 h 4265541"/>
              <a:gd name="connsiteX7" fmla="*/ 1206981 w 9177714"/>
              <a:gd name="connsiteY7" fmla="*/ 4261033 h 4265541"/>
              <a:gd name="connsiteX8" fmla="*/ 10603 w 9177714"/>
              <a:gd name="connsiteY8" fmla="*/ 4265541 h 4265541"/>
              <a:gd name="connsiteX9" fmla="*/ 10604 w 9177714"/>
              <a:gd name="connsiteY9" fmla="*/ 0 h 4265541"/>
              <a:gd name="connsiteX0" fmla="*/ 10604 w 9177714"/>
              <a:gd name="connsiteY0" fmla="*/ 0 h 4265541"/>
              <a:gd name="connsiteX1" fmla="*/ 9161216 w 9177714"/>
              <a:gd name="connsiteY1" fmla="*/ 9701 h 4265541"/>
              <a:gd name="connsiteX2" fmla="*/ 9161216 w 9177714"/>
              <a:gd name="connsiteY2" fmla="*/ 88 h 4265541"/>
              <a:gd name="connsiteX3" fmla="*/ 9177714 w 9177714"/>
              <a:gd name="connsiteY3" fmla="*/ 3974880 h 4265541"/>
              <a:gd name="connsiteX4" fmla="*/ 1362286 w 9177714"/>
              <a:gd name="connsiteY4" fmla="*/ 3975945 h 4265541"/>
              <a:gd name="connsiteX5" fmla="*/ 1279953 w 9177714"/>
              <a:gd name="connsiteY5" fmla="*/ 4009884 h 4265541"/>
              <a:gd name="connsiteX6" fmla="*/ 1272833 w 9177714"/>
              <a:gd name="connsiteY6" fmla="*/ 4197223 h 4265541"/>
              <a:gd name="connsiteX7" fmla="*/ 1184616 w 9177714"/>
              <a:gd name="connsiteY7" fmla="*/ 4261033 h 4265541"/>
              <a:gd name="connsiteX8" fmla="*/ 10603 w 9177714"/>
              <a:gd name="connsiteY8" fmla="*/ 4265541 h 4265541"/>
              <a:gd name="connsiteX9" fmla="*/ 10604 w 9177714"/>
              <a:gd name="connsiteY9" fmla="*/ 0 h 4265541"/>
              <a:gd name="connsiteX0" fmla="*/ 10604 w 9177714"/>
              <a:gd name="connsiteY0" fmla="*/ 0 h 4268698"/>
              <a:gd name="connsiteX1" fmla="*/ 9161216 w 9177714"/>
              <a:gd name="connsiteY1" fmla="*/ 9701 h 4268698"/>
              <a:gd name="connsiteX2" fmla="*/ 9161216 w 9177714"/>
              <a:gd name="connsiteY2" fmla="*/ 88 h 4268698"/>
              <a:gd name="connsiteX3" fmla="*/ 9177714 w 9177714"/>
              <a:gd name="connsiteY3" fmla="*/ 3974880 h 4268698"/>
              <a:gd name="connsiteX4" fmla="*/ 1362286 w 9177714"/>
              <a:gd name="connsiteY4" fmla="*/ 3975945 h 4268698"/>
              <a:gd name="connsiteX5" fmla="*/ 1279953 w 9177714"/>
              <a:gd name="connsiteY5" fmla="*/ 4009884 h 4268698"/>
              <a:gd name="connsiteX6" fmla="*/ 1272833 w 9177714"/>
              <a:gd name="connsiteY6" fmla="*/ 4197223 h 4268698"/>
              <a:gd name="connsiteX7" fmla="*/ 1173434 w 9177714"/>
              <a:gd name="connsiteY7" fmla="*/ 4266113 h 4268698"/>
              <a:gd name="connsiteX8" fmla="*/ 10603 w 9177714"/>
              <a:gd name="connsiteY8" fmla="*/ 4265541 h 4268698"/>
              <a:gd name="connsiteX9" fmla="*/ 10604 w 9177714"/>
              <a:gd name="connsiteY9" fmla="*/ 0 h 4268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77714" h="4268698">
                <a:moveTo>
                  <a:pt x="10604" y="0"/>
                </a:moveTo>
                <a:lnTo>
                  <a:pt x="9161216" y="9701"/>
                </a:lnTo>
                <a:lnTo>
                  <a:pt x="9161216" y="88"/>
                </a:lnTo>
                <a:cubicBezTo>
                  <a:pt x="9162804" y="1317689"/>
                  <a:pt x="9176126" y="2657279"/>
                  <a:pt x="9177714" y="3974880"/>
                </a:cubicBezTo>
                <a:lnTo>
                  <a:pt x="1362286" y="3975945"/>
                </a:lnTo>
                <a:cubicBezTo>
                  <a:pt x="1324129" y="3980616"/>
                  <a:pt x="1294862" y="3973004"/>
                  <a:pt x="1279953" y="4009884"/>
                </a:cubicBezTo>
                <a:cubicBezTo>
                  <a:pt x="1265044" y="4046764"/>
                  <a:pt x="1276941" y="4145761"/>
                  <a:pt x="1272833" y="4197223"/>
                </a:cubicBezTo>
                <a:cubicBezTo>
                  <a:pt x="1272365" y="4244226"/>
                  <a:pt x="1221664" y="4268698"/>
                  <a:pt x="1173434" y="4266113"/>
                </a:cubicBezTo>
                <a:lnTo>
                  <a:pt x="10603" y="4265541"/>
                </a:lnTo>
                <a:cubicBezTo>
                  <a:pt x="0" y="3520977"/>
                  <a:pt x="7635" y="788799"/>
                  <a:pt x="10604" y="0"/>
                </a:cubicBezTo>
                <a:close/>
              </a:path>
            </a:pathLst>
          </a:custGeom>
        </p:spPr>
        <p:txBody>
          <a:bodyPr/>
          <a:lstStyle/>
          <a:p>
            <a:r>
              <a:rPr lang="en-US"/>
              <a:t>Click icon to add picture</a:t>
            </a:r>
            <a:endParaRPr lang="en-GB" dirty="0"/>
          </a:p>
        </p:txBody>
      </p:sp>
      <p:sp>
        <p:nvSpPr>
          <p:cNvPr id="7" name="Rubrik 1"/>
          <p:cNvSpPr>
            <a:spLocks noGrp="1"/>
          </p:cNvSpPr>
          <p:nvPr>
            <p:ph type="title" hasCustomPrompt="1"/>
          </p:nvPr>
        </p:nvSpPr>
        <p:spPr>
          <a:xfrm>
            <a:off x="1619250" y="404870"/>
            <a:ext cx="6935788" cy="668338"/>
          </a:xfrm>
        </p:spPr>
        <p:txBody>
          <a:bodyPr/>
          <a:lstStyle>
            <a:lvl1pPr>
              <a:defRPr/>
            </a:lvl1pPr>
          </a:lstStyle>
          <a:p>
            <a:r>
              <a:rPr lang="sv-SE" dirty="0" err="1"/>
              <a:t>Chapter</a:t>
            </a:r>
            <a:r>
              <a:rPr lang="sv-SE" dirty="0"/>
              <a:t> </a:t>
            </a:r>
            <a:r>
              <a:rPr lang="sv-SE" dirty="0" err="1"/>
              <a:t>heading</a:t>
            </a:r>
            <a:endParaRPr lang="en-GB" dirty="0"/>
          </a:p>
        </p:txBody>
      </p:sp>
      <p:sp>
        <p:nvSpPr>
          <p:cNvPr id="9" name="Platshållare för datum 3"/>
          <p:cNvSpPr>
            <a:spLocks noGrp="1"/>
          </p:cNvSpPr>
          <p:nvPr>
            <p:ph type="dt" sz="half" idx="10"/>
          </p:nvPr>
        </p:nvSpPr>
        <p:spPr>
          <a:xfrm>
            <a:off x="5580112" y="6288509"/>
            <a:ext cx="2133600" cy="365125"/>
          </a:xfrm>
        </p:spPr>
        <p:txBody>
          <a:bodyPr/>
          <a:lstStyle>
            <a:lvl1pPr>
              <a:defRPr sz="1100"/>
            </a:lvl1pPr>
          </a:lstStyle>
          <a:p>
            <a:r>
              <a:rPr lang="sv-SE"/>
              <a:t>2016-11-20</a:t>
            </a:r>
          </a:p>
        </p:txBody>
      </p:sp>
      <p:sp>
        <p:nvSpPr>
          <p:cNvPr id="10" name="Platshållare för bildnummer 5"/>
          <p:cNvSpPr>
            <a:spLocks noGrp="1"/>
          </p:cNvSpPr>
          <p:nvPr>
            <p:ph type="sldNum" sz="quarter" idx="12"/>
          </p:nvPr>
        </p:nvSpPr>
        <p:spPr>
          <a:xfrm>
            <a:off x="8172399" y="6301410"/>
            <a:ext cx="531863" cy="365125"/>
          </a:xfrm>
        </p:spPr>
        <p:txBody>
          <a:bodyPr/>
          <a:lstStyle>
            <a:lvl1pPr>
              <a:defRPr sz="1100"/>
            </a:lvl1pPr>
          </a:lstStyle>
          <a:p>
            <a:fld id="{227F0B53-9592-4779-891F-997228E46E01}" type="slidenum">
              <a:rPr lang="sv-SE" smtClean="0"/>
              <a:t>‹#›</a:t>
            </a:fld>
            <a:endParaRPr lang="sv-SE"/>
          </a:p>
        </p:txBody>
      </p:sp>
      <p:sp>
        <p:nvSpPr>
          <p:cNvPr id="11"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bg1"/>
                </a:solidFill>
              </a:defRPr>
            </a:lvl1pPr>
          </a:lstStyle>
          <a:p>
            <a:r>
              <a:rPr lang="sv-SE"/>
              <a:t>OpenIPSL Tutorial</a:t>
            </a:r>
          </a:p>
        </p:txBody>
      </p:sp>
    </p:spTree>
    <p:extLst>
      <p:ext uri="{BB962C8B-B14F-4D97-AF65-F5344CB8AC3E}">
        <p14:creationId xmlns:p14="http://schemas.microsoft.com/office/powerpoint/2010/main" val="172457233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Large image">
    <p:spTree>
      <p:nvGrpSpPr>
        <p:cNvPr id="1" name=""/>
        <p:cNvGrpSpPr/>
        <p:nvPr/>
      </p:nvGrpSpPr>
      <p:grpSpPr>
        <a:xfrm>
          <a:off x="0" y="0"/>
          <a:ext cx="0" cy="0"/>
          <a:chOff x="0" y="0"/>
          <a:chExt cx="0" cy="0"/>
        </a:xfrm>
      </p:grpSpPr>
      <p:sp>
        <p:nvSpPr>
          <p:cNvPr id="8" name="Platshållare för bild 7"/>
          <p:cNvSpPr>
            <a:spLocks noGrp="1"/>
          </p:cNvSpPr>
          <p:nvPr>
            <p:ph type="pic" sz="quarter" idx="13"/>
          </p:nvPr>
        </p:nvSpPr>
        <p:spPr>
          <a:xfrm>
            <a:off x="1619250" y="1582738"/>
            <a:ext cx="6935788" cy="4078287"/>
          </a:xfrm>
        </p:spPr>
        <p:txBody>
          <a:bodyPr/>
          <a:lstStyle/>
          <a:p>
            <a:r>
              <a:rPr lang="en-US"/>
              <a:t>Click icon to add picture</a:t>
            </a:r>
            <a:endParaRPr lang="en-GB" dirty="0"/>
          </a:p>
        </p:txBody>
      </p:sp>
      <p:sp>
        <p:nvSpPr>
          <p:cNvPr id="7" name="Rubrik 1"/>
          <p:cNvSpPr>
            <a:spLocks noGrp="1"/>
          </p:cNvSpPr>
          <p:nvPr>
            <p:ph type="title"/>
          </p:nvPr>
        </p:nvSpPr>
        <p:spPr>
          <a:xfrm>
            <a:off x="1619250" y="404870"/>
            <a:ext cx="6935788" cy="668338"/>
          </a:xfrm>
        </p:spPr>
        <p:txBody>
          <a:bodyPr/>
          <a:lstStyle/>
          <a:p>
            <a:r>
              <a:rPr lang="en-US"/>
              <a:t>Click to edit Master title style</a:t>
            </a:r>
            <a:endParaRPr lang="en-GB" dirty="0"/>
          </a:p>
        </p:txBody>
      </p:sp>
      <p:sp>
        <p:nvSpPr>
          <p:cNvPr id="9" name="Platshållare för datum 3"/>
          <p:cNvSpPr>
            <a:spLocks noGrp="1"/>
          </p:cNvSpPr>
          <p:nvPr>
            <p:ph type="dt" sz="half" idx="10"/>
          </p:nvPr>
        </p:nvSpPr>
        <p:spPr>
          <a:xfrm>
            <a:off x="5580112" y="6288509"/>
            <a:ext cx="2133600" cy="365125"/>
          </a:xfrm>
        </p:spPr>
        <p:txBody>
          <a:bodyPr/>
          <a:lstStyle>
            <a:lvl1pPr>
              <a:defRPr sz="1100"/>
            </a:lvl1pPr>
          </a:lstStyle>
          <a:p>
            <a:r>
              <a:rPr lang="sv-SE"/>
              <a:t>2016-11-20</a:t>
            </a:r>
          </a:p>
        </p:txBody>
      </p:sp>
      <p:sp>
        <p:nvSpPr>
          <p:cNvPr id="10" name="Platshållare för bildnummer 5"/>
          <p:cNvSpPr>
            <a:spLocks noGrp="1"/>
          </p:cNvSpPr>
          <p:nvPr>
            <p:ph type="sldNum" sz="quarter" idx="12"/>
          </p:nvPr>
        </p:nvSpPr>
        <p:spPr>
          <a:xfrm>
            <a:off x="8172399" y="6301410"/>
            <a:ext cx="531863" cy="365125"/>
          </a:xfrm>
        </p:spPr>
        <p:txBody>
          <a:bodyPr/>
          <a:lstStyle>
            <a:lvl1pPr>
              <a:defRPr sz="1100"/>
            </a:lvl1pPr>
          </a:lstStyle>
          <a:p>
            <a:fld id="{227F0B53-9592-4779-891F-997228E46E01}" type="slidenum">
              <a:rPr lang="sv-SE" smtClean="0"/>
              <a:t>‹#›</a:t>
            </a:fld>
            <a:endParaRPr lang="sv-SE"/>
          </a:p>
        </p:txBody>
      </p:sp>
      <p:sp>
        <p:nvSpPr>
          <p:cNvPr id="11"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bg1"/>
                </a:solidFill>
              </a:defRPr>
            </a:lvl1pPr>
          </a:lstStyle>
          <a:p>
            <a:r>
              <a:rPr lang="sv-SE"/>
              <a:t>OpenIPSL Tutorial</a:t>
            </a:r>
          </a:p>
        </p:txBody>
      </p:sp>
    </p:spTree>
    <p:extLst>
      <p:ext uri="{BB962C8B-B14F-4D97-AF65-F5344CB8AC3E}">
        <p14:creationId xmlns:p14="http://schemas.microsoft.com/office/powerpoint/2010/main" val="264623152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Empty slide">
    <p:spTree>
      <p:nvGrpSpPr>
        <p:cNvPr id="1" name=""/>
        <p:cNvGrpSpPr/>
        <p:nvPr/>
      </p:nvGrpSpPr>
      <p:grpSpPr>
        <a:xfrm>
          <a:off x="0" y="0"/>
          <a:ext cx="0" cy="0"/>
          <a:chOff x="0" y="0"/>
          <a:chExt cx="0" cy="0"/>
        </a:xfrm>
      </p:grpSpPr>
      <p:sp>
        <p:nvSpPr>
          <p:cNvPr id="5" name="Platshållare för datum 3"/>
          <p:cNvSpPr>
            <a:spLocks noGrp="1"/>
          </p:cNvSpPr>
          <p:nvPr>
            <p:ph type="dt" sz="half" idx="10"/>
          </p:nvPr>
        </p:nvSpPr>
        <p:spPr>
          <a:xfrm>
            <a:off x="5580112" y="6288509"/>
            <a:ext cx="2133600" cy="365125"/>
          </a:xfrm>
        </p:spPr>
        <p:txBody>
          <a:bodyPr/>
          <a:lstStyle>
            <a:lvl1pPr>
              <a:defRPr sz="1100"/>
            </a:lvl1pPr>
          </a:lstStyle>
          <a:p>
            <a:r>
              <a:rPr lang="sv-SE"/>
              <a:t>2016-11-20</a:t>
            </a:r>
          </a:p>
        </p:txBody>
      </p:sp>
      <p:sp>
        <p:nvSpPr>
          <p:cNvPr id="6" name="Platshållare för bildnummer 5"/>
          <p:cNvSpPr>
            <a:spLocks noGrp="1"/>
          </p:cNvSpPr>
          <p:nvPr>
            <p:ph type="sldNum" sz="quarter" idx="12"/>
          </p:nvPr>
        </p:nvSpPr>
        <p:spPr>
          <a:xfrm>
            <a:off x="8172399" y="6301410"/>
            <a:ext cx="531863" cy="365125"/>
          </a:xfrm>
        </p:spPr>
        <p:txBody>
          <a:bodyPr/>
          <a:lstStyle>
            <a:lvl1pPr>
              <a:defRPr sz="1100"/>
            </a:lvl1pPr>
          </a:lstStyle>
          <a:p>
            <a:fld id="{227F0B53-9592-4779-891F-997228E46E01}" type="slidenum">
              <a:rPr lang="sv-SE" smtClean="0"/>
              <a:t>‹#›</a:t>
            </a:fld>
            <a:endParaRPr lang="sv-SE"/>
          </a:p>
        </p:txBody>
      </p:sp>
      <p:sp>
        <p:nvSpPr>
          <p:cNvPr id="7"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bg1"/>
                </a:solidFill>
              </a:defRPr>
            </a:lvl1pPr>
          </a:lstStyle>
          <a:p>
            <a:r>
              <a:rPr lang="sv-SE"/>
              <a:t>OpenIPSL Tutorial</a:t>
            </a:r>
          </a:p>
        </p:txBody>
      </p:sp>
    </p:spTree>
    <p:extLst>
      <p:ext uri="{BB962C8B-B14F-4D97-AF65-F5344CB8AC3E}">
        <p14:creationId xmlns:p14="http://schemas.microsoft.com/office/powerpoint/2010/main" val="330700240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1.emf"/><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1331640" y="338899"/>
            <a:ext cx="7488832" cy="668338"/>
          </a:xfrm>
          <a:prstGeom prst="rect">
            <a:avLst/>
          </a:prstGeom>
        </p:spPr>
        <p:txBody>
          <a:bodyPr vert="horz" lIns="0" tIns="0" rIns="0" bIns="0" rtlCol="0" anchor="b" anchorCtr="0">
            <a:noAutofit/>
          </a:bodyPr>
          <a:lstStyle/>
          <a:p>
            <a:r>
              <a:rPr lang="en-US" noProof="0" dirty="0" err="1"/>
              <a:t>Klicka</a:t>
            </a:r>
            <a:r>
              <a:rPr lang="sv-SE" dirty="0"/>
              <a:t> här för att ändra format</a:t>
            </a:r>
            <a:endParaRPr lang="en-GB" dirty="0"/>
          </a:p>
        </p:txBody>
      </p:sp>
      <p:sp>
        <p:nvSpPr>
          <p:cNvPr id="3" name="Platshållare för text 2"/>
          <p:cNvSpPr>
            <a:spLocks noGrp="1"/>
          </p:cNvSpPr>
          <p:nvPr>
            <p:ph type="body" idx="1"/>
          </p:nvPr>
        </p:nvSpPr>
        <p:spPr>
          <a:xfrm>
            <a:off x="338964" y="1582739"/>
            <a:ext cx="8481508" cy="4078286"/>
          </a:xfrm>
          <a:prstGeom prst="rect">
            <a:avLst/>
          </a:prstGeom>
        </p:spPr>
        <p:txBody>
          <a:bodyPr vert="horz" lIns="0" tIns="0" rIns="0" bIns="0" rtlCol="0">
            <a:normAutofit/>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endParaRPr lang="en-GB" dirty="0"/>
          </a:p>
        </p:txBody>
      </p:sp>
      <p:pic>
        <p:nvPicPr>
          <p:cNvPr id="8" name="Picture 2"/>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338964" y="344488"/>
            <a:ext cx="662749" cy="6627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Platshållare för sidfot 4"/>
          <p:cNvSpPr>
            <a:spLocks noGrp="1"/>
          </p:cNvSpPr>
          <p:nvPr>
            <p:ph type="ftr" sz="quarter" idx="3"/>
          </p:nvPr>
        </p:nvSpPr>
        <p:spPr>
          <a:xfrm>
            <a:off x="1619250" y="6308725"/>
            <a:ext cx="2895600" cy="365125"/>
          </a:xfrm>
          <a:prstGeom prst="rect">
            <a:avLst/>
          </a:prstGeom>
        </p:spPr>
        <p:txBody>
          <a:bodyPr vert="horz" lIns="0" tIns="0" rIns="0" bIns="0" rtlCol="0" anchor="t"/>
          <a:lstStyle>
            <a:lvl1pPr>
              <a:defRPr lang="en-GB" sz="700" b="1" cap="all" baseline="0">
                <a:solidFill>
                  <a:schemeClr val="bg1"/>
                </a:solidFill>
              </a:defRPr>
            </a:lvl1pPr>
          </a:lstStyle>
          <a:p>
            <a:r>
              <a:rPr lang="sv-SE"/>
              <a:t>OpenIPSL Tutorial</a:t>
            </a:r>
          </a:p>
        </p:txBody>
      </p:sp>
      <p:sp>
        <p:nvSpPr>
          <p:cNvPr id="6" name="Platshållare för bildnummer 5"/>
          <p:cNvSpPr>
            <a:spLocks noGrp="1"/>
          </p:cNvSpPr>
          <p:nvPr>
            <p:ph type="sldNum" sz="quarter" idx="4"/>
          </p:nvPr>
        </p:nvSpPr>
        <p:spPr>
          <a:xfrm>
            <a:off x="8172399" y="6308725"/>
            <a:ext cx="531863" cy="365125"/>
          </a:xfrm>
          <a:prstGeom prst="rect">
            <a:avLst/>
          </a:prstGeom>
        </p:spPr>
        <p:txBody>
          <a:bodyPr vert="horz" lIns="0" tIns="0" rIns="0" bIns="0" rtlCol="0" anchor="t"/>
          <a:lstStyle>
            <a:lvl1pPr algn="r">
              <a:defRPr lang="en-GB" sz="700" b="1" cap="all" baseline="0" smtClean="0">
                <a:solidFill>
                  <a:schemeClr val="bg1"/>
                </a:solidFill>
              </a:defRPr>
            </a:lvl1pPr>
          </a:lstStyle>
          <a:p>
            <a:fld id="{227F0B53-9592-4779-891F-997228E46E01}" type="slidenum">
              <a:rPr lang="sv-SE" smtClean="0"/>
              <a:t>‹#›</a:t>
            </a:fld>
            <a:endParaRPr lang="sv-SE"/>
          </a:p>
        </p:txBody>
      </p:sp>
      <p:sp>
        <p:nvSpPr>
          <p:cNvPr id="4" name="Platshållare för datum 3"/>
          <p:cNvSpPr>
            <a:spLocks noGrp="1"/>
          </p:cNvSpPr>
          <p:nvPr>
            <p:ph type="dt" sz="half" idx="2"/>
          </p:nvPr>
        </p:nvSpPr>
        <p:spPr>
          <a:xfrm>
            <a:off x="5580112" y="6288509"/>
            <a:ext cx="2133600" cy="365125"/>
          </a:xfrm>
          <a:prstGeom prst="rect">
            <a:avLst/>
          </a:prstGeom>
        </p:spPr>
        <p:txBody>
          <a:bodyPr vert="horz" lIns="0" tIns="0" rIns="0" bIns="0" rtlCol="0" anchor="t"/>
          <a:lstStyle>
            <a:lvl1pPr>
              <a:defRPr lang="en-GB" sz="700" b="1" cap="all" baseline="0" smtClean="0">
                <a:solidFill>
                  <a:schemeClr val="bg1"/>
                </a:solidFill>
              </a:defRPr>
            </a:lvl1pPr>
          </a:lstStyle>
          <a:p>
            <a:r>
              <a:rPr lang="sv-SE"/>
              <a:t>2016-11-20</a:t>
            </a:r>
          </a:p>
        </p:txBody>
      </p:sp>
      <p:sp>
        <p:nvSpPr>
          <p:cNvPr id="9" name="Rektangel 12"/>
          <p:cNvSpPr/>
          <p:nvPr/>
        </p:nvSpPr>
        <p:spPr>
          <a:xfrm>
            <a:off x="0" y="5971378"/>
            <a:ext cx="9144000" cy="908720"/>
          </a:xfrm>
          <a:custGeom>
            <a:avLst/>
            <a:gdLst>
              <a:gd name="connsiteX0" fmla="*/ 1360291 w 9144000"/>
              <a:gd name="connsiteY0" fmla="*/ 0 h 908720"/>
              <a:gd name="connsiteX1" fmla="*/ 9144000 w 9144000"/>
              <a:gd name="connsiteY1" fmla="*/ 0 h 908720"/>
              <a:gd name="connsiteX2" fmla="*/ 9144000 w 9144000"/>
              <a:gd name="connsiteY2" fmla="*/ 262632 h 908720"/>
              <a:gd name="connsiteX3" fmla="*/ 9144000 w 9144000"/>
              <a:gd name="connsiteY3" fmla="*/ 328588 h 908720"/>
              <a:gd name="connsiteX4" fmla="*/ 9144000 w 9144000"/>
              <a:gd name="connsiteY4" fmla="*/ 808061 h 908720"/>
              <a:gd name="connsiteX5" fmla="*/ 9144000 w 9144000"/>
              <a:gd name="connsiteY5" fmla="*/ 883320 h 908720"/>
              <a:gd name="connsiteX6" fmla="*/ 9144000 w 9144000"/>
              <a:gd name="connsiteY6" fmla="*/ 904652 h 908720"/>
              <a:gd name="connsiteX7" fmla="*/ 9065179 w 9144000"/>
              <a:gd name="connsiteY7" fmla="*/ 904652 h 908720"/>
              <a:gd name="connsiteX8" fmla="*/ 9043341 w 9144000"/>
              <a:gd name="connsiteY8" fmla="*/ 908720 h 908720"/>
              <a:gd name="connsiteX9" fmla="*/ 1259632 w 9144000"/>
              <a:gd name="connsiteY9" fmla="*/ 908720 h 908720"/>
              <a:gd name="connsiteX10" fmla="*/ 1259632 w 9144000"/>
              <a:gd name="connsiteY10" fmla="*/ 904652 h 908720"/>
              <a:gd name="connsiteX11" fmla="*/ 0 w 9144000"/>
              <a:gd name="connsiteY11" fmla="*/ 904652 h 908720"/>
              <a:gd name="connsiteX12" fmla="*/ 0 w 9144000"/>
              <a:gd name="connsiteY12" fmla="*/ 883320 h 908720"/>
              <a:gd name="connsiteX13" fmla="*/ 0 w 9144000"/>
              <a:gd name="connsiteY13" fmla="*/ 328588 h 908720"/>
              <a:gd name="connsiteX14" fmla="*/ 0 w 9144000"/>
              <a:gd name="connsiteY14" fmla="*/ 314003 h 908720"/>
              <a:gd name="connsiteX15" fmla="*/ 901401 w 9144000"/>
              <a:gd name="connsiteY15" fmla="*/ 314003 h 908720"/>
              <a:gd name="connsiteX16" fmla="*/ 1026319 w 9144000"/>
              <a:gd name="connsiteY16" fmla="*/ 314003 h 908720"/>
              <a:gd name="connsiteX17" fmla="*/ 1194387 w 9144000"/>
              <a:gd name="connsiteY17" fmla="*/ 314003 h 908720"/>
              <a:gd name="connsiteX18" fmla="*/ 1258275 w 9144000"/>
              <a:gd name="connsiteY18" fmla="*/ 262632 h 908720"/>
              <a:gd name="connsiteX19" fmla="*/ 1259632 w 9144000"/>
              <a:gd name="connsiteY19" fmla="*/ 262632 h 908720"/>
              <a:gd name="connsiteX20" fmla="*/ 1259632 w 9144000"/>
              <a:gd name="connsiteY20" fmla="*/ 255909 h 908720"/>
              <a:gd name="connsiteX21" fmla="*/ 1261441 w 9144000"/>
              <a:gd name="connsiteY21" fmla="*/ 246949 h 908720"/>
              <a:gd name="connsiteX22" fmla="*/ 1261441 w 9144000"/>
              <a:gd name="connsiteY22" fmla="*/ 91699 h 908720"/>
              <a:gd name="connsiteX23" fmla="*/ 1360291 w 9144000"/>
              <a:gd name="connsiteY23" fmla="*/ 0 h 908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9144000" h="908720">
                <a:moveTo>
                  <a:pt x="1360291" y="0"/>
                </a:moveTo>
                <a:lnTo>
                  <a:pt x="9144000" y="0"/>
                </a:lnTo>
                <a:lnTo>
                  <a:pt x="9144000" y="262632"/>
                </a:lnTo>
                <a:lnTo>
                  <a:pt x="9144000" y="328588"/>
                </a:lnTo>
                <a:lnTo>
                  <a:pt x="9144000" y="808061"/>
                </a:lnTo>
                <a:lnTo>
                  <a:pt x="9144000" y="883320"/>
                </a:lnTo>
                <a:lnTo>
                  <a:pt x="9144000" y="904652"/>
                </a:lnTo>
                <a:lnTo>
                  <a:pt x="9065179" y="904652"/>
                </a:lnTo>
                <a:cubicBezTo>
                  <a:pt x="9058414" y="907870"/>
                  <a:pt x="9050977" y="908720"/>
                  <a:pt x="9043341" y="908720"/>
                </a:cubicBezTo>
                <a:lnTo>
                  <a:pt x="1259632" y="908720"/>
                </a:lnTo>
                <a:lnTo>
                  <a:pt x="1259632" y="904652"/>
                </a:lnTo>
                <a:lnTo>
                  <a:pt x="0" y="904652"/>
                </a:lnTo>
                <a:lnTo>
                  <a:pt x="0" y="883320"/>
                </a:lnTo>
                <a:lnTo>
                  <a:pt x="0" y="328588"/>
                </a:lnTo>
                <a:lnTo>
                  <a:pt x="0" y="314003"/>
                </a:lnTo>
                <a:lnTo>
                  <a:pt x="901401" y="314003"/>
                </a:lnTo>
                <a:lnTo>
                  <a:pt x="1026319" y="314003"/>
                </a:lnTo>
                <a:lnTo>
                  <a:pt x="1194387" y="314003"/>
                </a:lnTo>
                <a:cubicBezTo>
                  <a:pt x="1225910" y="314003"/>
                  <a:pt x="1252353" y="292251"/>
                  <a:pt x="1258275" y="262632"/>
                </a:cubicBezTo>
                <a:lnTo>
                  <a:pt x="1259632" y="262632"/>
                </a:lnTo>
                <a:lnTo>
                  <a:pt x="1259632" y="255909"/>
                </a:lnTo>
                <a:lnTo>
                  <a:pt x="1261441" y="246949"/>
                </a:lnTo>
                <a:lnTo>
                  <a:pt x="1261441" y="91699"/>
                </a:lnTo>
                <a:cubicBezTo>
                  <a:pt x="1264629" y="40239"/>
                  <a:pt x="1260136" y="0"/>
                  <a:pt x="1360291"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latshållare för sidfot 4"/>
          <p:cNvSpPr txBox="1">
            <a:spLocks/>
          </p:cNvSpPr>
          <p:nvPr userDrawn="1"/>
        </p:nvSpPr>
        <p:spPr>
          <a:xfrm>
            <a:off x="1696175" y="6269050"/>
            <a:ext cx="2895600" cy="365125"/>
          </a:xfrm>
          <a:prstGeom prst="rect">
            <a:avLst/>
          </a:prstGeom>
        </p:spPr>
        <p:txBody>
          <a:bodyPr lIns="0" tIns="0" rIns="0" bIns="0" anchor="t"/>
          <a:lstStyle>
            <a:defPPr>
              <a:defRPr lang="sv-SE"/>
            </a:defPPr>
            <a:lvl1pPr marL="0" algn="l" defTabSz="912931" rtl="0" eaLnBrk="1" latinLnBrk="0" hangingPunct="1">
              <a:lnSpc>
                <a:spcPts val="899"/>
              </a:lnSpc>
              <a:defRPr sz="700" b="1" kern="1200" cap="all" baseline="0">
                <a:solidFill>
                  <a:schemeClr val="bg1"/>
                </a:solidFill>
                <a:latin typeface="+mn-lt"/>
                <a:ea typeface="+mn-ea"/>
                <a:cs typeface="+mn-cs"/>
              </a:defRPr>
            </a:lvl1pPr>
            <a:lvl2pPr marL="456463" algn="l" defTabSz="912931" rtl="0" eaLnBrk="1" latinLnBrk="0" hangingPunct="1">
              <a:defRPr sz="1800" kern="1200">
                <a:solidFill>
                  <a:schemeClr val="tx1"/>
                </a:solidFill>
                <a:latin typeface="+mn-lt"/>
                <a:ea typeface="+mn-ea"/>
                <a:cs typeface="+mn-cs"/>
              </a:defRPr>
            </a:lvl2pPr>
            <a:lvl3pPr marL="912931" algn="l" defTabSz="912931" rtl="0" eaLnBrk="1" latinLnBrk="0" hangingPunct="1">
              <a:defRPr sz="1800" kern="1200">
                <a:solidFill>
                  <a:schemeClr val="tx1"/>
                </a:solidFill>
                <a:latin typeface="+mn-lt"/>
                <a:ea typeface="+mn-ea"/>
                <a:cs typeface="+mn-cs"/>
              </a:defRPr>
            </a:lvl3pPr>
            <a:lvl4pPr marL="1369397" algn="l" defTabSz="912931" rtl="0" eaLnBrk="1" latinLnBrk="0" hangingPunct="1">
              <a:defRPr sz="1800" kern="1200">
                <a:solidFill>
                  <a:schemeClr val="tx1"/>
                </a:solidFill>
                <a:latin typeface="+mn-lt"/>
                <a:ea typeface="+mn-ea"/>
                <a:cs typeface="+mn-cs"/>
              </a:defRPr>
            </a:lvl4pPr>
            <a:lvl5pPr marL="1825862" algn="l" defTabSz="912931" rtl="0" eaLnBrk="1" latinLnBrk="0" hangingPunct="1">
              <a:defRPr sz="1800" kern="1200">
                <a:solidFill>
                  <a:schemeClr val="tx1"/>
                </a:solidFill>
                <a:latin typeface="+mn-lt"/>
                <a:ea typeface="+mn-ea"/>
                <a:cs typeface="+mn-cs"/>
              </a:defRPr>
            </a:lvl5pPr>
            <a:lvl6pPr marL="2282327" algn="l" defTabSz="912931" rtl="0" eaLnBrk="1" latinLnBrk="0" hangingPunct="1">
              <a:defRPr sz="1800" kern="1200">
                <a:solidFill>
                  <a:schemeClr val="tx1"/>
                </a:solidFill>
                <a:latin typeface="+mn-lt"/>
                <a:ea typeface="+mn-ea"/>
                <a:cs typeface="+mn-cs"/>
              </a:defRPr>
            </a:lvl6pPr>
            <a:lvl7pPr marL="2738794" algn="l" defTabSz="912931" rtl="0" eaLnBrk="1" latinLnBrk="0" hangingPunct="1">
              <a:defRPr sz="1800" kern="1200">
                <a:solidFill>
                  <a:schemeClr val="tx1"/>
                </a:solidFill>
                <a:latin typeface="+mn-lt"/>
                <a:ea typeface="+mn-ea"/>
                <a:cs typeface="+mn-cs"/>
              </a:defRPr>
            </a:lvl7pPr>
            <a:lvl8pPr marL="3195260" algn="l" defTabSz="912931" rtl="0" eaLnBrk="1" latinLnBrk="0" hangingPunct="1">
              <a:defRPr sz="1800" kern="1200">
                <a:solidFill>
                  <a:schemeClr val="tx1"/>
                </a:solidFill>
                <a:latin typeface="+mn-lt"/>
                <a:ea typeface="+mn-ea"/>
                <a:cs typeface="+mn-cs"/>
              </a:defRPr>
            </a:lvl8pPr>
            <a:lvl9pPr marL="3651726" algn="l" defTabSz="912931" rtl="0" eaLnBrk="1" latinLnBrk="0" hangingPunct="1">
              <a:defRPr sz="1800" kern="1200">
                <a:solidFill>
                  <a:schemeClr val="tx1"/>
                </a:solidFill>
                <a:latin typeface="+mn-lt"/>
                <a:ea typeface="+mn-ea"/>
                <a:cs typeface="+mn-cs"/>
              </a:defRPr>
            </a:lvl9pPr>
          </a:lstStyle>
          <a:p>
            <a:endParaRPr lang="sv-SE" dirty="0"/>
          </a:p>
        </p:txBody>
      </p:sp>
    </p:spTree>
    <p:extLst>
      <p:ext uri="{BB962C8B-B14F-4D97-AF65-F5344CB8AC3E}">
        <p14:creationId xmlns:p14="http://schemas.microsoft.com/office/powerpoint/2010/main" val="3466854265"/>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32" r:id="rId3"/>
    <p:sldLayoutId id="2147483723" r:id="rId4"/>
    <p:sldLayoutId id="2147483724" r:id="rId5"/>
    <p:sldLayoutId id="2147483725" r:id="rId6"/>
    <p:sldLayoutId id="2147483726" r:id="rId7"/>
    <p:sldLayoutId id="2147483727" r:id="rId8"/>
    <p:sldLayoutId id="2147483728" r:id="rId9"/>
    <p:sldLayoutId id="2147483729" r:id="rId10"/>
    <p:sldLayoutId id="2147483730" r:id="rId11"/>
  </p:sldLayoutIdLst>
  <p:hf hdr="0"/>
  <p:txStyles>
    <p:titleStyle>
      <a:lvl1pPr algn="l" defTabSz="914400" rtl="0" eaLnBrk="1" latinLnBrk="0" hangingPunct="1">
        <a:lnSpc>
          <a:spcPts val="3000"/>
        </a:lnSpc>
        <a:spcBef>
          <a:spcPct val="0"/>
        </a:spcBef>
        <a:buNone/>
        <a:defRPr sz="2600" b="1" kern="1200">
          <a:solidFill>
            <a:schemeClr val="tx1"/>
          </a:solidFill>
          <a:latin typeface="+mj-lt"/>
          <a:ea typeface="+mj-ea"/>
          <a:cs typeface="+mj-cs"/>
        </a:defRPr>
      </a:lvl1pPr>
    </p:titleStyle>
    <p:bodyStyle>
      <a:lvl1pPr marL="0" indent="0" algn="l" defTabSz="914400" rtl="0" eaLnBrk="1" latinLnBrk="0" hangingPunct="1">
        <a:lnSpc>
          <a:spcPct val="100000"/>
        </a:lnSpc>
        <a:spcBef>
          <a:spcPct val="20000"/>
        </a:spcBef>
        <a:buFont typeface="Arial" pitchFamily="34" charset="0"/>
        <a:buNone/>
        <a:defRPr sz="2000" kern="1200">
          <a:solidFill>
            <a:schemeClr val="tx1"/>
          </a:solidFill>
          <a:latin typeface="+mn-lt"/>
          <a:ea typeface="+mn-ea"/>
          <a:cs typeface="+mn-cs"/>
        </a:defRPr>
      </a:lvl1pPr>
      <a:lvl2pPr marL="355600" indent="-355600" algn="l" defTabSz="914400"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2pPr>
      <a:lvl3pPr marL="723900" indent="-368300" algn="l" defTabSz="914400"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3pPr>
      <a:lvl4pPr marL="1076325" indent="-352425" algn="l" defTabSz="914400"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4pPr>
      <a:lvl5pPr marL="1535113" indent="-457200" algn="l" defTabSz="914400"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1619250" y="404870"/>
            <a:ext cx="6935788" cy="668338"/>
          </a:xfrm>
          <a:prstGeom prst="rect">
            <a:avLst/>
          </a:prstGeom>
        </p:spPr>
        <p:txBody>
          <a:bodyPr vert="horz" lIns="0" tIns="0" rIns="0" bIns="0" rtlCol="0" anchor="b" anchorCtr="0">
            <a:noAutofit/>
          </a:bodyPr>
          <a:lstStyle/>
          <a:p>
            <a:r>
              <a:rPr lang="sv-SE" dirty="0"/>
              <a:t>Klicka här för att ändra format</a:t>
            </a:r>
            <a:endParaRPr lang="en-GB" dirty="0"/>
          </a:p>
        </p:txBody>
      </p:sp>
      <p:sp>
        <p:nvSpPr>
          <p:cNvPr id="3" name="Platshållare för text 2"/>
          <p:cNvSpPr>
            <a:spLocks noGrp="1"/>
          </p:cNvSpPr>
          <p:nvPr>
            <p:ph type="body" idx="1"/>
          </p:nvPr>
        </p:nvSpPr>
        <p:spPr>
          <a:xfrm>
            <a:off x="1619250" y="1582739"/>
            <a:ext cx="6935788" cy="4078286"/>
          </a:xfrm>
          <a:prstGeom prst="rect">
            <a:avLst/>
          </a:prstGeom>
        </p:spPr>
        <p:txBody>
          <a:bodyPr vert="horz" lIns="0" tIns="0" rIns="0" bIns="0" rtlCol="0">
            <a:normAutofit/>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endParaRPr lang="en-GB" dirty="0"/>
          </a:p>
        </p:txBody>
      </p:sp>
      <p:pic>
        <p:nvPicPr>
          <p:cNvPr id="8" name="Picture 2"/>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338964" y="344488"/>
            <a:ext cx="662749" cy="6627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Platshållare för sidfot 4"/>
          <p:cNvSpPr>
            <a:spLocks noGrp="1"/>
          </p:cNvSpPr>
          <p:nvPr>
            <p:ph type="ftr" sz="quarter" idx="3"/>
          </p:nvPr>
        </p:nvSpPr>
        <p:spPr>
          <a:xfrm>
            <a:off x="1619250" y="6308725"/>
            <a:ext cx="2895600" cy="365125"/>
          </a:xfrm>
          <a:prstGeom prst="rect">
            <a:avLst/>
          </a:prstGeom>
        </p:spPr>
        <p:txBody>
          <a:bodyPr vert="horz" lIns="0" tIns="0" rIns="0" bIns="0" rtlCol="0" anchor="t"/>
          <a:lstStyle>
            <a:lvl1pPr>
              <a:defRPr lang="en-GB" sz="700" b="1" cap="all" baseline="0">
                <a:solidFill>
                  <a:schemeClr val="bg1"/>
                </a:solidFill>
              </a:defRPr>
            </a:lvl1pPr>
          </a:lstStyle>
          <a:p>
            <a:r>
              <a:rPr lang="sv-SE"/>
              <a:t>OpenIPSL Tutorial</a:t>
            </a:r>
          </a:p>
        </p:txBody>
      </p:sp>
      <p:sp>
        <p:nvSpPr>
          <p:cNvPr id="6" name="Platshållare för bildnummer 5"/>
          <p:cNvSpPr>
            <a:spLocks noGrp="1"/>
          </p:cNvSpPr>
          <p:nvPr>
            <p:ph type="sldNum" sz="quarter" idx="4"/>
          </p:nvPr>
        </p:nvSpPr>
        <p:spPr>
          <a:xfrm>
            <a:off x="8172399" y="6308725"/>
            <a:ext cx="531863" cy="365125"/>
          </a:xfrm>
          <a:prstGeom prst="rect">
            <a:avLst/>
          </a:prstGeom>
        </p:spPr>
        <p:txBody>
          <a:bodyPr vert="horz" lIns="0" tIns="0" rIns="0" bIns="0" rtlCol="0" anchor="t"/>
          <a:lstStyle>
            <a:lvl1pPr algn="r">
              <a:defRPr lang="en-GB" sz="700" b="1" cap="all" baseline="0" smtClean="0">
                <a:solidFill>
                  <a:schemeClr val="bg1"/>
                </a:solidFill>
              </a:defRPr>
            </a:lvl1pPr>
          </a:lstStyle>
          <a:p>
            <a:fld id="{227F0B53-9592-4779-891F-997228E46E01}" type="slidenum">
              <a:rPr lang="sv-SE" smtClean="0"/>
              <a:t>‹#›</a:t>
            </a:fld>
            <a:endParaRPr lang="sv-SE"/>
          </a:p>
        </p:txBody>
      </p:sp>
      <p:sp>
        <p:nvSpPr>
          <p:cNvPr id="4" name="Platshållare för datum 3"/>
          <p:cNvSpPr>
            <a:spLocks noGrp="1"/>
          </p:cNvSpPr>
          <p:nvPr>
            <p:ph type="dt" sz="half" idx="2"/>
          </p:nvPr>
        </p:nvSpPr>
        <p:spPr>
          <a:xfrm>
            <a:off x="5580112" y="6288509"/>
            <a:ext cx="2133600" cy="365125"/>
          </a:xfrm>
          <a:prstGeom prst="rect">
            <a:avLst/>
          </a:prstGeom>
        </p:spPr>
        <p:txBody>
          <a:bodyPr vert="horz" lIns="0" tIns="0" rIns="0" bIns="0" rtlCol="0" anchor="t"/>
          <a:lstStyle>
            <a:lvl1pPr>
              <a:defRPr lang="en-GB" sz="700" b="1" cap="all" baseline="0" smtClean="0">
                <a:solidFill>
                  <a:schemeClr val="bg1"/>
                </a:solidFill>
              </a:defRPr>
            </a:lvl1pPr>
          </a:lstStyle>
          <a:p>
            <a:r>
              <a:rPr lang="sv-SE"/>
              <a:t>2016-11-20</a:t>
            </a:r>
          </a:p>
        </p:txBody>
      </p:sp>
      <p:sp>
        <p:nvSpPr>
          <p:cNvPr id="9" name="Rektangel 12"/>
          <p:cNvSpPr/>
          <p:nvPr/>
        </p:nvSpPr>
        <p:spPr>
          <a:xfrm>
            <a:off x="0" y="5971378"/>
            <a:ext cx="9144000" cy="908720"/>
          </a:xfrm>
          <a:custGeom>
            <a:avLst/>
            <a:gdLst>
              <a:gd name="connsiteX0" fmla="*/ 1360291 w 9144000"/>
              <a:gd name="connsiteY0" fmla="*/ 0 h 908720"/>
              <a:gd name="connsiteX1" fmla="*/ 9144000 w 9144000"/>
              <a:gd name="connsiteY1" fmla="*/ 0 h 908720"/>
              <a:gd name="connsiteX2" fmla="*/ 9144000 w 9144000"/>
              <a:gd name="connsiteY2" fmla="*/ 262632 h 908720"/>
              <a:gd name="connsiteX3" fmla="*/ 9144000 w 9144000"/>
              <a:gd name="connsiteY3" fmla="*/ 328588 h 908720"/>
              <a:gd name="connsiteX4" fmla="*/ 9144000 w 9144000"/>
              <a:gd name="connsiteY4" fmla="*/ 808061 h 908720"/>
              <a:gd name="connsiteX5" fmla="*/ 9144000 w 9144000"/>
              <a:gd name="connsiteY5" fmla="*/ 883320 h 908720"/>
              <a:gd name="connsiteX6" fmla="*/ 9144000 w 9144000"/>
              <a:gd name="connsiteY6" fmla="*/ 904652 h 908720"/>
              <a:gd name="connsiteX7" fmla="*/ 9065179 w 9144000"/>
              <a:gd name="connsiteY7" fmla="*/ 904652 h 908720"/>
              <a:gd name="connsiteX8" fmla="*/ 9043341 w 9144000"/>
              <a:gd name="connsiteY8" fmla="*/ 908720 h 908720"/>
              <a:gd name="connsiteX9" fmla="*/ 1259632 w 9144000"/>
              <a:gd name="connsiteY9" fmla="*/ 908720 h 908720"/>
              <a:gd name="connsiteX10" fmla="*/ 1259632 w 9144000"/>
              <a:gd name="connsiteY10" fmla="*/ 904652 h 908720"/>
              <a:gd name="connsiteX11" fmla="*/ 0 w 9144000"/>
              <a:gd name="connsiteY11" fmla="*/ 904652 h 908720"/>
              <a:gd name="connsiteX12" fmla="*/ 0 w 9144000"/>
              <a:gd name="connsiteY12" fmla="*/ 883320 h 908720"/>
              <a:gd name="connsiteX13" fmla="*/ 0 w 9144000"/>
              <a:gd name="connsiteY13" fmla="*/ 328588 h 908720"/>
              <a:gd name="connsiteX14" fmla="*/ 0 w 9144000"/>
              <a:gd name="connsiteY14" fmla="*/ 314003 h 908720"/>
              <a:gd name="connsiteX15" fmla="*/ 901401 w 9144000"/>
              <a:gd name="connsiteY15" fmla="*/ 314003 h 908720"/>
              <a:gd name="connsiteX16" fmla="*/ 1026319 w 9144000"/>
              <a:gd name="connsiteY16" fmla="*/ 314003 h 908720"/>
              <a:gd name="connsiteX17" fmla="*/ 1194387 w 9144000"/>
              <a:gd name="connsiteY17" fmla="*/ 314003 h 908720"/>
              <a:gd name="connsiteX18" fmla="*/ 1258275 w 9144000"/>
              <a:gd name="connsiteY18" fmla="*/ 262632 h 908720"/>
              <a:gd name="connsiteX19" fmla="*/ 1259632 w 9144000"/>
              <a:gd name="connsiteY19" fmla="*/ 262632 h 908720"/>
              <a:gd name="connsiteX20" fmla="*/ 1259632 w 9144000"/>
              <a:gd name="connsiteY20" fmla="*/ 255909 h 908720"/>
              <a:gd name="connsiteX21" fmla="*/ 1261441 w 9144000"/>
              <a:gd name="connsiteY21" fmla="*/ 246949 h 908720"/>
              <a:gd name="connsiteX22" fmla="*/ 1261441 w 9144000"/>
              <a:gd name="connsiteY22" fmla="*/ 91699 h 908720"/>
              <a:gd name="connsiteX23" fmla="*/ 1360291 w 9144000"/>
              <a:gd name="connsiteY23" fmla="*/ 0 h 908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9144000" h="908720">
                <a:moveTo>
                  <a:pt x="1360291" y="0"/>
                </a:moveTo>
                <a:lnTo>
                  <a:pt x="9144000" y="0"/>
                </a:lnTo>
                <a:lnTo>
                  <a:pt x="9144000" y="262632"/>
                </a:lnTo>
                <a:lnTo>
                  <a:pt x="9144000" y="328588"/>
                </a:lnTo>
                <a:lnTo>
                  <a:pt x="9144000" y="808061"/>
                </a:lnTo>
                <a:lnTo>
                  <a:pt x="9144000" y="883320"/>
                </a:lnTo>
                <a:lnTo>
                  <a:pt x="9144000" y="904652"/>
                </a:lnTo>
                <a:lnTo>
                  <a:pt x="9065179" y="904652"/>
                </a:lnTo>
                <a:cubicBezTo>
                  <a:pt x="9058414" y="907870"/>
                  <a:pt x="9050977" y="908720"/>
                  <a:pt x="9043341" y="908720"/>
                </a:cubicBezTo>
                <a:lnTo>
                  <a:pt x="1259632" y="908720"/>
                </a:lnTo>
                <a:lnTo>
                  <a:pt x="1259632" y="904652"/>
                </a:lnTo>
                <a:lnTo>
                  <a:pt x="0" y="904652"/>
                </a:lnTo>
                <a:lnTo>
                  <a:pt x="0" y="883320"/>
                </a:lnTo>
                <a:lnTo>
                  <a:pt x="0" y="328588"/>
                </a:lnTo>
                <a:lnTo>
                  <a:pt x="0" y="314003"/>
                </a:lnTo>
                <a:lnTo>
                  <a:pt x="901401" y="314003"/>
                </a:lnTo>
                <a:lnTo>
                  <a:pt x="1026319" y="314003"/>
                </a:lnTo>
                <a:lnTo>
                  <a:pt x="1194387" y="314003"/>
                </a:lnTo>
                <a:cubicBezTo>
                  <a:pt x="1225910" y="314003"/>
                  <a:pt x="1252353" y="292251"/>
                  <a:pt x="1258275" y="262632"/>
                </a:cubicBezTo>
                <a:lnTo>
                  <a:pt x="1259632" y="262632"/>
                </a:lnTo>
                <a:lnTo>
                  <a:pt x="1259632" y="255909"/>
                </a:lnTo>
                <a:lnTo>
                  <a:pt x="1261441" y="246949"/>
                </a:lnTo>
                <a:lnTo>
                  <a:pt x="1261441" y="91699"/>
                </a:lnTo>
                <a:cubicBezTo>
                  <a:pt x="1264629" y="40239"/>
                  <a:pt x="1260136" y="0"/>
                  <a:pt x="1360291"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latshållare för sidfot 4"/>
          <p:cNvSpPr txBox="1">
            <a:spLocks/>
          </p:cNvSpPr>
          <p:nvPr userDrawn="1"/>
        </p:nvSpPr>
        <p:spPr>
          <a:xfrm>
            <a:off x="1696175" y="6269050"/>
            <a:ext cx="2895600" cy="365125"/>
          </a:xfrm>
          <a:prstGeom prst="rect">
            <a:avLst/>
          </a:prstGeom>
        </p:spPr>
        <p:txBody>
          <a:bodyPr lIns="0" tIns="0" rIns="0" bIns="0" anchor="t"/>
          <a:lstStyle>
            <a:defPPr>
              <a:defRPr lang="sv-SE"/>
            </a:defPPr>
            <a:lvl1pPr marL="0" algn="l" defTabSz="912931" rtl="0" eaLnBrk="1" latinLnBrk="0" hangingPunct="1">
              <a:lnSpc>
                <a:spcPts val="899"/>
              </a:lnSpc>
              <a:defRPr sz="700" b="1" kern="1200" cap="all" baseline="0">
                <a:solidFill>
                  <a:schemeClr val="bg1"/>
                </a:solidFill>
                <a:latin typeface="+mn-lt"/>
                <a:ea typeface="+mn-ea"/>
                <a:cs typeface="+mn-cs"/>
              </a:defRPr>
            </a:lvl1pPr>
            <a:lvl2pPr marL="456463" algn="l" defTabSz="912931" rtl="0" eaLnBrk="1" latinLnBrk="0" hangingPunct="1">
              <a:defRPr sz="1800" kern="1200">
                <a:solidFill>
                  <a:schemeClr val="tx1"/>
                </a:solidFill>
                <a:latin typeface="+mn-lt"/>
                <a:ea typeface="+mn-ea"/>
                <a:cs typeface="+mn-cs"/>
              </a:defRPr>
            </a:lvl2pPr>
            <a:lvl3pPr marL="912931" algn="l" defTabSz="912931" rtl="0" eaLnBrk="1" latinLnBrk="0" hangingPunct="1">
              <a:defRPr sz="1800" kern="1200">
                <a:solidFill>
                  <a:schemeClr val="tx1"/>
                </a:solidFill>
                <a:latin typeface="+mn-lt"/>
                <a:ea typeface="+mn-ea"/>
                <a:cs typeface="+mn-cs"/>
              </a:defRPr>
            </a:lvl3pPr>
            <a:lvl4pPr marL="1369397" algn="l" defTabSz="912931" rtl="0" eaLnBrk="1" latinLnBrk="0" hangingPunct="1">
              <a:defRPr sz="1800" kern="1200">
                <a:solidFill>
                  <a:schemeClr val="tx1"/>
                </a:solidFill>
                <a:latin typeface="+mn-lt"/>
                <a:ea typeface="+mn-ea"/>
                <a:cs typeface="+mn-cs"/>
              </a:defRPr>
            </a:lvl4pPr>
            <a:lvl5pPr marL="1825862" algn="l" defTabSz="912931" rtl="0" eaLnBrk="1" latinLnBrk="0" hangingPunct="1">
              <a:defRPr sz="1800" kern="1200">
                <a:solidFill>
                  <a:schemeClr val="tx1"/>
                </a:solidFill>
                <a:latin typeface="+mn-lt"/>
                <a:ea typeface="+mn-ea"/>
                <a:cs typeface="+mn-cs"/>
              </a:defRPr>
            </a:lvl5pPr>
            <a:lvl6pPr marL="2282327" algn="l" defTabSz="912931" rtl="0" eaLnBrk="1" latinLnBrk="0" hangingPunct="1">
              <a:defRPr sz="1800" kern="1200">
                <a:solidFill>
                  <a:schemeClr val="tx1"/>
                </a:solidFill>
                <a:latin typeface="+mn-lt"/>
                <a:ea typeface="+mn-ea"/>
                <a:cs typeface="+mn-cs"/>
              </a:defRPr>
            </a:lvl6pPr>
            <a:lvl7pPr marL="2738794" algn="l" defTabSz="912931" rtl="0" eaLnBrk="1" latinLnBrk="0" hangingPunct="1">
              <a:defRPr sz="1800" kern="1200">
                <a:solidFill>
                  <a:schemeClr val="tx1"/>
                </a:solidFill>
                <a:latin typeface="+mn-lt"/>
                <a:ea typeface="+mn-ea"/>
                <a:cs typeface="+mn-cs"/>
              </a:defRPr>
            </a:lvl7pPr>
            <a:lvl8pPr marL="3195260" algn="l" defTabSz="912931" rtl="0" eaLnBrk="1" latinLnBrk="0" hangingPunct="1">
              <a:defRPr sz="1800" kern="1200">
                <a:solidFill>
                  <a:schemeClr val="tx1"/>
                </a:solidFill>
                <a:latin typeface="+mn-lt"/>
                <a:ea typeface="+mn-ea"/>
                <a:cs typeface="+mn-cs"/>
              </a:defRPr>
            </a:lvl8pPr>
            <a:lvl9pPr marL="3651726" algn="l" defTabSz="912931" rtl="0" eaLnBrk="1" latinLnBrk="0" hangingPunct="1">
              <a:defRPr sz="1800" kern="1200">
                <a:solidFill>
                  <a:schemeClr val="tx1"/>
                </a:solidFill>
                <a:latin typeface="+mn-lt"/>
                <a:ea typeface="+mn-ea"/>
                <a:cs typeface="+mn-cs"/>
              </a:defRPr>
            </a:lvl9pPr>
          </a:lstStyle>
          <a:p>
            <a:endParaRPr lang="sv-SE" dirty="0"/>
          </a:p>
        </p:txBody>
      </p:sp>
    </p:spTree>
    <p:extLst>
      <p:ext uri="{BB962C8B-B14F-4D97-AF65-F5344CB8AC3E}">
        <p14:creationId xmlns:p14="http://schemas.microsoft.com/office/powerpoint/2010/main" val="2341337694"/>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 id="2147483741" r:id="rId8"/>
    <p:sldLayoutId id="2147483742" r:id="rId9"/>
    <p:sldLayoutId id="2147483743" r:id="rId10"/>
    <p:sldLayoutId id="2147483744" r:id="rId11"/>
  </p:sldLayoutIdLst>
  <p:hf hdr="0"/>
  <p:txStyles>
    <p:titleStyle>
      <a:lvl1pPr algn="l" defTabSz="914400" rtl="0" eaLnBrk="1" latinLnBrk="0" hangingPunct="1">
        <a:lnSpc>
          <a:spcPts val="3000"/>
        </a:lnSpc>
        <a:spcBef>
          <a:spcPct val="0"/>
        </a:spcBef>
        <a:buNone/>
        <a:defRPr sz="2600" b="1" kern="1200">
          <a:solidFill>
            <a:schemeClr val="tx1"/>
          </a:solidFill>
          <a:latin typeface="+mj-lt"/>
          <a:ea typeface="+mj-ea"/>
          <a:cs typeface="+mj-cs"/>
        </a:defRPr>
      </a:lvl1pPr>
    </p:titleStyle>
    <p:bodyStyle>
      <a:lvl1pPr marL="0" indent="0" algn="l" defTabSz="914400" rtl="0" eaLnBrk="1" latinLnBrk="0" hangingPunct="1">
        <a:lnSpc>
          <a:spcPct val="100000"/>
        </a:lnSpc>
        <a:spcBef>
          <a:spcPct val="20000"/>
        </a:spcBef>
        <a:buFont typeface="Arial" pitchFamily="34" charset="0"/>
        <a:buNone/>
        <a:defRPr sz="2000" kern="1200">
          <a:solidFill>
            <a:schemeClr val="tx1"/>
          </a:solidFill>
          <a:latin typeface="+mn-lt"/>
          <a:ea typeface="+mn-ea"/>
          <a:cs typeface="+mn-cs"/>
        </a:defRPr>
      </a:lvl1pPr>
      <a:lvl2pPr marL="355600" indent="-355600" algn="l" defTabSz="914400"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2pPr>
      <a:lvl3pPr marL="723900" indent="-368300" algn="l" defTabSz="914400"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3pPr>
      <a:lvl4pPr marL="1076325" indent="-352425" algn="l" defTabSz="914400"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4pPr>
      <a:lvl5pPr marL="1535113" indent="-457200" algn="l" defTabSz="914400"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www.kth.se/profile/luigiv/"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9.xml"/><Relationship Id="rId1" Type="http://schemas.openxmlformats.org/officeDocument/2006/relationships/slideLayout" Target="../slideLayouts/slideLayout3.xml"/><Relationship Id="rId4" Type="http://schemas.openxmlformats.org/officeDocument/2006/relationships/image" Target="../media/image17.png"/></Relationships>
</file>

<file path=ppt/slides/_rels/slide1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2.xml"/><Relationship Id="rId1" Type="http://schemas.openxmlformats.org/officeDocument/2006/relationships/slideLayout" Target="../slideLayouts/slideLayout3.xml"/><Relationship Id="rId4" Type="http://schemas.openxmlformats.org/officeDocument/2006/relationships/image" Target="../media/image20.png"/></Relationships>
</file>

<file path=ppt/slides/_rels/slide1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3.xml"/><Relationship Id="rId1" Type="http://schemas.openxmlformats.org/officeDocument/2006/relationships/slideLayout" Target="../slideLayouts/slideLayout3.xml"/><Relationship Id="rId4" Type="http://schemas.openxmlformats.org/officeDocument/2006/relationships/image" Target="../media/image22.png"/></Relationships>
</file>

<file path=ppt/slides/_rels/slide1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4.xml"/><Relationship Id="rId1" Type="http://schemas.openxmlformats.org/officeDocument/2006/relationships/slideLayout" Target="../slideLayouts/slideLayout3.xml"/><Relationship Id="rId4" Type="http://schemas.openxmlformats.org/officeDocument/2006/relationships/image" Target="../media/image24.png"/></Relationships>
</file>

<file path=ppt/slides/_rels/slide1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5.xml"/><Relationship Id="rId1" Type="http://schemas.openxmlformats.org/officeDocument/2006/relationships/slideLayout" Target="../slideLayouts/slideLayout3.xml"/><Relationship Id="rId4" Type="http://schemas.openxmlformats.org/officeDocument/2006/relationships/image" Target="../media/image24.png"/></Relationships>
</file>

<file path=ppt/slides/_rels/slide1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3.xml"/><Relationship Id="rId5" Type="http://schemas.openxmlformats.org/officeDocument/2006/relationships/image" Target="../media/image6.png"/><Relationship Id="rId4" Type="http://schemas.openxmlformats.org/officeDocument/2006/relationships/image" Target="../media/image4.png"/></Relationships>
</file>

<file path=ppt/slides/_rels/slide20.xml.rels><?xml version="1.0" encoding="UTF-8" standalone="yes"?>
<Relationships xmlns="http://schemas.openxmlformats.org/package/2006/relationships"><Relationship Id="rId3" Type="http://schemas.openxmlformats.org/officeDocument/2006/relationships/image" Target="../media/image250.png"/><Relationship Id="rId2" Type="http://schemas.openxmlformats.org/officeDocument/2006/relationships/notesSlide" Target="../notesSlides/notesSlide17.xml"/><Relationship Id="rId1" Type="http://schemas.openxmlformats.org/officeDocument/2006/relationships/slideLayout" Target="../slideLayouts/slideLayout3.xml"/><Relationship Id="rId4" Type="http://schemas.openxmlformats.org/officeDocument/2006/relationships/image" Target="../media/image27.png"/></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8.xml"/><Relationship Id="rId1" Type="http://schemas.openxmlformats.org/officeDocument/2006/relationships/slideLayout" Target="../slideLayouts/slideLayout3.xml"/><Relationship Id="rId4" Type="http://schemas.openxmlformats.org/officeDocument/2006/relationships/image" Target="../media/image29.png"/></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9.xml"/><Relationship Id="rId1" Type="http://schemas.openxmlformats.org/officeDocument/2006/relationships/slideLayout" Target="../slideLayouts/slideLayout3.xml"/><Relationship Id="rId4" Type="http://schemas.openxmlformats.org/officeDocument/2006/relationships/image" Target="../media/image19.png"/></Relationships>
</file>

<file path=ppt/slides/_rels/slide2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0.xml"/><Relationship Id="rId1" Type="http://schemas.openxmlformats.org/officeDocument/2006/relationships/slideLayout" Target="../slideLayouts/slideLayout3.xml"/><Relationship Id="rId4" Type="http://schemas.openxmlformats.org/officeDocument/2006/relationships/image" Target="../media/image32.png"/></Relationships>
</file>

<file path=ppt/slides/_rels/slide2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1.xml"/><Relationship Id="rId1" Type="http://schemas.openxmlformats.org/officeDocument/2006/relationships/slideLayout" Target="../slideLayouts/slideLayout3.xml"/><Relationship Id="rId5" Type="http://schemas.openxmlformats.org/officeDocument/2006/relationships/image" Target="../media/image34.png"/><Relationship Id="rId4" Type="http://schemas.openxmlformats.org/officeDocument/2006/relationships/image" Target="../media/image38.png"/></Relationships>
</file>

<file path=ppt/slides/_rels/slide2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image" Target="../media/image360.png"/><Relationship Id="rId2" Type="http://schemas.openxmlformats.org/officeDocument/2006/relationships/notesSlide" Target="../notesSlides/notesSlide23.xml"/><Relationship Id="rId1" Type="http://schemas.openxmlformats.org/officeDocument/2006/relationships/slideLayout" Target="../slideLayouts/slideLayout3.xml"/><Relationship Id="rId5" Type="http://schemas.openxmlformats.org/officeDocument/2006/relationships/image" Target="../media/image300.png"/><Relationship Id="rId4" Type="http://schemas.openxmlformats.org/officeDocument/2006/relationships/image" Target="../media/image290.png"/></Relationships>
</file>

<file path=ppt/slides/_rels/slide2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4.xml"/><Relationship Id="rId1" Type="http://schemas.openxmlformats.org/officeDocument/2006/relationships/slideLayout" Target="../slideLayouts/slideLayout3.xml"/><Relationship Id="rId5" Type="http://schemas.openxmlformats.org/officeDocument/2006/relationships/image" Target="../media/image39.png"/><Relationship Id="rId4" Type="http://schemas.openxmlformats.org/officeDocument/2006/relationships/image" Target="../media/image37.png"/></Relationships>
</file>

<file path=ppt/slides/_rels/slide2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5.xml"/><Relationship Id="rId1" Type="http://schemas.openxmlformats.org/officeDocument/2006/relationships/slideLayout" Target="../slideLayouts/slideLayout3.xml"/><Relationship Id="rId4" Type="http://schemas.openxmlformats.org/officeDocument/2006/relationships/image" Target="../media/image41.png"/></Relationships>
</file>

<file path=ppt/slides/_rels/slide29.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s://github.com/SmarTS-Lab/OpenIPSL/releases/tag/Tuto_PTI_Brazil_17" TargetMode="External"/><Relationship Id="rId1" Type="http://schemas.openxmlformats.org/officeDocument/2006/relationships/slideLayout" Target="../slideLayouts/slideLayout22.xml"/><Relationship Id="rId4" Type="http://schemas.openxmlformats.org/officeDocument/2006/relationships/image" Target="../media/image7.png"/></Relationships>
</file>

<file path=ppt/slides/_rels/slide30.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8.xml"/><Relationship Id="rId1" Type="http://schemas.openxmlformats.org/officeDocument/2006/relationships/slideLayout" Target="../slideLayouts/slideLayout3.xml"/><Relationship Id="rId4" Type="http://schemas.openxmlformats.org/officeDocument/2006/relationships/image" Target="../media/image45.png"/></Relationships>
</file>

<file path=ppt/slides/_rels/slide32.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30.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31.xml"/><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32.xml"/><Relationship Id="rId1" Type="http://schemas.openxmlformats.org/officeDocument/2006/relationships/slideLayout" Target="../slideLayouts/slideLayout3.xml"/><Relationship Id="rId4" Type="http://schemas.openxmlformats.org/officeDocument/2006/relationships/image" Target="../media/image50.png"/></Relationships>
</file>

<file path=ppt/slides/_rels/slide3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33.xml"/><Relationship Id="rId1" Type="http://schemas.openxmlformats.org/officeDocument/2006/relationships/slideLayout" Target="../slideLayouts/slideLayout3.xml"/><Relationship Id="rId5" Type="http://schemas.openxmlformats.org/officeDocument/2006/relationships/image" Target="../media/image53.png"/><Relationship Id="rId4" Type="http://schemas.openxmlformats.org/officeDocument/2006/relationships/image" Target="../media/image52.png"/></Relationships>
</file>

<file path=ppt/slides/_rels/slide3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34.xml"/><Relationship Id="rId1" Type="http://schemas.openxmlformats.org/officeDocument/2006/relationships/slideLayout" Target="../slideLayouts/slideLayout3.xml"/><Relationship Id="rId5" Type="http://schemas.openxmlformats.org/officeDocument/2006/relationships/image" Target="../media/image56.png"/><Relationship Id="rId4" Type="http://schemas.openxmlformats.org/officeDocument/2006/relationships/image" Target="../media/image55.png"/></Relationships>
</file>

<file path=ppt/slides/_rels/slide38.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35.xml"/><Relationship Id="rId1" Type="http://schemas.openxmlformats.org/officeDocument/2006/relationships/slideLayout" Target="../slideLayouts/slideLayout3.xml"/><Relationship Id="rId4" Type="http://schemas.openxmlformats.org/officeDocument/2006/relationships/image" Target="../media/image58.png"/></Relationships>
</file>

<file path=ppt/slides/_rels/slide39.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36.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22.xml"/></Relationships>
</file>

<file path=ppt/slides/_rels/slide40.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37.xml"/><Relationship Id="rId1" Type="http://schemas.openxmlformats.org/officeDocument/2006/relationships/slideLayout" Target="../slideLayouts/slideLayout3.xml"/><Relationship Id="rId4" Type="http://schemas.openxmlformats.org/officeDocument/2006/relationships/image" Target="../media/image61.png"/></Relationships>
</file>

<file path=ppt/slides/_rels/slide41.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38.xml"/><Relationship Id="rId1" Type="http://schemas.openxmlformats.org/officeDocument/2006/relationships/slideLayout" Target="../slideLayouts/slideLayout3.xml"/><Relationship Id="rId4" Type="http://schemas.openxmlformats.org/officeDocument/2006/relationships/image" Target="../media/image63.png"/></Relationships>
</file>

<file path=ppt/slides/_rels/slide42.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39.xml"/><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40.xml"/><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41.xml"/><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42.xml"/><Relationship Id="rId1" Type="http://schemas.openxmlformats.org/officeDocument/2006/relationships/slideLayout" Target="../slideLayouts/slideLayout3.xml"/><Relationship Id="rId4" Type="http://schemas.openxmlformats.org/officeDocument/2006/relationships/image" Target="../media/image68.png"/></Relationships>
</file>

<file path=ppt/slides/_rels/slide46.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43.xml"/><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44.xml"/><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45.xml"/><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46.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png"/><Relationship Id="rId1" Type="http://schemas.openxmlformats.org/officeDocument/2006/relationships/slideLayout" Target="../slideLayouts/slideLayout22.xml"/></Relationships>
</file>

<file path=ppt/slides/_rels/slide50.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47.xml"/><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48.xml"/><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3" Type="http://schemas.openxmlformats.org/officeDocument/2006/relationships/image" Target="../media/image530.png"/><Relationship Id="rId2" Type="http://schemas.openxmlformats.org/officeDocument/2006/relationships/notesSlide" Target="../notesSlides/notesSlide49.xml"/><Relationship Id="rId1" Type="http://schemas.openxmlformats.org/officeDocument/2006/relationships/slideLayout" Target="../slideLayouts/slideLayout3.xml"/><Relationship Id="rId4" Type="http://schemas.openxmlformats.org/officeDocument/2006/relationships/image" Target="../media/image71.png"/></Relationships>
</file>

<file path=ppt/slides/_rels/slide53.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50.xml"/><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51.xml"/><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52.xml"/><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53.xml"/><Relationship Id="rId1" Type="http://schemas.openxmlformats.org/officeDocument/2006/relationships/slideLayout" Target="../slideLayouts/slideLayout3.xml"/><Relationship Id="rId4" Type="http://schemas.openxmlformats.org/officeDocument/2006/relationships/image" Target="../media/image61.png"/></Relationships>
</file>

<file path=ppt/slides/_rels/slide57.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54.xml"/><Relationship Id="rId1" Type="http://schemas.openxmlformats.org/officeDocument/2006/relationships/slideLayout" Target="../slideLayouts/slideLayout3.xml"/><Relationship Id="rId4" Type="http://schemas.openxmlformats.org/officeDocument/2006/relationships/image" Target="../media/image76.png"/></Relationships>
</file>

<file path=ppt/slides/_rels/slide58.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55.xml"/><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56.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60.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57.xml"/><Relationship Id="rId1" Type="http://schemas.openxmlformats.org/officeDocument/2006/relationships/slideLayout" Target="../slideLayouts/slideLayout3.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3.xml"/></Relationships>
</file>

<file path=ppt/slides/_rels/slide62.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59.xml"/><Relationship Id="rId1" Type="http://schemas.openxmlformats.org/officeDocument/2006/relationships/slideLayout" Target="../slideLayouts/slideLayout3.xml"/></Relationships>
</file>

<file path=ppt/slides/_rels/slide63.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60.xml"/><Relationship Id="rId1" Type="http://schemas.openxmlformats.org/officeDocument/2006/relationships/slideLayout" Target="../slideLayouts/slideLayout3.xml"/></Relationships>
</file>

<file path=ppt/slides/_rels/slide64.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61.xml"/><Relationship Id="rId1" Type="http://schemas.openxmlformats.org/officeDocument/2006/relationships/slideLayout" Target="../slideLayouts/slideLayout3.xml"/></Relationships>
</file>

<file path=ppt/slides/_rels/slide6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png"/><Relationship Id="rId1" Type="http://schemas.openxmlformats.org/officeDocument/2006/relationships/slideLayout" Target="../slideLayouts/slideLayout3.xml"/></Relationships>
</file>

<file path=ppt/slides/_rels/slide66.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5.png"/><Relationship Id="rId1" Type="http://schemas.openxmlformats.org/officeDocument/2006/relationships/slideLayout" Target="../slideLayouts/slideLayout3.xml"/><Relationship Id="rId5" Type="http://schemas.openxmlformats.org/officeDocument/2006/relationships/image" Target="../media/image83.png"/><Relationship Id="rId4" Type="http://schemas.openxmlformats.org/officeDocument/2006/relationships/image" Target="../media/image82.png"/></Relationships>
</file>

<file path=ppt/slides/_rels/slide67.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5.png"/><Relationship Id="rId1" Type="http://schemas.openxmlformats.org/officeDocument/2006/relationships/slideLayout" Target="../slideLayouts/slideLayout3.xml"/><Relationship Id="rId5" Type="http://schemas.openxmlformats.org/officeDocument/2006/relationships/image" Target="../media/image86.png"/><Relationship Id="rId4" Type="http://schemas.openxmlformats.org/officeDocument/2006/relationships/image" Target="../media/image85.jpeg"/></Relationships>
</file>

<file path=ppt/slides/_rels/slide68.xml.rels><?xml version="1.0" encoding="UTF-8" standalone="yes"?>
<Relationships xmlns="http://schemas.openxmlformats.org/package/2006/relationships"><Relationship Id="rId8" Type="http://schemas.openxmlformats.org/officeDocument/2006/relationships/image" Target="../media/image92.jpeg"/><Relationship Id="rId13" Type="http://schemas.openxmlformats.org/officeDocument/2006/relationships/image" Target="../media/image97.png"/><Relationship Id="rId3" Type="http://schemas.openxmlformats.org/officeDocument/2006/relationships/image" Target="../media/image87.jpeg"/><Relationship Id="rId7" Type="http://schemas.openxmlformats.org/officeDocument/2006/relationships/image" Target="../media/image91.jpg"/><Relationship Id="rId12" Type="http://schemas.openxmlformats.org/officeDocument/2006/relationships/image" Target="../media/image96.jpeg"/><Relationship Id="rId2" Type="http://schemas.openxmlformats.org/officeDocument/2006/relationships/notesSlide" Target="../notesSlides/notesSlide62.xml"/><Relationship Id="rId1" Type="http://schemas.openxmlformats.org/officeDocument/2006/relationships/slideLayout" Target="../slideLayouts/slideLayout3.xml"/><Relationship Id="rId6" Type="http://schemas.openxmlformats.org/officeDocument/2006/relationships/image" Target="../media/image90.jpg"/><Relationship Id="rId11" Type="http://schemas.openxmlformats.org/officeDocument/2006/relationships/image" Target="../media/image95.jpg"/><Relationship Id="rId5" Type="http://schemas.openxmlformats.org/officeDocument/2006/relationships/image" Target="../media/image89.jpeg"/><Relationship Id="rId10" Type="http://schemas.openxmlformats.org/officeDocument/2006/relationships/image" Target="../media/image94.png"/><Relationship Id="rId4" Type="http://schemas.openxmlformats.org/officeDocument/2006/relationships/image" Target="../media/image88.jpeg"/><Relationship Id="rId9" Type="http://schemas.openxmlformats.org/officeDocument/2006/relationships/image" Target="../media/image93.jpg"/><Relationship Id="rId14" Type="http://schemas.openxmlformats.org/officeDocument/2006/relationships/image" Target="../media/image98.jpeg"/></Relationships>
</file>

<file path=ppt/slides/_rels/slide6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63.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70.xml.rels><?xml version="1.0" encoding="UTF-8" standalone="yes"?>
<Relationships xmlns="http://schemas.openxmlformats.org/package/2006/relationships"><Relationship Id="rId2" Type="http://schemas.openxmlformats.org/officeDocument/2006/relationships/image" Target="../media/image99.tiff"/><Relationship Id="rId1" Type="http://schemas.openxmlformats.org/officeDocument/2006/relationships/slideLayout" Target="../slideLayouts/slideLayout14.xml"/></Relationships>
</file>

<file path=ppt/slides/_rels/slide71.xml.rels><?xml version="1.0" encoding="UTF-8" standalone="yes"?>
<Relationships xmlns="http://schemas.openxmlformats.org/package/2006/relationships"><Relationship Id="rId3" Type="http://schemas.openxmlformats.org/officeDocument/2006/relationships/image" Target="../media/image100.tiff"/><Relationship Id="rId2" Type="http://schemas.openxmlformats.org/officeDocument/2006/relationships/image" Target="../media/image5.png"/><Relationship Id="rId1" Type="http://schemas.openxmlformats.org/officeDocument/2006/relationships/slideLayout" Target="../slideLayouts/slideLayout14.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73.xml.rels><?xml version="1.0" encoding="UTF-8" standalone="yes"?>
<Relationships xmlns="http://schemas.openxmlformats.org/package/2006/relationships"><Relationship Id="rId3" Type="http://schemas.openxmlformats.org/officeDocument/2006/relationships/hyperlink" Target="https://build.openmodelica.org/omc/builds/mac/binaries/latest-release-1.9.6.mpkg" TargetMode="External"/><Relationship Id="rId2" Type="http://schemas.openxmlformats.org/officeDocument/2006/relationships/hyperlink" Target="https://build.openmodelica.org/omc/builds/windows/releases/1.9.6/OpenModelica-v1.9.6.exe" TargetMode="External"/><Relationship Id="rId1" Type="http://schemas.openxmlformats.org/officeDocument/2006/relationships/slideLayout" Target="../slideLayouts/slideLayout14.xml"/><Relationship Id="rId4" Type="http://schemas.openxmlformats.org/officeDocument/2006/relationships/image" Target="../media/image100.tiff"/></Relationships>
</file>

<file path=ppt/slides/_rels/slide74.xml.rels><?xml version="1.0" encoding="UTF-8" standalone="yes"?>
<Relationships xmlns="http://schemas.openxmlformats.org/package/2006/relationships"><Relationship Id="rId2" Type="http://schemas.openxmlformats.org/officeDocument/2006/relationships/image" Target="../media/image101.tiff"/><Relationship Id="rId1" Type="http://schemas.openxmlformats.org/officeDocument/2006/relationships/slideLayout" Target="../slideLayouts/slideLayout14.xml"/></Relationships>
</file>

<file path=ppt/slides/_rels/slide75.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Layout" Target="../slideLayouts/slideLayout14.xml"/></Relationships>
</file>

<file path=ppt/slides/_rels/slide76.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Layout" Target="../slideLayouts/slideLayout14.xml"/></Relationships>
</file>

<file path=ppt/slides/_rels/slide77.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image" Target="../media/image104.png"/><Relationship Id="rId1" Type="http://schemas.openxmlformats.org/officeDocument/2006/relationships/slideLayout" Target="../slideLayouts/slideLayout14.xml"/></Relationships>
</file>

<file path=ppt/slides/_rels/slide78.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106.png"/><Relationship Id="rId1" Type="http://schemas.openxmlformats.org/officeDocument/2006/relationships/slideLayout" Target="../slideLayouts/slideLayout14.xml"/></Relationships>
</file>

<file path=ppt/slides/_rels/slide79.xml.rels><?xml version="1.0" encoding="UTF-8" standalone="yes"?>
<Relationships xmlns="http://schemas.openxmlformats.org/package/2006/relationships"><Relationship Id="rId2" Type="http://schemas.openxmlformats.org/officeDocument/2006/relationships/image" Target="../media/image108.png"/><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80.xml.rels><?xml version="1.0" encoding="UTF-8" standalone="yes"?>
<Relationships xmlns="http://schemas.openxmlformats.org/package/2006/relationships"><Relationship Id="rId2" Type="http://schemas.openxmlformats.org/officeDocument/2006/relationships/image" Target="../media/image109.png"/><Relationship Id="rId1" Type="http://schemas.openxmlformats.org/officeDocument/2006/relationships/slideLayout" Target="../slideLayouts/slideLayout14.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8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s://github.com/SmarTS-Lab/OpenIPSL/releases/tag/Tuto_PTI_Brazil_17" TargetMode="External"/><Relationship Id="rId1" Type="http://schemas.openxmlformats.org/officeDocument/2006/relationships/slideLayout" Target="../slideLayouts/slideLayout14.xml"/><Relationship Id="rId4" Type="http://schemas.openxmlformats.org/officeDocument/2006/relationships/image" Target="../media/image110.png"/></Relationships>
</file>

<file path=ppt/slides/_rels/slide83.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image" Target="../media/image9.png"/><Relationship Id="rId1" Type="http://schemas.openxmlformats.org/officeDocument/2006/relationships/slideLayout" Target="../slideLayouts/slideLayout14.xml"/></Relationships>
</file>

<file path=ppt/slides/_rels/slide8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2.png"/><Relationship Id="rId1" Type="http://schemas.openxmlformats.org/officeDocument/2006/relationships/slideLayout" Target="../slideLayouts/slideLayout14.xml"/></Relationships>
</file>

<file path=ppt/slides/_rels/slide85.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image" Target="../media/image113.png"/><Relationship Id="rId1" Type="http://schemas.openxmlformats.org/officeDocument/2006/relationships/slideLayout" Target="../slideLayouts/slideLayout14.xml"/></Relationships>
</file>

<file path=ppt/slides/_rels/slide86.xml.rels><?xml version="1.0" encoding="UTF-8" standalone="yes"?>
<Relationships xmlns="http://schemas.openxmlformats.org/package/2006/relationships"><Relationship Id="rId2" Type="http://schemas.openxmlformats.org/officeDocument/2006/relationships/image" Target="../media/image115.png"/><Relationship Id="rId1" Type="http://schemas.openxmlformats.org/officeDocument/2006/relationships/slideLayout" Target="../slideLayouts/slideLayout14.xml"/></Relationships>
</file>

<file path=ppt/slides/_rels/slide87.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hyperlink" Target="http://openipsl.readthedocs.io/en/latest/index.html" TargetMode="External"/><Relationship Id="rId1" Type="http://schemas.openxmlformats.org/officeDocument/2006/relationships/slideLayout" Target="../slideLayouts/slideLayout14.xml"/></Relationships>
</file>

<file path=ppt/slides/_rels/slide88.xml.rels><?xml version="1.0" encoding="UTF-8" standalone="yes"?>
<Relationships xmlns="http://schemas.openxmlformats.org/package/2006/relationships"><Relationship Id="rId2" Type="http://schemas.openxmlformats.org/officeDocument/2006/relationships/image" Target="../media/image117.tiff"/><Relationship Id="rId1" Type="http://schemas.openxmlformats.org/officeDocument/2006/relationships/slideLayout" Target="../slideLayouts/slideLayout22.xml"/></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1"/>
          <p:cNvSpPr>
            <a:spLocks noGrp="1"/>
          </p:cNvSpPr>
          <p:nvPr>
            <p:ph type="ctrTitle"/>
          </p:nvPr>
        </p:nvSpPr>
        <p:spPr bwMode="auto">
          <a:xfrm>
            <a:off x="876209" y="1382911"/>
            <a:ext cx="7772400" cy="1470025"/>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rmAutofit/>
          </a:bodyPr>
          <a:lstStyle/>
          <a:p>
            <a:pPr algn="ctr" eaLnBrk="1" hangingPunct="1"/>
            <a:r>
              <a:rPr lang="en-US" altLang="sv-SE" sz="4800" b="0" dirty="0" err="1">
                <a:ea typeface="Geneva"/>
                <a:cs typeface="Geneva"/>
              </a:rPr>
              <a:t>OpenIPSL</a:t>
            </a:r>
            <a:r>
              <a:rPr lang="en-US" altLang="sv-SE" sz="4800" b="0" dirty="0">
                <a:ea typeface="Geneva"/>
                <a:cs typeface="Geneva"/>
              </a:rPr>
              <a:t> Tutorial</a:t>
            </a:r>
            <a:br>
              <a:rPr lang="en-US" altLang="sv-SE" sz="4800" dirty="0">
                <a:ea typeface="Geneva"/>
                <a:cs typeface="Geneva"/>
              </a:rPr>
            </a:br>
            <a:r>
              <a:rPr lang="en-US" altLang="sv-SE" sz="1800" b="0" dirty="0">
                <a:ea typeface="Geneva"/>
                <a:cs typeface="Geneva"/>
              </a:rPr>
              <a:t>A Modelica Library for Power Systems Simulation</a:t>
            </a:r>
            <a:endParaRPr lang="en-US" altLang="sv-SE" sz="1800" dirty="0">
              <a:ea typeface="Geneva"/>
              <a:cs typeface="Geneva"/>
            </a:endParaRPr>
          </a:p>
        </p:txBody>
      </p:sp>
      <p:sp>
        <p:nvSpPr>
          <p:cNvPr id="7" name="Sous-titre 2"/>
          <p:cNvSpPr>
            <a:spLocks noGrp="1"/>
          </p:cNvSpPr>
          <p:nvPr>
            <p:ph type="subTitle" idx="1"/>
          </p:nvPr>
        </p:nvSpPr>
        <p:spPr bwMode="auto">
          <a:xfrm>
            <a:off x="190409" y="2420888"/>
            <a:ext cx="9144000" cy="1752600"/>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eaLnBrk="1" hangingPunct="1"/>
            <a:r>
              <a:rPr lang="en-US" sz="2800" dirty="0">
                <a:solidFill>
                  <a:srgbClr val="898989"/>
                </a:solidFill>
              </a:rPr>
              <a:t>Assoc. Prof. </a:t>
            </a:r>
            <a:r>
              <a:rPr lang="en-US" sz="2800" b="1" dirty="0">
                <a:solidFill>
                  <a:srgbClr val="898989"/>
                </a:solidFill>
              </a:rPr>
              <a:t>Luigi </a:t>
            </a:r>
            <a:r>
              <a:rPr lang="en-US" sz="2800" b="1" dirty="0" err="1">
                <a:solidFill>
                  <a:srgbClr val="898989"/>
                </a:solidFill>
              </a:rPr>
              <a:t>Vanfretti</a:t>
            </a:r>
            <a:endParaRPr lang="en-US" sz="2800" b="1" dirty="0">
              <a:solidFill>
                <a:srgbClr val="898989"/>
              </a:solidFill>
            </a:endParaRPr>
          </a:p>
          <a:p>
            <a:pPr algn="ctr"/>
            <a:r>
              <a:rPr lang="en-US" altLang="sv-SE" sz="1800" dirty="0">
                <a:solidFill>
                  <a:srgbClr val="898989"/>
                </a:solidFill>
                <a:ea typeface="Geneva"/>
                <a:cs typeface="Geneva"/>
                <a:hlinkClick r:id="rId3"/>
              </a:rPr>
              <a:t>luigiv@kth.se,</a:t>
            </a:r>
          </a:p>
          <a:p>
            <a:pPr algn="ctr"/>
            <a:r>
              <a:rPr lang="en-US" altLang="sv-SE" sz="1800" dirty="0">
                <a:solidFill>
                  <a:srgbClr val="898989"/>
                </a:solidFill>
                <a:ea typeface="Geneva"/>
                <a:cs typeface="Geneva"/>
                <a:hlinkClick r:id="rId3"/>
              </a:rPr>
              <a:t>https://www.kth.se/profile/luigiv/</a:t>
            </a:r>
            <a:r>
              <a:rPr lang="en-US" altLang="sv-SE" sz="1800" dirty="0">
                <a:solidFill>
                  <a:srgbClr val="898989"/>
                </a:solidFill>
                <a:ea typeface="Geneva"/>
                <a:cs typeface="Geneva"/>
              </a:rPr>
              <a:t> </a:t>
            </a:r>
          </a:p>
          <a:p>
            <a:pPr algn="ctr" eaLnBrk="1" hangingPunct="1"/>
            <a:endParaRPr lang="en-US" altLang="sv-SE" sz="2800" dirty="0">
              <a:solidFill>
                <a:srgbClr val="898989"/>
              </a:solidFill>
              <a:ea typeface="Geneva"/>
              <a:cs typeface="Geneva"/>
            </a:endParaRPr>
          </a:p>
          <a:p>
            <a:pPr algn="ctr" eaLnBrk="1" hangingPunct="1"/>
            <a:endParaRPr lang="en-US" altLang="sv-SE" sz="1000" dirty="0">
              <a:solidFill>
                <a:srgbClr val="898989"/>
              </a:solidFill>
              <a:ea typeface="Geneva"/>
              <a:cs typeface="Geneva"/>
            </a:endParaRPr>
          </a:p>
        </p:txBody>
      </p:sp>
      <p:pic>
        <p:nvPicPr>
          <p:cNvPr id="8" name="Picture 2" descr="C:\Nobackup\Dropbox\Maxime - Luigi\presentations\Material From Luigi\SmarTSLabLogo\smartslab_logo_Transparente.png"/>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l="8981" t="10406" r="9422" b="16975"/>
          <a:stretch/>
        </p:blipFill>
        <p:spPr bwMode="auto">
          <a:xfrm>
            <a:off x="6444208" y="241023"/>
            <a:ext cx="2422204" cy="847669"/>
          </a:xfrm>
          <a:prstGeom prst="rect">
            <a:avLst/>
          </a:prstGeom>
          <a:solidFill>
            <a:schemeClr val="bg1"/>
          </a:solidFill>
          <a:extLst/>
        </p:spPr>
      </p:pic>
    </p:spTree>
    <p:extLst>
      <p:ext uri="{BB962C8B-B14F-4D97-AF65-F5344CB8AC3E}">
        <p14:creationId xmlns:p14="http://schemas.microsoft.com/office/powerpoint/2010/main" val="71708617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r>
              <a:rPr lang="en-US" baseline="30000" dirty="0"/>
              <a:t>*</a:t>
            </a:r>
          </a:p>
        </p:txBody>
      </p:sp>
      <p:sp>
        <p:nvSpPr>
          <p:cNvPr id="8" name="Footer Placeholder 7"/>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10</a:t>
            </a:fld>
            <a:endParaRPr lang="en-US" dirty="0"/>
          </a:p>
        </p:txBody>
      </p:sp>
      <p:sp>
        <p:nvSpPr>
          <p:cNvPr id="6" name="Date Placeholder 5"/>
          <p:cNvSpPr>
            <a:spLocks noGrp="1"/>
          </p:cNvSpPr>
          <p:nvPr>
            <p:ph type="dt" sz="half" idx="12"/>
          </p:nvPr>
        </p:nvSpPr>
        <p:spPr/>
        <p:txBody>
          <a:bodyPr/>
          <a:lstStyle/>
          <a:p>
            <a:r>
              <a:rPr lang="sv-SE"/>
              <a:t>2016-11-20</a:t>
            </a:r>
          </a:p>
        </p:txBody>
      </p:sp>
      <p:sp>
        <p:nvSpPr>
          <p:cNvPr id="9" name="Content Placeholder 8"/>
          <p:cNvSpPr>
            <a:spLocks noGrp="1"/>
          </p:cNvSpPr>
          <p:nvPr>
            <p:ph idx="1"/>
          </p:nvPr>
        </p:nvSpPr>
        <p:spPr/>
        <p:txBody>
          <a:bodyPr>
            <a:normAutofit fontScale="92500" lnSpcReduction="20000"/>
          </a:bodyPr>
          <a:lstStyle/>
          <a:p>
            <a:pPr marL="285750" indent="-285750">
              <a:spcBef>
                <a:spcPts val="600"/>
              </a:spcBef>
              <a:spcAft>
                <a:spcPts val="1200"/>
              </a:spcAft>
              <a:buFont typeface="Arial" charset="0"/>
              <a:buChar char="•"/>
            </a:pPr>
            <a:endParaRPr lang="en-US" dirty="0"/>
          </a:p>
          <a:p>
            <a:pPr marL="285750" indent="-285750">
              <a:spcBef>
                <a:spcPts val="600"/>
              </a:spcBef>
              <a:spcAft>
                <a:spcPts val="1200"/>
              </a:spcAft>
              <a:buFont typeface="Arial" charset="0"/>
              <a:buChar char="•"/>
            </a:pPr>
            <a:endParaRPr lang="en-US" dirty="0"/>
          </a:p>
          <a:p>
            <a:pPr marL="285750" indent="-285750">
              <a:spcBef>
                <a:spcPts val="600"/>
              </a:spcBef>
              <a:spcAft>
                <a:spcPts val="1200"/>
              </a:spcAft>
              <a:buFont typeface="Arial" charset="0"/>
              <a:buChar char="•"/>
            </a:pPr>
            <a:endParaRPr lang="en-US" dirty="0"/>
          </a:p>
          <a:p>
            <a:pPr marL="285750" indent="-285750">
              <a:spcBef>
                <a:spcPts val="600"/>
              </a:spcBef>
              <a:spcAft>
                <a:spcPts val="1200"/>
              </a:spcAft>
              <a:buFont typeface="Arial" charset="0"/>
              <a:buChar char="•"/>
            </a:pPr>
            <a:endParaRPr lang="en-US" dirty="0"/>
          </a:p>
          <a:p>
            <a:pPr marL="285750" indent="-285750">
              <a:spcBef>
                <a:spcPts val="600"/>
              </a:spcBef>
              <a:spcAft>
                <a:spcPts val="1200"/>
              </a:spcAft>
              <a:buFont typeface="Arial" charset="0"/>
              <a:buChar char="•"/>
            </a:pPr>
            <a:endParaRPr lang="en-US" dirty="0"/>
          </a:p>
          <a:p>
            <a:pPr marL="285750" indent="-285750">
              <a:spcBef>
                <a:spcPts val="600"/>
              </a:spcBef>
              <a:spcAft>
                <a:spcPts val="1200"/>
              </a:spcAft>
              <a:buFont typeface="Arial" charset="0"/>
              <a:buChar char="•"/>
            </a:pPr>
            <a:r>
              <a:rPr lang="en-US" dirty="0"/>
              <a:t>Single Machine Infinite Bus (SMIB) system</a:t>
            </a:r>
          </a:p>
          <a:p>
            <a:pPr marL="285750" indent="-285750">
              <a:spcBef>
                <a:spcPts val="600"/>
              </a:spcBef>
              <a:spcAft>
                <a:spcPts val="1200"/>
              </a:spcAft>
              <a:buFont typeface="Arial" charset="0"/>
              <a:buChar char="•"/>
            </a:pPr>
            <a:r>
              <a:rPr lang="en-US" dirty="0"/>
              <a:t>Analysis of the transient stability of the system including the effects of rotor circuit dynamics and excitation control</a:t>
            </a:r>
          </a:p>
          <a:p>
            <a:pPr marL="285750" indent="-285750">
              <a:spcBef>
                <a:spcPts val="600"/>
              </a:spcBef>
              <a:spcAft>
                <a:spcPts val="1200"/>
              </a:spcAft>
              <a:buFont typeface="Arial" charset="0"/>
              <a:buChar char="•"/>
            </a:pPr>
            <a:r>
              <a:rPr lang="en-US" dirty="0"/>
              <a:t>Four machines represented by one connected via transformer and parallel lines to the infinite bus</a:t>
            </a:r>
          </a:p>
        </p:txBody>
      </p:sp>
      <p:sp>
        <p:nvSpPr>
          <p:cNvPr id="5" name="TextBox 4"/>
          <p:cNvSpPr txBox="1"/>
          <p:nvPr/>
        </p:nvSpPr>
        <p:spPr>
          <a:xfrm>
            <a:off x="179513" y="6423755"/>
            <a:ext cx="7992888" cy="307777"/>
          </a:xfrm>
          <a:prstGeom prst="rect">
            <a:avLst/>
          </a:prstGeom>
          <a:noFill/>
        </p:spPr>
        <p:txBody>
          <a:bodyPr wrap="square" rtlCol="0">
            <a:spAutoFit/>
          </a:bodyPr>
          <a:lstStyle/>
          <a:p>
            <a:r>
              <a:rPr lang="en-US" sz="1400" baseline="30000" dirty="0">
                <a:solidFill>
                  <a:srgbClr val="FFFFFF"/>
                </a:solidFill>
              </a:rPr>
              <a:t>*</a:t>
            </a:r>
            <a:r>
              <a:rPr lang="en-US" sz="1400" dirty="0">
                <a:solidFill>
                  <a:srgbClr val="FFFFFF"/>
                </a:solidFill>
              </a:rPr>
              <a:t> P. </a:t>
            </a:r>
            <a:r>
              <a:rPr lang="en-US" sz="1400" dirty="0" err="1">
                <a:solidFill>
                  <a:srgbClr val="FFFFFF"/>
                </a:solidFill>
              </a:rPr>
              <a:t>Kundur</a:t>
            </a:r>
            <a:r>
              <a:rPr lang="en-US" sz="1400" dirty="0">
                <a:solidFill>
                  <a:srgbClr val="FFFFFF"/>
                </a:solidFill>
              </a:rPr>
              <a:t>, “Power System Stability and Control”, Example 13.2</a:t>
            </a:r>
          </a:p>
        </p:txBody>
      </p:sp>
      <p:pic>
        <p:nvPicPr>
          <p:cNvPr id="3" name="Picture 2"/>
          <p:cNvPicPr>
            <a:picLocks noChangeAspect="1"/>
          </p:cNvPicPr>
          <p:nvPr/>
        </p:nvPicPr>
        <p:blipFill>
          <a:blip r:embed="rId3"/>
          <a:stretch>
            <a:fillRect/>
          </a:stretch>
        </p:blipFill>
        <p:spPr>
          <a:xfrm>
            <a:off x="1313893" y="1437297"/>
            <a:ext cx="5724128" cy="2282814"/>
          </a:xfrm>
          <a:prstGeom prst="rect">
            <a:avLst/>
          </a:prstGeom>
        </p:spPr>
      </p:pic>
    </p:spTree>
    <p:extLst>
      <p:ext uri="{BB962C8B-B14F-4D97-AF65-F5344CB8AC3E}">
        <p14:creationId xmlns:p14="http://schemas.microsoft.com/office/powerpoint/2010/main" val="122182968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6" name="Footer Placeholder 5"/>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11</a:t>
            </a:fld>
            <a:endParaRPr lang="en-US" dirty="0"/>
          </a:p>
        </p:txBody>
      </p:sp>
      <p:sp>
        <p:nvSpPr>
          <p:cNvPr id="5" name="Date Placeholder 4"/>
          <p:cNvSpPr>
            <a:spLocks noGrp="1"/>
          </p:cNvSpPr>
          <p:nvPr>
            <p:ph type="dt" sz="half" idx="12"/>
          </p:nvPr>
        </p:nvSpPr>
        <p:spPr/>
        <p:txBody>
          <a:bodyPr/>
          <a:lstStyle/>
          <a:p>
            <a:r>
              <a:rPr lang="sv-SE"/>
              <a:t>2016-11-20</a:t>
            </a:r>
          </a:p>
        </p:txBody>
      </p:sp>
      <p:sp>
        <p:nvSpPr>
          <p:cNvPr id="7" name="Content Placeholder 6"/>
          <p:cNvSpPr>
            <a:spLocks noGrp="1"/>
          </p:cNvSpPr>
          <p:nvPr>
            <p:ph idx="1"/>
          </p:nvPr>
        </p:nvSpPr>
        <p:spPr>
          <a:xfrm>
            <a:off x="338964" y="1582739"/>
            <a:ext cx="5169140" cy="4078286"/>
          </a:xfrm>
        </p:spPr>
        <p:txBody>
          <a:bodyPr/>
          <a:lstStyle/>
          <a:p>
            <a:r>
              <a:rPr lang="en-US" b="1" dirty="0"/>
              <a:t>Power flow</a:t>
            </a:r>
          </a:p>
          <a:p>
            <a:pPr marL="285750" indent="-285750">
              <a:spcBef>
                <a:spcPts val="600"/>
              </a:spcBef>
              <a:spcAft>
                <a:spcPts val="600"/>
              </a:spcAft>
              <a:buFont typeface="Arial" charset="0"/>
              <a:buChar char="•"/>
            </a:pPr>
            <a:r>
              <a:rPr lang="en-US" dirty="0"/>
              <a:t>Power flow results were obtained by PSAT</a:t>
            </a:r>
          </a:p>
          <a:p>
            <a:pPr marL="285750" indent="-285750">
              <a:spcBef>
                <a:spcPts val="600"/>
              </a:spcBef>
              <a:spcAft>
                <a:spcPts val="600"/>
              </a:spcAft>
              <a:buFont typeface="Arial" charset="0"/>
              <a:buChar char="•"/>
            </a:pPr>
            <a:r>
              <a:rPr lang="en-US" dirty="0"/>
              <a:t>Prepared Example 1 already exists in PSAT and can be used for power flow calculations and dynamic simulations</a:t>
            </a:r>
          </a:p>
          <a:p>
            <a:pPr marL="285750" indent="-285750">
              <a:spcBef>
                <a:spcPts val="600"/>
              </a:spcBef>
              <a:spcAft>
                <a:spcPts val="600"/>
              </a:spcAft>
              <a:buFont typeface="Arial" charset="0"/>
              <a:buChar char="•"/>
            </a:pPr>
            <a:endParaRPr lang="en-US" dirty="0"/>
          </a:p>
          <a:p>
            <a:endParaRPr lang="en-US" dirty="0"/>
          </a:p>
        </p:txBody>
      </p:sp>
      <p:pic>
        <p:nvPicPr>
          <p:cNvPr id="3" name="Picture 2"/>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5680141" y="1417638"/>
            <a:ext cx="2874898" cy="3922758"/>
          </a:xfrm>
          <a:prstGeom prst="rect">
            <a:avLst/>
          </a:prstGeom>
        </p:spPr>
      </p:pic>
    </p:spTree>
    <p:extLst>
      <p:ext uri="{BB962C8B-B14F-4D97-AF65-F5344CB8AC3E}">
        <p14:creationId xmlns:p14="http://schemas.microsoft.com/office/powerpoint/2010/main" val="105279914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8" name="Footer Placeholder 7"/>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12</a:t>
            </a:fld>
            <a:endParaRPr lang="en-US" dirty="0"/>
          </a:p>
        </p:txBody>
      </p:sp>
      <p:sp>
        <p:nvSpPr>
          <p:cNvPr id="3" name="Date Placeholder 2"/>
          <p:cNvSpPr>
            <a:spLocks noGrp="1"/>
          </p:cNvSpPr>
          <p:nvPr>
            <p:ph type="dt" sz="half" idx="12"/>
          </p:nvPr>
        </p:nvSpPr>
        <p:spPr/>
        <p:txBody>
          <a:bodyPr/>
          <a:lstStyle/>
          <a:p>
            <a:r>
              <a:rPr lang="sv-SE"/>
              <a:t>2016-11-20</a:t>
            </a:r>
          </a:p>
        </p:txBody>
      </p:sp>
      <p:sp>
        <p:nvSpPr>
          <p:cNvPr id="11" name="Content Placeholder 10"/>
          <p:cNvSpPr>
            <a:spLocks noGrp="1"/>
          </p:cNvSpPr>
          <p:nvPr>
            <p:ph idx="1"/>
          </p:nvPr>
        </p:nvSpPr>
        <p:spPr/>
        <p:txBody>
          <a:bodyPr/>
          <a:lstStyle/>
          <a:p>
            <a:r>
              <a:rPr lang="en-US" b="1" dirty="0"/>
              <a:t>Power flow</a:t>
            </a:r>
          </a:p>
          <a:p>
            <a:pPr marL="342900" indent="-342900">
              <a:buFont typeface="Arial" panose="020B0604020202020204" pitchFamily="34" charset="0"/>
              <a:buChar char="•"/>
            </a:pPr>
            <a:r>
              <a:rPr lang="en-US" dirty="0"/>
              <a:t>Example 1 is loaded and the power flow calculations are executed</a:t>
            </a:r>
          </a:p>
          <a:p>
            <a:endParaRPr lang="en-US" dirty="0"/>
          </a:p>
        </p:txBody>
      </p:sp>
      <p:pic>
        <p:nvPicPr>
          <p:cNvPr id="5" name="Picture 4"/>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475456" y="2614451"/>
            <a:ext cx="3331428" cy="2875214"/>
          </a:xfrm>
          <a:prstGeom prst="rect">
            <a:avLst/>
          </a:prstGeom>
        </p:spPr>
      </p:pic>
      <p:pic>
        <p:nvPicPr>
          <p:cNvPr id="6" name="Picture 5"/>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4404866" y="2420888"/>
            <a:ext cx="3736006" cy="3281477"/>
          </a:xfrm>
          <a:prstGeom prst="rect">
            <a:avLst/>
          </a:prstGeom>
        </p:spPr>
      </p:pic>
      <p:sp>
        <p:nvSpPr>
          <p:cNvPr id="7" name="Rectangle 6"/>
          <p:cNvSpPr/>
          <p:nvPr/>
        </p:nvSpPr>
        <p:spPr>
          <a:xfrm>
            <a:off x="5702733" y="4701952"/>
            <a:ext cx="695517" cy="251429"/>
          </a:xfrm>
          <a:prstGeom prst="rect">
            <a:avLst/>
          </a:prstGeom>
          <a:no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 name="Rectangle 9"/>
          <p:cNvSpPr/>
          <p:nvPr/>
        </p:nvSpPr>
        <p:spPr>
          <a:xfrm>
            <a:off x="2763182" y="4554874"/>
            <a:ext cx="901100" cy="314286"/>
          </a:xfrm>
          <a:prstGeom prst="rect">
            <a:avLst/>
          </a:prstGeom>
          <a:no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cxnSp>
        <p:nvCxnSpPr>
          <p:cNvPr id="9" name="Straight Arrow Connector 8"/>
          <p:cNvCxnSpPr/>
          <p:nvPr/>
        </p:nvCxnSpPr>
        <p:spPr>
          <a:xfrm>
            <a:off x="1358401" y="4572387"/>
            <a:ext cx="362450" cy="0"/>
          </a:xfrm>
          <a:prstGeom prst="straightConnector1">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cxnSp>
        <p:nvCxnSpPr>
          <p:cNvPr id="13" name="Straight Arrow Connector 12"/>
          <p:cNvCxnSpPr/>
          <p:nvPr/>
        </p:nvCxnSpPr>
        <p:spPr>
          <a:xfrm>
            <a:off x="4407620" y="3377953"/>
            <a:ext cx="362450" cy="0"/>
          </a:xfrm>
          <a:prstGeom prst="straightConnector1">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5122681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6" name="Footer Placeholder 5"/>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13</a:t>
            </a:fld>
            <a:endParaRPr lang="en-US" dirty="0"/>
          </a:p>
        </p:txBody>
      </p:sp>
      <p:sp>
        <p:nvSpPr>
          <p:cNvPr id="5" name="Date Placeholder 4"/>
          <p:cNvSpPr>
            <a:spLocks noGrp="1"/>
          </p:cNvSpPr>
          <p:nvPr>
            <p:ph type="dt" sz="half" idx="12"/>
          </p:nvPr>
        </p:nvSpPr>
        <p:spPr/>
        <p:txBody>
          <a:bodyPr/>
          <a:lstStyle/>
          <a:p>
            <a:r>
              <a:rPr lang="sv-SE"/>
              <a:t>2016-11-20</a:t>
            </a:r>
          </a:p>
        </p:txBody>
      </p:sp>
      <p:sp>
        <p:nvSpPr>
          <p:cNvPr id="7" name="Content Placeholder 6"/>
          <p:cNvSpPr>
            <a:spLocks noGrp="1"/>
          </p:cNvSpPr>
          <p:nvPr>
            <p:ph idx="1"/>
          </p:nvPr>
        </p:nvSpPr>
        <p:spPr>
          <a:xfrm>
            <a:off x="338964" y="1582739"/>
            <a:ext cx="4233036" cy="4078286"/>
          </a:xfrm>
        </p:spPr>
        <p:txBody>
          <a:bodyPr/>
          <a:lstStyle/>
          <a:p>
            <a:r>
              <a:rPr lang="en-US" b="1" dirty="0"/>
              <a:t>Power flow</a:t>
            </a:r>
          </a:p>
          <a:p>
            <a:pPr marL="285750" indent="-285750">
              <a:spcBef>
                <a:spcPts val="600"/>
              </a:spcBef>
              <a:spcAft>
                <a:spcPts val="600"/>
              </a:spcAft>
              <a:buFont typeface="Arial" charset="0"/>
              <a:buChar char="•"/>
            </a:pPr>
            <a:r>
              <a:rPr lang="en-US" dirty="0"/>
              <a:t>Static Report can be access where all of the power flow results are listed along with the initial values of various state variables of the models</a:t>
            </a:r>
          </a:p>
          <a:p>
            <a:pPr marL="285750" indent="-285750">
              <a:spcBef>
                <a:spcPts val="600"/>
              </a:spcBef>
              <a:spcAft>
                <a:spcPts val="600"/>
              </a:spcAft>
              <a:buFont typeface="Arial" charset="0"/>
              <a:buChar char="•"/>
            </a:pPr>
            <a:r>
              <a:rPr lang="en-US" dirty="0"/>
              <a:t>In this tutorial, there is no need to run the power flow in PSAT since the data will be provided, but feel free to explore PSAT later</a:t>
            </a:r>
          </a:p>
          <a:p>
            <a:endParaRPr lang="en-US" dirty="0"/>
          </a:p>
        </p:txBody>
      </p:sp>
      <p:pic>
        <p:nvPicPr>
          <p:cNvPr id="3" name="Picture 2"/>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4602040" y="2300685"/>
            <a:ext cx="3902320" cy="3172618"/>
          </a:xfrm>
          <a:prstGeom prst="rect">
            <a:avLst/>
          </a:prstGeom>
        </p:spPr>
      </p:pic>
    </p:spTree>
    <p:extLst>
      <p:ext uri="{BB962C8B-B14F-4D97-AF65-F5344CB8AC3E}">
        <p14:creationId xmlns:p14="http://schemas.microsoft.com/office/powerpoint/2010/main" val="43335091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6" name="Footer Placeholder 5"/>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14</a:t>
            </a:fld>
            <a:endParaRPr lang="en-US" dirty="0"/>
          </a:p>
        </p:txBody>
      </p:sp>
      <p:sp>
        <p:nvSpPr>
          <p:cNvPr id="3" name="Date Placeholder 2"/>
          <p:cNvSpPr>
            <a:spLocks noGrp="1"/>
          </p:cNvSpPr>
          <p:nvPr>
            <p:ph type="dt" sz="half" idx="12"/>
          </p:nvPr>
        </p:nvSpPr>
        <p:spPr/>
        <p:txBody>
          <a:bodyPr/>
          <a:lstStyle/>
          <a:p>
            <a:r>
              <a:rPr lang="sv-SE"/>
              <a:t>2016-11-20</a:t>
            </a:r>
          </a:p>
        </p:txBody>
      </p:sp>
      <p:sp>
        <p:nvSpPr>
          <p:cNvPr id="7" name="Content Placeholder 6"/>
          <p:cNvSpPr>
            <a:spLocks noGrp="1"/>
          </p:cNvSpPr>
          <p:nvPr>
            <p:ph idx="1"/>
          </p:nvPr>
        </p:nvSpPr>
        <p:spPr/>
        <p:txBody>
          <a:bodyPr/>
          <a:lstStyle/>
          <a:p>
            <a:r>
              <a:rPr lang="en-US" b="1" dirty="0"/>
              <a:t>Power flow</a:t>
            </a:r>
          </a:p>
          <a:p>
            <a:pPr marL="342900" indent="-342900">
              <a:buFont typeface="Arial" panose="020B0604020202020204" pitchFamily="34" charset="0"/>
              <a:buChar char="•"/>
            </a:pPr>
            <a:r>
              <a:rPr lang="en-US" dirty="0"/>
              <a:t>The summary of all of the relevant data from the power flow is given on the figure below</a:t>
            </a:r>
          </a:p>
          <a:p>
            <a:endParaRPr lang="en-US" dirty="0"/>
          </a:p>
        </p:txBody>
      </p:sp>
      <p:pic>
        <p:nvPicPr>
          <p:cNvPr id="5" name="Picture 4"/>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60400" y="3212976"/>
            <a:ext cx="7823200" cy="1727200"/>
          </a:xfrm>
          <a:prstGeom prst="rect">
            <a:avLst/>
          </a:prstGeom>
        </p:spPr>
      </p:pic>
    </p:spTree>
    <p:extLst>
      <p:ext uri="{BB962C8B-B14F-4D97-AF65-F5344CB8AC3E}">
        <p14:creationId xmlns:p14="http://schemas.microsoft.com/office/powerpoint/2010/main" val="80545324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8" name="Footer Placeholder 7"/>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15</a:t>
            </a:fld>
            <a:endParaRPr lang="en-US" dirty="0"/>
          </a:p>
        </p:txBody>
      </p:sp>
      <p:sp>
        <p:nvSpPr>
          <p:cNvPr id="5" name="Date Placeholder 4"/>
          <p:cNvSpPr>
            <a:spLocks noGrp="1"/>
          </p:cNvSpPr>
          <p:nvPr>
            <p:ph type="dt" sz="half" idx="12"/>
          </p:nvPr>
        </p:nvSpPr>
        <p:spPr/>
        <p:txBody>
          <a:bodyPr/>
          <a:lstStyle/>
          <a:p>
            <a:r>
              <a:rPr lang="sv-SE"/>
              <a:t>2016-11-20</a:t>
            </a:r>
          </a:p>
        </p:txBody>
      </p:sp>
      <p:sp>
        <p:nvSpPr>
          <p:cNvPr id="12" name="Content Placeholder 11"/>
          <p:cNvSpPr>
            <a:spLocks noGrp="1"/>
          </p:cNvSpPr>
          <p:nvPr>
            <p:ph idx="1"/>
          </p:nvPr>
        </p:nvSpPr>
        <p:spPr/>
        <p:txBody>
          <a:bodyPr/>
          <a:lstStyle/>
          <a:p>
            <a:r>
              <a:rPr lang="en-US" b="1" dirty="0"/>
              <a:t>Generator model – Step 1 </a:t>
            </a:r>
          </a:p>
          <a:p>
            <a:pPr marL="285750" indent="-285750">
              <a:buFont typeface="Arial" charset="0"/>
              <a:buChar char="•"/>
            </a:pPr>
            <a:r>
              <a:rPr lang="en-US" dirty="0"/>
              <a:t>First, the package where the generator model will be located has to be created</a:t>
            </a:r>
          </a:p>
          <a:p>
            <a:pPr marL="285750" indent="-285750">
              <a:buFont typeface="Arial" charset="0"/>
              <a:buChar char="•"/>
            </a:pPr>
            <a:r>
              <a:rPr lang="en-US" dirty="0"/>
              <a:t>This is done by right clicking on the </a:t>
            </a:r>
            <a:r>
              <a:rPr lang="en-US" i="1" dirty="0"/>
              <a:t>Example_1</a:t>
            </a:r>
            <a:r>
              <a:rPr lang="en-US" dirty="0"/>
              <a:t> in the </a:t>
            </a:r>
            <a:r>
              <a:rPr lang="en-US" i="1" dirty="0" err="1"/>
              <a:t>Working_Examples</a:t>
            </a:r>
            <a:r>
              <a:rPr lang="en-US" dirty="0"/>
              <a:t> package</a:t>
            </a:r>
          </a:p>
          <a:p>
            <a:pPr marL="285750" indent="-285750">
              <a:buFont typeface="Arial" charset="0"/>
              <a:buChar char="•"/>
            </a:pPr>
            <a:r>
              <a:rPr lang="en-US" dirty="0"/>
              <a:t>The package should be named </a:t>
            </a:r>
            <a:r>
              <a:rPr lang="en-US" i="1" dirty="0"/>
              <a:t>Generator</a:t>
            </a:r>
          </a:p>
          <a:p>
            <a:endParaRPr lang="en-US" dirty="0"/>
          </a:p>
        </p:txBody>
      </p:sp>
      <p:grpSp>
        <p:nvGrpSpPr>
          <p:cNvPr id="13" name="Group 12"/>
          <p:cNvGrpSpPr/>
          <p:nvPr/>
        </p:nvGrpSpPr>
        <p:grpSpPr>
          <a:xfrm>
            <a:off x="1603076" y="3717032"/>
            <a:ext cx="5849244" cy="2258873"/>
            <a:chOff x="1603076" y="3399810"/>
            <a:chExt cx="5849244" cy="2258873"/>
          </a:xfrm>
        </p:grpSpPr>
        <p:pic>
          <p:nvPicPr>
            <p:cNvPr id="6" name="Picture 5"/>
            <p:cNvPicPr>
              <a:picLocks noChangeAspect="1"/>
            </p:cNvPicPr>
            <p:nvPr/>
          </p:nvPicPr>
          <p:blipFill rotWithShape="1">
            <a:blip r:embed="rId3"/>
            <a:srcRect t="1" b="17397"/>
            <a:stretch/>
          </p:blipFill>
          <p:spPr>
            <a:xfrm>
              <a:off x="2267744" y="3429000"/>
              <a:ext cx="1401548" cy="2131050"/>
            </a:xfrm>
            <a:prstGeom prst="rect">
              <a:avLst/>
            </a:prstGeom>
          </p:spPr>
        </p:pic>
        <p:pic>
          <p:nvPicPr>
            <p:cNvPr id="3" name="Picture 2"/>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4028872" y="3399810"/>
              <a:ext cx="3423448" cy="2258873"/>
            </a:xfrm>
            <a:prstGeom prst="rect">
              <a:avLst/>
            </a:prstGeom>
          </p:spPr>
        </p:pic>
        <p:cxnSp>
          <p:nvCxnSpPr>
            <p:cNvPr id="9" name="Straight Arrow Connector 8"/>
            <p:cNvCxnSpPr/>
            <p:nvPr/>
          </p:nvCxnSpPr>
          <p:spPr>
            <a:xfrm>
              <a:off x="1603076" y="4869160"/>
              <a:ext cx="1008112" cy="0"/>
            </a:xfrm>
            <a:prstGeom prst="straightConnector1">
              <a:avLst/>
            </a:prstGeom>
            <a:ln w="31750">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sp>
          <p:nvSpPr>
            <p:cNvPr id="7" name="Rectangle 6"/>
            <p:cNvSpPr/>
            <p:nvPr/>
          </p:nvSpPr>
          <p:spPr>
            <a:xfrm>
              <a:off x="5459014" y="3759850"/>
              <a:ext cx="1777282" cy="432048"/>
            </a:xfrm>
            <a:prstGeom prst="rect">
              <a:avLst/>
            </a:prstGeom>
            <a:no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36184667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7" name="Footer Placeholder 6"/>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16</a:t>
            </a:fld>
            <a:endParaRPr lang="en-US" dirty="0"/>
          </a:p>
        </p:txBody>
      </p:sp>
      <p:sp>
        <p:nvSpPr>
          <p:cNvPr id="6" name="Date Placeholder 5"/>
          <p:cNvSpPr>
            <a:spLocks noGrp="1"/>
          </p:cNvSpPr>
          <p:nvPr>
            <p:ph type="dt" sz="half" idx="12"/>
          </p:nvPr>
        </p:nvSpPr>
        <p:spPr/>
        <p:txBody>
          <a:bodyPr/>
          <a:lstStyle/>
          <a:p>
            <a:r>
              <a:rPr lang="sv-SE"/>
              <a:t>2016-11-20</a:t>
            </a:r>
          </a:p>
        </p:txBody>
      </p:sp>
      <p:sp>
        <p:nvSpPr>
          <p:cNvPr id="3" name="Content Placeholder 2"/>
          <p:cNvSpPr>
            <a:spLocks noGrp="1"/>
          </p:cNvSpPr>
          <p:nvPr>
            <p:ph idx="1"/>
          </p:nvPr>
        </p:nvSpPr>
        <p:spPr/>
        <p:txBody>
          <a:bodyPr/>
          <a:lstStyle/>
          <a:p>
            <a:r>
              <a:rPr lang="en-US" b="1" dirty="0"/>
              <a:t>Generator model – Step 1 </a:t>
            </a:r>
          </a:p>
          <a:p>
            <a:pPr marL="285750" indent="-285750">
              <a:buFont typeface="Arial" charset="0"/>
              <a:buChar char="•"/>
            </a:pPr>
            <a:r>
              <a:rPr lang="en-US" dirty="0"/>
              <a:t>Within the </a:t>
            </a:r>
            <a:r>
              <a:rPr lang="en-US" i="1" dirty="0"/>
              <a:t>Generator</a:t>
            </a:r>
            <a:r>
              <a:rPr lang="en-US" dirty="0"/>
              <a:t> package, model of the generator shall be created</a:t>
            </a:r>
          </a:p>
          <a:p>
            <a:pPr marL="285750" indent="-285750">
              <a:buFont typeface="Arial" charset="0"/>
              <a:buChar char="•"/>
            </a:pPr>
            <a:r>
              <a:rPr lang="en-US" dirty="0"/>
              <a:t>Extends from </a:t>
            </a:r>
            <a:r>
              <a:rPr lang="en-US" i="1" dirty="0" err="1"/>
              <a:t>Tutorial.Support.Generator_Example</a:t>
            </a:r>
            <a:endParaRPr lang="en-US" i="1" dirty="0"/>
          </a:p>
          <a:p>
            <a:pPr marL="285750" indent="-285750">
              <a:buFont typeface="Arial" charset="0"/>
              <a:buChar char="•"/>
            </a:pPr>
            <a:endParaRPr lang="en-US" dirty="0"/>
          </a:p>
          <a:p>
            <a:endParaRPr lang="en-US" dirty="0"/>
          </a:p>
        </p:txBody>
      </p:sp>
      <p:grpSp>
        <p:nvGrpSpPr>
          <p:cNvPr id="15" name="Group 14"/>
          <p:cNvGrpSpPr/>
          <p:nvPr/>
        </p:nvGrpSpPr>
        <p:grpSpPr>
          <a:xfrm>
            <a:off x="1279132" y="2780928"/>
            <a:ext cx="7397324" cy="2811789"/>
            <a:chOff x="1279132" y="2780928"/>
            <a:chExt cx="7397324" cy="2811789"/>
          </a:xfrm>
        </p:grpSpPr>
        <p:pic>
          <p:nvPicPr>
            <p:cNvPr id="13" name="Picture 12"/>
            <p:cNvPicPr>
              <a:picLocks noChangeAspect="1"/>
            </p:cNvPicPr>
            <p:nvPr/>
          </p:nvPicPr>
          <p:blipFill>
            <a:blip r:embed="rId3"/>
            <a:stretch>
              <a:fillRect/>
            </a:stretch>
          </p:blipFill>
          <p:spPr>
            <a:xfrm>
              <a:off x="3771081" y="2852936"/>
              <a:ext cx="4905375" cy="2686050"/>
            </a:xfrm>
            <a:prstGeom prst="rect">
              <a:avLst/>
            </a:prstGeom>
          </p:spPr>
        </p:pic>
        <p:grpSp>
          <p:nvGrpSpPr>
            <p:cNvPr id="9" name="Group 8"/>
            <p:cNvGrpSpPr/>
            <p:nvPr/>
          </p:nvGrpSpPr>
          <p:grpSpPr>
            <a:xfrm>
              <a:off x="1279132" y="2780928"/>
              <a:ext cx="7253308" cy="2811789"/>
              <a:chOff x="1279132" y="2458244"/>
              <a:chExt cx="7253308" cy="2811789"/>
            </a:xfrm>
          </p:grpSpPr>
          <p:pic>
            <p:nvPicPr>
              <p:cNvPr id="5" name="Picture 4"/>
              <p:cNvPicPr>
                <a:picLocks noChangeAspect="1"/>
              </p:cNvPicPr>
              <p:nvPr/>
            </p:nvPicPr>
            <p:blipFill>
              <a:blip r:embed="rId4"/>
              <a:stretch>
                <a:fillRect/>
              </a:stretch>
            </p:blipFill>
            <p:spPr>
              <a:xfrm>
                <a:off x="1681826" y="2458244"/>
                <a:ext cx="1640210" cy="2811789"/>
              </a:xfrm>
              <a:prstGeom prst="rect">
                <a:avLst/>
              </a:prstGeom>
            </p:spPr>
          </p:pic>
          <p:cxnSp>
            <p:nvCxnSpPr>
              <p:cNvPr id="11" name="Straight Arrow Connector 10"/>
              <p:cNvCxnSpPr/>
              <p:nvPr/>
            </p:nvCxnSpPr>
            <p:spPr>
              <a:xfrm>
                <a:off x="1279132" y="4111534"/>
                <a:ext cx="1008112" cy="0"/>
              </a:xfrm>
              <a:prstGeom prst="straightConnector1">
                <a:avLst/>
              </a:prstGeom>
              <a:ln w="31750">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sp>
            <p:nvSpPr>
              <p:cNvPr id="14" name="Rectangle 13"/>
              <p:cNvSpPr/>
              <p:nvPr/>
            </p:nvSpPr>
            <p:spPr>
              <a:xfrm>
                <a:off x="5073102" y="2890292"/>
                <a:ext cx="3459338" cy="504056"/>
              </a:xfrm>
              <a:prstGeom prst="rect">
                <a:avLst/>
              </a:prstGeom>
              <a:no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 name="Rectangle 11"/>
              <p:cNvSpPr/>
              <p:nvPr/>
            </p:nvSpPr>
            <p:spPr>
              <a:xfrm>
                <a:off x="5073102" y="3394348"/>
                <a:ext cx="3459338" cy="288032"/>
              </a:xfrm>
              <a:prstGeom prst="rect">
                <a:avLst/>
              </a:prstGeom>
              <a:no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grpSp>
    </p:spTree>
    <p:extLst>
      <p:ext uri="{BB962C8B-B14F-4D97-AF65-F5344CB8AC3E}">
        <p14:creationId xmlns:p14="http://schemas.microsoft.com/office/powerpoint/2010/main" val="203077803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6" name="Footer Placeholder 5"/>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17</a:t>
            </a:fld>
            <a:endParaRPr lang="en-US" dirty="0"/>
          </a:p>
        </p:txBody>
      </p:sp>
      <p:sp>
        <p:nvSpPr>
          <p:cNvPr id="3" name="Date Placeholder 2"/>
          <p:cNvSpPr>
            <a:spLocks noGrp="1"/>
          </p:cNvSpPr>
          <p:nvPr>
            <p:ph type="dt" sz="half" idx="12"/>
          </p:nvPr>
        </p:nvSpPr>
        <p:spPr/>
        <p:txBody>
          <a:bodyPr/>
          <a:lstStyle/>
          <a:p>
            <a:r>
              <a:rPr lang="sv-SE"/>
              <a:t>2016-11-20</a:t>
            </a:r>
          </a:p>
        </p:txBody>
      </p:sp>
      <p:sp>
        <p:nvSpPr>
          <p:cNvPr id="8" name="Content Placeholder 7"/>
          <p:cNvSpPr>
            <a:spLocks noGrp="1"/>
          </p:cNvSpPr>
          <p:nvPr>
            <p:ph idx="1"/>
          </p:nvPr>
        </p:nvSpPr>
        <p:spPr/>
        <p:txBody>
          <a:bodyPr/>
          <a:lstStyle/>
          <a:p>
            <a:r>
              <a:rPr lang="en-US" b="1" dirty="0"/>
              <a:t>Generator model – Step 1 </a:t>
            </a:r>
          </a:p>
          <a:p>
            <a:pPr marL="285750" indent="-285750">
              <a:buFont typeface="Arial" charset="0"/>
              <a:buChar char="•"/>
            </a:pPr>
            <a:r>
              <a:rPr lang="en-US" dirty="0"/>
              <a:t>6</a:t>
            </a:r>
            <a:r>
              <a:rPr lang="en-US" baseline="30000" dirty="0"/>
              <a:t>th </a:t>
            </a:r>
            <a:r>
              <a:rPr lang="en-US" dirty="0"/>
              <a:t>order model of the generator from the PSAT is used</a:t>
            </a:r>
            <a:endParaRPr lang="en-US" baseline="30000" dirty="0"/>
          </a:p>
          <a:p>
            <a:pPr marL="285750" indent="-285750">
              <a:buFont typeface="Arial" charset="0"/>
              <a:buChar char="•"/>
            </a:pPr>
            <a:r>
              <a:rPr lang="en-US" dirty="0"/>
              <a:t>The model is added by dragging the generator from the library and dropping it to the model</a:t>
            </a:r>
          </a:p>
        </p:txBody>
      </p:sp>
      <p:pic>
        <p:nvPicPr>
          <p:cNvPr id="5" name="Picture 4"/>
          <p:cNvPicPr>
            <a:picLocks noChangeAspect="1"/>
          </p:cNvPicPr>
          <p:nvPr/>
        </p:nvPicPr>
        <p:blipFill>
          <a:blip r:embed="rId3"/>
          <a:stretch>
            <a:fillRect/>
          </a:stretch>
        </p:blipFill>
        <p:spPr>
          <a:xfrm>
            <a:off x="2195736" y="2967910"/>
            <a:ext cx="901621" cy="2598790"/>
          </a:xfrm>
          <a:prstGeom prst="rect">
            <a:avLst/>
          </a:prstGeom>
        </p:spPr>
      </p:pic>
      <p:pic>
        <p:nvPicPr>
          <p:cNvPr id="7" name="Picture 6"/>
          <p:cNvPicPr>
            <a:picLocks noChangeAspect="1"/>
          </p:cNvPicPr>
          <p:nvPr/>
        </p:nvPicPr>
        <p:blipFill>
          <a:blip r:embed="rId4"/>
          <a:stretch>
            <a:fillRect/>
          </a:stretch>
        </p:blipFill>
        <p:spPr>
          <a:xfrm>
            <a:off x="4876080" y="2817054"/>
            <a:ext cx="3115568" cy="2900501"/>
          </a:xfrm>
          <a:prstGeom prst="rect">
            <a:avLst/>
          </a:prstGeom>
        </p:spPr>
      </p:pic>
    </p:spTree>
    <p:extLst>
      <p:ext uri="{BB962C8B-B14F-4D97-AF65-F5344CB8AC3E}">
        <p14:creationId xmlns:p14="http://schemas.microsoft.com/office/powerpoint/2010/main" val="132879886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6" name="Footer Placeholder 5"/>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18</a:t>
            </a:fld>
            <a:endParaRPr lang="en-US" dirty="0"/>
          </a:p>
        </p:txBody>
      </p:sp>
      <p:sp>
        <p:nvSpPr>
          <p:cNvPr id="3" name="Date Placeholder 2"/>
          <p:cNvSpPr>
            <a:spLocks noGrp="1"/>
          </p:cNvSpPr>
          <p:nvPr>
            <p:ph type="dt" sz="half" idx="12"/>
          </p:nvPr>
        </p:nvSpPr>
        <p:spPr/>
        <p:txBody>
          <a:bodyPr/>
          <a:lstStyle/>
          <a:p>
            <a:r>
              <a:rPr lang="sv-SE"/>
              <a:t>2016-11-20</a:t>
            </a:r>
          </a:p>
        </p:txBody>
      </p:sp>
      <p:sp>
        <p:nvSpPr>
          <p:cNvPr id="10" name="Content Placeholder 9"/>
          <p:cNvSpPr>
            <a:spLocks noGrp="1"/>
          </p:cNvSpPr>
          <p:nvPr>
            <p:ph idx="1"/>
          </p:nvPr>
        </p:nvSpPr>
        <p:spPr/>
        <p:txBody>
          <a:bodyPr/>
          <a:lstStyle/>
          <a:p>
            <a:r>
              <a:rPr lang="en-US" b="1" dirty="0"/>
              <a:t>Generator model – Step 1 </a:t>
            </a:r>
          </a:p>
          <a:p>
            <a:pPr marL="342900" indent="-342900">
              <a:buFont typeface="Arial" panose="020B0604020202020204" pitchFamily="34" charset="0"/>
              <a:buChar char="•"/>
            </a:pPr>
            <a:r>
              <a:rPr lang="en-US" dirty="0"/>
              <a:t>Parameters of the generator are given in the table</a:t>
            </a:r>
          </a:p>
          <a:p>
            <a:endParaRPr lang="en-US" dirty="0"/>
          </a:p>
        </p:txBody>
      </p:sp>
      <mc:AlternateContent xmlns:mc="http://schemas.openxmlformats.org/markup-compatibility/2006" xmlns:a14="http://schemas.microsoft.com/office/drawing/2010/main">
        <mc:Choice Requires="a14">
          <p:graphicFrame>
            <p:nvGraphicFramePr>
              <p:cNvPr id="8" name="Table 7"/>
              <p:cNvGraphicFramePr>
                <a:graphicFrameLocks noGrp="1"/>
              </p:cNvGraphicFramePr>
              <p:nvPr>
                <p:extLst/>
              </p:nvPr>
            </p:nvGraphicFramePr>
            <p:xfrm>
              <a:off x="827584" y="2403837"/>
              <a:ext cx="3054200" cy="3045206"/>
            </p:xfrm>
            <a:graphic>
              <a:graphicData uri="http://schemas.openxmlformats.org/drawingml/2006/table">
                <a:tbl>
                  <a:tblPr firstRow="1" bandRow="1">
                    <a:tableStyleId>{5940675A-B579-460E-94D1-54222C63F5DA}</a:tableStyleId>
                  </a:tblPr>
                  <a:tblGrid>
                    <a:gridCol w="763550">
                      <a:extLst>
                        <a:ext uri="{9D8B030D-6E8A-4147-A177-3AD203B41FA5}">
                          <a16:colId xmlns:a16="http://schemas.microsoft.com/office/drawing/2014/main" val="20000"/>
                        </a:ext>
                      </a:extLst>
                    </a:gridCol>
                    <a:gridCol w="763550">
                      <a:extLst>
                        <a:ext uri="{9D8B030D-6E8A-4147-A177-3AD203B41FA5}">
                          <a16:colId xmlns:a16="http://schemas.microsoft.com/office/drawing/2014/main" val="20001"/>
                        </a:ext>
                      </a:extLst>
                    </a:gridCol>
                    <a:gridCol w="763550">
                      <a:extLst>
                        <a:ext uri="{9D8B030D-6E8A-4147-A177-3AD203B41FA5}">
                          <a16:colId xmlns:a16="http://schemas.microsoft.com/office/drawing/2014/main" val="20002"/>
                        </a:ext>
                      </a:extLst>
                    </a:gridCol>
                    <a:gridCol w="763550">
                      <a:extLst>
                        <a:ext uri="{9D8B030D-6E8A-4147-A177-3AD203B41FA5}">
                          <a16:colId xmlns:a16="http://schemas.microsoft.com/office/drawing/2014/main" val="20003"/>
                        </a:ext>
                      </a:extLst>
                    </a:gridCol>
                  </a:tblGrid>
                  <a:tr h="386969">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𝑆</m:t>
                                    </m:r>
                                  </m:e>
                                  <m:sub>
                                    <m:r>
                                      <a:rPr lang="hr-HR" b="0" i="1" smtClean="0">
                                        <a:solidFill>
                                          <a:schemeClr val="tx1"/>
                                        </a:solidFill>
                                        <a:latin typeface="Cambria Math" charset="0"/>
                                      </a:rPr>
                                      <m:t>𝑛</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2220</a:t>
                          </a:r>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sSub>
                                  <m:sSubPr>
                                    <m:ctrlPr>
                                      <a:rPr lang="hr-HR" b="0" i="1" smtClean="0">
                                        <a:latin typeface="Cambria Math" panose="02040503050406030204" pitchFamily="18" charset="0"/>
                                      </a:rPr>
                                    </m:ctrlPr>
                                  </m:sSubPr>
                                  <m:e>
                                    <m:r>
                                      <a:rPr lang="hr-HR" b="0" i="1" smtClean="0">
                                        <a:latin typeface="Cambria Math" charset="0"/>
                                      </a:rPr>
                                      <m:t>𝑥</m:t>
                                    </m:r>
                                    <m:r>
                                      <a:rPr lang="hr-HR" b="0" i="1" smtClean="0">
                                        <a:latin typeface="Cambria Math" charset="0"/>
                                      </a:rPr>
                                      <m:t>′′</m:t>
                                    </m:r>
                                  </m:e>
                                  <m:sub>
                                    <m:r>
                                      <a:rPr lang="hr-HR" b="0" i="1" smtClean="0">
                                        <a:latin typeface="Cambria Math" charset="0"/>
                                      </a:rPr>
                                      <m:t>𝑞</m:t>
                                    </m:r>
                                  </m:sub>
                                </m:sSub>
                              </m:oMath>
                            </m:oMathPara>
                          </a14:m>
                          <a:endParaRPr lang="en-US" dirty="0"/>
                        </a:p>
                      </a:txBody>
                      <a:tcPr>
                        <a:solidFill>
                          <a:schemeClr val="accent6">
                            <a:lumMod val="60000"/>
                            <a:lumOff val="40000"/>
                          </a:schemeClr>
                        </a:solidFill>
                      </a:tcPr>
                    </a:tc>
                    <a:tc>
                      <a:txBody>
                        <a:bodyPr/>
                        <a:lstStyle/>
                        <a:p>
                          <a:r>
                            <a:rPr lang="en-US" dirty="0"/>
                            <a:t>0.25</a:t>
                          </a:r>
                        </a:p>
                      </a:txBody>
                      <a:tcPr>
                        <a:solidFill>
                          <a:schemeClr val="accent6">
                            <a:lumMod val="20000"/>
                            <a:lumOff val="80000"/>
                          </a:schemeClr>
                        </a:solidFill>
                      </a:tcPr>
                    </a:tc>
                    <a:extLst>
                      <a:ext uri="{0D108BD9-81ED-4DB2-BD59-A6C34878D82A}">
                        <a16:rowId xmlns:a16="http://schemas.microsoft.com/office/drawing/2014/main" val="10000"/>
                      </a:ext>
                    </a:extLst>
                  </a:tr>
                  <a:tr h="370840">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𝑉</m:t>
                                    </m:r>
                                  </m:e>
                                  <m:sub>
                                    <m:r>
                                      <a:rPr lang="hr-HR" b="0" i="1" smtClean="0">
                                        <a:solidFill>
                                          <a:schemeClr val="tx1"/>
                                        </a:solidFill>
                                        <a:latin typeface="Cambria Math" charset="0"/>
                                      </a:rPr>
                                      <m:t>𝑛</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400</a:t>
                          </a:r>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sSub>
                                  <m:sSubPr>
                                    <m:ctrlPr>
                                      <a:rPr lang="hr-HR" b="0" i="1" smtClean="0">
                                        <a:latin typeface="Cambria Math" panose="02040503050406030204" pitchFamily="18" charset="0"/>
                                      </a:rPr>
                                    </m:ctrlPr>
                                  </m:sSubPr>
                                  <m:e>
                                    <m:r>
                                      <a:rPr lang="hr-HR" b="0" i="1" smtClean="0">
                                        <a:latin typeface="Cambria Math" charset="0"/>
                                      </a:rPr>
                                      <m:t>𝑇</m:t>
                                    </m:r>
                                    <m:r>
                                      <a:rPr lang="hr-HR" b="0" i="1" smtClean="0">
                                        <a:latin typeface="Cambria Math" charset="0"/>
                                      </a:rPr>
                                      <m:t>′</m:t>
                                    </m:r>
                                  </m:e>
                                  <m:sub>
                                    <m:r>
                                      <a:rPr lang="hr-HR" b="0" i="1" smtClean="0">
                                        <a:latin typeface="Cambria Math" charset="0"/>
                                      </a:rPr>
                                      <m:t>𝑑</m:t>
                                    </m:r>
                                    <m:r>
                                      <a:rPr lang="hr-HR" b="0" i="1" smtClean="0">
                                        <a:latin typeface="Cambria Math" charset="0"/>
                                      </a:rPr>
                                      <m:t>,0</m:t>
                                    </m:r>
                                  </m:sub>
                                </m:sSub>
                              </m:oMath>
                            </m:oMathPara>
                          </a14:m>
                          <a:endParaRPr lang="en-US" dirty="0"/>
                        </a:p>
                      </a:txBody>
                      <a:tcPr>
                        <a:solidFill>
                          <a:schemeClr val="accent6">
                            <a:lumMod val="60000"/>
                            <a:lumOff val="40000"/>
                          </a:schemeClr>
                        </a:solidFill>
                      </a:tcPr>
                    </a:tc>
                    <a:tc>
                      <a:txBody>
                        <a:bodyPr/>
                        <a:lstStyle/>
                        <a:p>
                          <a:r>
                            <a:rPr lang="en-US" dirty="0"/>
                            <a:t>8</a:t>
                          </a:r>
                        </a:p>
                      </a:txBody>
                      <a:tcPr>
                        <a:solidFill>
                          <a:schemeClr val="accent6">
                            <a:lumMod val="20000"/>
                            <a:lumOff val="80000"/>
                          </a:schemeClr>
                        </a:solidFill>
                      </a:tcPr>
                    </a:tc>
                    <a:extLst>
                      <a:ext uri="{0D108BD9-81ED-4DB2-BD59-A6C34878D82A}">
                        <a16:rowId xmlns:a16="http://schemas.microsoft.com/office/drawing/2014/main" val="10001"/>
                      </a:ext>
                    </a:extLst>
                  </a:tr>
                  <a:tr h="370840">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𝑟</m:t>
                                    </m:r>
                                  </m:e>
                                  <m:sub>
                                    <m:r>
                                      <a:rPr lang="hr-HR" b="0" i="1" smtClean="0">
                                        <a:solidFill>
                                          <a:schemeClr val="tx1"/>
                                        </a:solidFill>
                                        <a:latin typeface="Cambria Math" charset="0"/>
                                      </a:rPr>
                                      <m:t>𝑎</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0.003</a:t>
                          </a:r>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sSub>
                                  <m:sSubPr>
                                    <m:ctrlPr>
                                      <a:rPr lang="hr-HR" b="0" i="1" smtClean="0">
                                        <a:latin typeface="Cambria Math" panose="02040503050406030204" pitchFamily="18" charset="0"/>
                                      </a:rPr>
                                    </m:ctrlPr>
                                  </m:sSubPr>
                                  <m:e>
                                    <m:r>
                                      <a:rPr lang="hr-HR" b="0" i="1" smtClean="0">
                                        <a:latin typeface="Cambria Math" charset="0"/>
                                      </a:rPr>
                                      <m:t>𝑇</m:t>
                                    </m:r>
                                    <m:r>
                                      <a:rPr lang="hr-HR" b="0" i="1" smtClean="0">
                                        <a:latin typeface="Cambria Math" charset="0"/>
                                      </a:rPr>
                                      <m:t>′</m:t>
                                    </m:r>
                                  </m:e>
                                  <m:sub>
                                    <m:r>
                                      <a:rPr lang="hr-HR" b="0" i="1" smtClean="0">
                                        <a:latin typeface="Cambria Math" charset="0"/>
                                      </a:rPr>
                                      <m:t>𝑞</m:t>
                                    </m:r>
                                    <m:r>
                                      <a:rPr lang="hr-HR" b="0" i="1" smtClean="0">
                                        <a:latin typeface="Cambria Math" charset="0"/>
                                      </a:rPr>
                                      <m:t>,0</m:t>
                                    </m:r>
                                  </m:sub>
                                </m:sSub>
                              </m:oMath>
                            </m:oMathPara>
                          </a14:m>
                          <a:endParaRPr lang="en-US" dirty="0"/>
                        </a:p>
                      </a:txBody>
                      <a:tcPr>
                        <a:solidFill>
                          <a:schemeClr val="accent6">
                            <a:lumMod val="60000"/>
                            <a:lumOff val="40000"/>
                          </a:schemeClr>
                        </a:solidFill>
                      </a:tcPr>
                    </a:tc>
                    <a:tc>
                      <a:txBody>
                        <a:bodyPr/>
                        <a:lstStyle/>
                        <a:p>
                          <a:r>
                            <a:rPr lang="en-US" dirty="0"/>
                            <a:t>1</a:t>
                          </a:r>
                        </a:p>
                      </a:txBody>
                      <a:tcPr>
                        <a:solidFill>
                          <a:schemeClr val="accent6">
                            <a:lumMod val="20000"/>
                            <a:lumOff val="80000"/>
                          </a:schemeClr>
                        </a:solidFill>
                      </a:tcPr>
                    </a:tc>
                    <a:extLst>
                      <a:ext uri="{0D108BD9-81ED-4DB2-BD59-A6C34878D82A}">
                        <a16:rowId xmlns:a16="http://schemas.microsoft.com/office/drawing/2014/main" val="10002"/>
                      </a:ext>
                    </a:extLst>
                  </a:tr>
                  <a:tr h="370840">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𝑥</m:t>
                                    </m:r>
                                  </m:e>
                                  <m:sub>
                                    <m:r>
                                      <a:rPr lang="hr-HR" b="0" i="1" smtClean="0">
                                        <a:solidFill>
                                          <a:schemeClr val="tx1"/>
                                        </a:solidFill>
                                        <a:latin typeface="Cambria Math" charset="0"/>
                                      </a:rPr>
                                      <m:t>𝑑</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1.81</a:t>
                          </a:r>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sSub>
                                  <m:sSubPr>
                                    <m:ctrlPr>
                                      <a:rPr lang="hr-HR" b="0" i="1" smtClean="0">
                                        <a:latin typeface="Cambria Math" panose="02040503050406030204" pitchFamily="18" charset="0"/>
                                      </a:rPr>
                                    </m:ctrlPr>
                                  </m:sSubPr>
                                  <m:e>
                                    <m:r>
                                      <a:rPr lang="hr-HR" b="0" i="1" smtClean="0">
                                        <a:latin typeface="Cambria Math" charset="0"/>
                                      </a:rPr>
                                      <m:t>𝑇</m:t>
                                    </m:r>
                                    <m:r>
                                      <a:rPr lang="hr-HR" b="0" i="1" smtClean="0">
                                        <a:latin typeface="Cambria Math" charset="0"/>
                                      </a:rPr>
                                      <m:t>′′</m:t>
                                    </m:r>
                                  </m:e>
                                  <m:sub>
                                    <m:r>
                                      <a:rPr lang="hr-HR" b="0" i="1" smtClean="0">
                                        <a:latin typeface="Cambria Math" charset="0"/>
                                      </a:rPr>
                                      <m:t>𝑑</m:t>
                                    </m:r>
                                    <m:r>
                                      <a:rPr lang="hr-HR" b="0" i="1" smtClean="0">
                                        <a:latin typeface="Cambria Math" charset="0"/>
                                      </a:rPr>
                                      <m:t>,0</m:t>
                                    </m:r>
                                  </m:sub>
                                </m:sSub>
                              </m:oMath>
                            </m:oMathPara>
                          </a14:m>
                          <a:endParaRPr lang="en-US" dirty="0"/>
                        </a:p>
                      </a:txBody>
                      <a:tcPr>
                        <a:solidFill>
                          <a:schemeClr val="accent6">
                            <a:lumMod val="60000"/>
                            <a:lumOff val="40000"/>
                          </a:schemeClr>
                        </a:solidFill>
                      </a:tcPr>
                    </a:tc>
                    <a:tc>
                      <a:txBody>
                        <a:bodyPr/>
                        <a:lstStyle/>
                        <a:p>
                          <a:r>
                            <a:rPr lang="en-US" dirty="0"/>
                            <a:t>0.03</a:t>
                          </a:r>
                        </a:p>
                      </a:txBody>
                      <a:tcPr>
                        <a:solidFill>
                          <a:schemeClr val="accent6">
                            <a:lumMod val="20000"/>
                            <a:lumOff val="80000"/>
                          </a:schemeClr>
                        </a:solidFill>
                      </a:tcPr>
                    </a:tc>
                    <a:extLst>
                      <a:ext uri="{0D108BD9-81ED-4DB2-BD59-A6C34878D82A}">
                        <a16:rowId xmlns:a16="http://schemas.microsoft.com/office/drawing/2014/main" val="10003"/>
                      </a:ext>
                    </a:extLst>
                  </a:tr>
                  <a:tr h="370840">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𝑥</m:t>
                                    </m:r>
                                  </m:e>
                                  <m:sub>
                                    <m:r>
                                      <a:rPr lang="hr-HR" b="0" i="1" smtClean="0">
                                        <a:solidFill>
                                          <a:schemeClr val="tx1"/>
                                        </a:solidFill>
                                        <a:latin typeface="Cambria Math" charset="0"/>
                                      </a:rPr>
                                      <m:t>𝑞</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1.76</a:t>
                          </a:r>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sSub>
                                  <m:sSubPr>
                                    <m:ctrlPr>
                                      <a:rPr lang="hr-HR" b="0" i="1" smtClean="0">
                                        <a:latin typeface="Cambria Math" panose="02040503050406030204" pitchFamily="18" charset="0"/>
                                      </a:rPr>
                                    </m:ctrlPr>
                                  </m:sSubPr>
                                  <m:e>
                                    <m:r>
                                      <a:rPr lang="hr-HR" b="0" i="1" smtClean="0">
                                        <a:latin typeface="Cambria Math" charset="0"/>
                                      </a:rPr>
                                      <m:t>𝑇</m:t>
                                    </m:r>
                                    <m:r>
                                      <a:rPr lang="hr-HR" b="0" i="1" smtClean="0">
                                        <a:latin typeface="Cambria Math" charset="0"/>
                                      </a:rPr>
                                      <m:t>′′</m:t>
                                    </m:r>
                                  </m:e>
                                  <m:sub>
                                    <m:r>
                                      <a:rPr lang="hr-HR" b="0" i="1" smtClean="0">
                                        <a:latin typeface="Cambria Math" charset="0"/>
                                      </a:rPr>
                                      <m:t>𝑑</m:t>
                                    </m:r>
                                    <m:r>
                                      <a:rPr lang="hr-HR" b="0" i="1" smtClean="0">
                                        <a:latin typeface="Cambria Math" charset="0"/>
                                      </a:rPr>
                                      <m:t>,0</m:t>
                                    </m:r>
                                  </m:sub>
                                </m:sSub>
                              </m:oMath>
                            </m:oMathPara>
                          </a14:m>
                          <a:endParaRPr lang="en-US" dirty="0"/>
                        </a:p>
                      </a:txBody>
                      <a:tcPr>
                        <a:solidFill>
                          <a:schemeClr val="accent6">
                            <a:lumMod val="60000"/>
                            <a:lumOff val="40000"/>
                          </a:schemeClr>
                        </a:solidFill>
                      </a:tcPr>
                    </a:tc>
                    <a:tc>
                      <a:txBody>
                        <a:bodyPr/>
                        <a:lstStyle/>
                        <a:p>
                          <a:r>
                            <a:rPr lang="en-US" dirty="0"/>
                            <a:t>0.07</a:t>
                          </a:r>
                        </a:p>
                      </a:txBody>
                      <a:tcPr>
                        <a:solidFill>
                          <a:schemeClr val="accent6">
                            <a:lumMod val="20000"/>
                            <a:lumOff val="80000"/>
                          </a:schemeClr>
                        </a:solidFill>
                      </a:tcPr>
                    </a:tc>
                    <a:extLst>
                      <a:ext uri="{0D108BD9-81ED-4DB2-BD59-A6C34878D82A}">
                        <a16:rowId xmlns:a16="http://schemas.microsoft.com/office/drawing/2014/main" val="10004"/>
                      </a:ext>
                    </a:extLst>
                  </a:tr>
                  <a:tr h="370840">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𝑥</m:t>
                                    </m:r>
                                    <m:r>
                                      <a:rPr lang="hr-HR" b="0" i="1" smtClean="0">
                                        <a:solidFill>
                                          <a:schemeClr val="tx1"/>
                                        </a:solidFill>
                                        <a:latin typeface="Cambria Math" charset="0"/>
                                      </a:rPr>
                                      <m:t>′</m:t>
                                    </m:r>
                                  </m:e>
                                  <m:sub>
                                    <m:r>
                                      <a:rPr lang="hr-HR" b="0" i="1" smtClean="0">
                                        <a:solidFill>
                                          <a:schemeClr val="tx1"/>
                                        </a:solidFill>
                                        <a:latin typeface="Cambria Math" charset="0"/>
                                      </a:rPr>
                                      <m:t>𝑑</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0.3</a:t>
                          </a:r>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sSub>
                                  <m:sSubPr>
                                    <m:ctrlPr>
                                      <a:rPr lang="hr-HR" b="0" i="1" smtClean="0">
                                        <a:latin typeface="Cambria Math" panose="02040503050406030204" pitchFamily="18" charset="0"/>
                                      </a:rPr>
                                    </m:ctrlPr>
                                  </m:sSubPr>
                                  <m:e>
                                    <m:r>
                                      <a:rPr lang="hr-HR" b="0" i="1" smtClean="0">
                                        <a:latin typeface="Cambria Math" charset="0"/>
                                      </a:rPr>
                                      <m:t>𝑇</m:t>
                                    </m:r>
                                  </m:e>
                                  <m:sub>
                                    <m:r>
                                      <a:rPr lang="hr-HR" b="0" i="1" smtClean="0">
                                        <a:latin typeface="Cambria Math" charset="0"/>
                                      </a:rPr>
                                      <m:t>𝑎𝑎</m:t>
                                    </m:r>
                                  </m:sub>
                                </m:sSub>
                              </m:oMath>
                            </m:oMathPara>
                          </a14:m>
                          <a:endParaRPr lang="en-US" dirty="0"/>
                        </a:p>
                      </a:txBody>
                      <a:tcPr>
                        <a:solidFill>
                          <a:schemeClr val="accent6">
                            <a:lumMod val="60000"/>
                            <a:lumOff val="40000"/>
                          </a:schemeClr>
                        </a:solidFill>
                      </a:tcPr>
                    </a:tc>
                    <a:tc>
                      <a:txBody>
                        <a:bodyPr/>
                        <a:lstStyle/>
                        <a:p>
                          <a:r>
                            <a:rPr lang="en-US" dirty="0"/>
                            <a:t>0.002</a:t>
                          </a:r>
                        </a:p>
                      </a:txBody>
                      <a:tcPr>
                        <a:solidFill>
                          <a:schemeClr val="accent6">
                            <a:lumMod val="20000"/>
                            <a:lumOff val="80000"/>
                          </a:schemeClr>
                        </a:solidFill>
                      </a:tcPr>
                    </a:tc>
                    <a:extLst>
                      <a:ext uri="{0D108BD9-81ED-4DB2-BD59-A6C34878D82A}">
                        <a16:rowId xmlns:a16="http://schemas.microsoft.com/office/drawing/2014/main" val="10005"/>
                      </a:ext>
                    </a:extLst>
                  </a:tr>
                  <a:tr h="370840">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𝑥</m:t>
                                    </m:r>
                                    <m:r>
                                      <a:rPr lang="hr-HR" b="0" i="1" smtClean="0">
                                        <a:solidFill>
                                          <a:schemeClr val="tx1"/>
                                        </a:solidFill>
                                        <a:latin typeface="Cambria Math" charset="0"/>
                                      </a:rPr>
                                      <m:t>′</m:t>
                                    </m:r>
                                  </m:e>
                                  <m:sub>
                                    <m:r>
                                      <a:rPr lang="hr-HR" b="0" i="1" smtClean="0">
                                        <a:solidFill>
                                          <a:schemeClr val="tx1"/>
                                        </a:solidFill>
                                        <a:latin typeface="Cambria Math" charset="0"/>
                                      </a:rPr>
                                      <m:t>𝑞</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0.65</a:t>
                          </a:r>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r>
                                  <a:rPr lang="hr-HR" b="0" i="1" smtClean="0">
                                    <a:latin typeface="Cambria Math" charset="0"/>
                                  </a:rPr>
                                  <m:t>𝑀</m:t>
                                </m:r>
                              </m:oMath>
                            </m:oMathPara>
                          </a14:m>
                          <a:endParaRPr lang="en-US" dirty="0"/>
                        </a:p>
                      </a:txBody>
                      <a:tcPr>
                        <a:solidFill>
                          <a:schemeClr val="accent6">
                            <a:lumMod val="60000"/>
                            <a:lumOff val="40000"/>
                          </a:schemeClr>
                        </a:solidFill>
                      </a:tcPr>
                    </a:tc>
                    <a:tc>
                      <a:txBody>
                        <a:bodyPr/>
                        <a:lstStyle/>
                        <a:p>
                          <a:r>
                            <a:rPr lang="en-US" dirty="0"/>
                            <a:t>7</a:t>
                          </a:r>
                        </a:p>
                      </a:txBody>
                      <a:tcPr>
                        <a:solidFill>
                          <a:schemeClr val="accent6">
                            <a:lumMod val="20000"/>
                            <a:lumOff val="80000"/>
                          </a:schemeClr>
                        </a:solidFill>
                      </a:tcPr>
                    </a:tc>
                    <a:extLst>
                      <a:ext uri="{0D108BD9-81ED-4DB2-BD59-A6C34878D82A}">
                        <a16:rowId xmlns:a16="http://schemas.microsoft.com/office/drawing/2014/main" val="10006"/>
                      </a:ext>
                    </a:extLst>
                  </a:tr>
                  <a:tr h="370840">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𝑥</m:t>
                                    </m:r>
                                    <m:r>
                                      <a:rPr lang="hr-HR" b="0" i="1" smtClean="0">
                                        <a:solidFill>
                                          <a:schemeClr val="tx1"/>
                                        </a:solidFill>
                                        <a:latin typeface="Cambria Math" charset="0"/>
                                      </a:rPr>
                                      <m:t>′′</m:t>
                                    </m:r>
                                  </m:e>
                                  <m:sub>
                                    <m:r>
                                      <a:rPr lang="hr-HR" b="0" i="1" smtClean="0">
                                        <a:solidFill>
                                          <a:schemeClr val="tx1"/>
                                        </a:solidFill>
                                        <a:latin typeface="Cambria Math" charset="0"/>
                                      </a:rPr>
                                      <m:t>𝑑</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0.23</a:t>
                          </a:r>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r>
                                  <a:rPr lang="hr-HR" b="0" i="1" smtClean="0">
                                    <a:latin typeface="Cambria Math" charset="0"/>
                                  </a:rPr>
                                  <m:t>𝐷</m:t>
                                </m:r>
                              </m:oMath>
                            </m:oMathPara>
                          </a14:m>
                          <a:endParaRPr lang="en-US" dirty="0"/>
                        </a:p>
                      </a:txBody>
                      <a:tcPr>
                        <a:solidFill>
                          <a:schemeClr val="accent6">
                            <a:lumMod val="60000"/>
                            <a:lumOff val="40000"/>
                          </a:schemeClr>
                        </a:solidFill>
                      </a:tcPr>
                    </a:tc>
                    <a:tc>
                      <a:txBody>
                        <a:bodyPr/>
                        <a:lstStyle/>
                        <a:p>
                          <a:r>
                            <a:rPr lang="en-US" dirty="0"/>
                            <a:t>0</a:t>
                          </a:r>
                        </a:p>
                      </a:txBody>
                      <a:tcPr>
                        <a:solidFill>
                          <a:schemeClr val="accent6">
                            <a:lumMod val="20000"/>
                            <a:lumOff val="80000"/>
                          </a:schemeClr>
                        </a:solidFill>
                      </a:tcPr>
                    </a:tc>
                    <a:extLst>
                      <a:ext uri="{0D108BD9-81ED-4DB2-BD59-A6C34878D82A}">
                        <a16:rowId xmlns:a16="http://schemas.microsoft.com/office/drawing/2014/main" val="10007"/>
                      </a:ext>
                    </a:extLst>
                  </a:tr>
                </a:tbl>
              </a:graphicData>
            </a:graphic>
          </p:graphicFrame>
        </mc:Choice>
        <mc:Fallback xmlns="">
          <p:graphicFrame>
            <p:nvGraphicFramePr>
              <p:cNvPr id="8" name="Table 7"/>
              <p:cNvGraphicFramePr>
                <a:graphicFrameLocks noGrp="1"/>
              </p:cNvGraphicFramePr>
              <p:nvPr>
                <p:extLst>
                  <p:ext uri="{D42A27DB-BD31-4B8C-83A1-F6EECF244321}">
                    <p14:modId xmlns:p14="http://schemas.microsoft.com/office/powerpoint/2010/main" val="826745014"/>
                  </p:ext>
                </p:extLst>
              </p:nvPr>
            </p:nvGraphicFramePr>
            <p:xfrm>
              <a:off x="827584" y="2403837"/>
              <a:ext cx="3054200" cy="3045206"/>
            </p:xfrm>
            <a:graphic>
              <a:graphicData uri="http://schemas.openxmlformats.org/drawingml/2006/table">
                <a:tbl>
                  <a:tblPr firstRow="1" bandRow="1">
                    <a:tableStyleId>{5940675A-B579-460E-94D1-54222C63F5DA}</a:tableStyleId>
                  </a:tblPr>
                  <a:tblGrid>
                    <a:gridCol w="763550"/>
                    <a:gridCol w="763550"/>
                    <a:gridCol w="763550"/>
                    <a:gridCol w="763550"/>
                  </a:tblGrid>
                  <a:tr h="386969">
                    <a:tc>
                      <a:txBody>
                        <a:bodyPr/>
                        <a:lstStyle/>
                        <a:p>
                          <a:endParaRPr lang="en-US"/>
                        </a:p>
                      </a:txBody>
                      <a:tcPr>
                        <a:blipFill rotWithShape="0">
                          <a:blip r:embed="rId3"/>
                          <a:stretch>
                            <a:fillRect l="-794" t="-7813" r="-300000" b="-704688"/>
                          </a:stretch>
                        </a:blipFill>
                      </a:tcPr>
                    </a:tc>
                    <a:tc>
                      <a:txBody>
                        <a:bodyPr/>
                        <a:lstStyle/>
                        <a:p>
                          <a:r>
                            <a:rPr lang="en-US" dirty="0" smtClean="0"/>
                            <a:t>2220</a:t>
                          </a:r>
                          <a:endParaRPr lang="en-US" dirty="0"/>
                        </a:p>
                      </a:txBody>
                      <a:tcPr>
                        <a:solidFill>
                          <a:schemeClr val="accent6">
                            <a:lumMod val="20000"/>
                            <a:lumOff val="80000"/>
                          </a:schemeClr>
                        </a:solidFill>
                      </a:tcPr>
                    </a:tc>
                    <a:tc>
                      <a:txBody>
                        <a:bodyPr/>
                        <a:lstStyle/>
                        <a:p>
                          <a:endParaRPr lang="en-US"/>
                        </a:p>
                      </a:txBody>
                      <a:tcPr>
                        <a:blipFill rotWithShape="0">
                          <a:blip r:embed="rId3"/>
                          <a:stretch>
                            <a:fillRect l="-200000" t="-7813" r="-100794" b="-704688"/>
                          </a:stretch>
                        </a:blipFill>
                      </a:tcPr>
                    </a:tc>
                    <a:tc>
                      <a:txBody>
                        <a:bodyPr/>
                        <a:lstStyle/>
                        <a:p>
                          <a:r>
                            <a:rPr lang="en-US" dirty="0" smtClean="0"/>
                            <a:t>0.25</a:t>
                          </a:r>
                          <a:endParaRPr lang="en-US" dirty="0"/>
                        </a:p>
                      </a:txBody>
                      <a:tcPr>
                        <a:solidFill>
                          <a:schemeClr val="accent6">
                            <a:lumMod val="20000"/>
                            <a:lumOff val="80000"/>
                          </a:schemeClr>
                        </a:solidFill>
                      </a:tcPr>
                    </a:tc>
                  </a:tr>
                  <a:tr h="377825">
                    <a:tc>
                      <a:txBody>
                        <a:bodyPr/>
                        <a:lstStyle/>
                        <a:p>
                          <a:endParaRPr lang="en-US"/>
                        </a:p>
                      </a:txBody>
                      <a:tcPr>
                        <a:blipFill rotWithShape="0">
                          <a:blip r:embed="rId3"/>
                          <a:stretch>
                            <a:fillRect l="-794" t="-111290" r="-300000" b="-627419"/>
                          </a:stretch>
                        </a:blipFill>
                      </a:tcPr>
                    </a:tc>
                    <a:tc>
                      <a:txBody>
                        <a:bodyPr/>
                        <a:lstStyle/>
                        <a:p>
                          <a:r>
                            <a:rPr lang="en-US" dirty="0" smtClean="0"/>
                            <a:t>400</a:t>
                          </a:r>
                          <a:endParaRPr lang="en-US" dirty="0"/>
                        </a:p>
                      </a:txBody>
                      <a:tcPr>
                        <a:solidFill>
                          <a:schemeClr val="accent6">
                            <a:lumMod val="20000"/>
                            <a:lumOff val="80000"/>
                          </a:schemeClr>
                        </a:solidFill>
                      </a:tcPr>
                    </a:tc>
                    <a:tc>
                      <a:txBody>
                        <a:bodyPr/>
                        <a:lstStyle/>
                        <a:p>
                          <a:endParaRPr lang="en-US"/>
                        </a:p>
                      </a:txBody>
                      <a:tcPr>
                        <a:blipFill rotWithShape="0">
                          <a:blip r:embed="rId3"/>
                          <a:stretch>
                            <a:fillRect l="-200000" t="-111290" r="-100794" b="-627419"/>
                          </a:stretch>
                        </a:blipFill>
                      </a:tcPr>
                    </a:tc>
                    <a:tc>
                      <a:txBody>
                        <a:bodyPr/>
                        <a:lstStyle/>
                        <a:p>
                          <a:r>
                            <a:rPr lang="en-US" dirty="0" smtClean="0"/>
                            <a:t>8</a:t>
                          </a:r>
                          <a:endParaRPr lang="en-US" dirty="0"/>
                        </a:p>
                      </a:txBody>
                      <a:tcPr>
                        <a:solidFill>
                          <a:schemeClr val="accent6">
                            <a:lumMod val="20000"/>
                            <a:lumOff val="80000"/>
                          </a:schemeClr>
                        </a:solidFill>
                      </a:tcPr>
                    </a:tc>
                  </a:tr>
                  <a:tr h="386969">
                    <a:tc>
                      <a:txBody>
                        <a:bodyPr/>
                        <a:lstStyle/>
                        <a:p>
                          <a:endParaRPr lang="en-US"/>
                        </a:p>
                      </a:txBody>
                      <a:tcPr>
                        <a:blipFill rotWithShape="0">
                          <a:blip r:embed="rId3"/>
                          <a:stretch>
                            <a:fillRect l="-794" t="-207937" r="-300000" b="-517460"/>
                          </a:stretch>
                        </a:blipFill>
                      </a:tcPr>
                    </a:tc>
                    <a:tc>
                      <a:txBody>
                        <a:bodyPr/>
                        <a:lstStyle/>
                        <a:p>
                          <a:r>
                            <a:rPr lang="en-US" dirty="0" smtClean="0"/>
                            <a:t>0.003</a:t>
                          </a:r>
                          <a:endParaRPr lang="en-US" dirty="0"/>
                        </a:p>
                      </a:txBody>
                      <a:tcPr>
                        <a:solidFill>
                          <a:schemeClr val="accent6">
                            <a:lumMod val="20000"/>
                            <a:lumOff val="80000"/>
                          </a:schemeClr>
                        </a:solidFill>
                      </a:tcPr>
                    </a:tc>
                    <a:tc>
                      <a:txBody>
                        <a:bodyPr/>
                        <a:lstStyle/>
                        <a:p>
                          <a:endParaRPr lang="en-US"/>
                        </a:p>
                      </a:txBody>
                      <a:tcPr>
                        <a:blipFill rotWithShape="0">
                          <a:blip r:embed="rId3"/>
                          <a:stretch>
                            <a:fillRect l="-200000" t="-207937" r="-100794" b="-517460"/>
                          </a:stretch>
                        </a:blipFill>
                      </a:tcPr>
                    </a:tc>
                    <a:tc>
                      <a:txBody>
                        <a:bodyPr/>
                        <a:lstStyle/>
                        <a:p>
                          <a:r>
                            <a:rPr lang="en-US" dirty="0" smtClean="0"/>
                            <a:t>1</a:t>
                          </a:r>
                          <a:endParaRPr lang="en-US" dirty="0"/>
                        </a:p>
                      </a:txBody>
                      <a:tcPr>
                        <a:solidFill>
                          <a:schemeClr val="accent6">
                            <a:lumMod val="20000"/>
                            <a:lumOff val="80000"/>
                          </a:schemeClr>
                        </a:solidFill>
                      </a:tcPr>
                    </a:tc>
                  </a:tr>
                  <a:tr h="377825">
                    <a:tc>
                      <a:txBody>
                        <a:bodyPr/>
                        <a:lstStyle/>
                        <a:p>
                          <a:endParaRPr lang="en-US"/>
                        </a:p>
                      </a:txBody>
                      <a:tcPr>
                        <a:blipFill rotWithShape="0">
                          <a:blip r:embed="rId3"/>
                          <a:stretch>
                            <a:fillRect l="-794" t="-312903" r="-300000" b="-425806"/>
                          </a:stretch>
                        </a:blipFill>
                      </a:tcPr>
                    </a:tc>
                    <a:tc>
                      <a:txBody>
                        <a:bodyPr/>
                        <a:lstStyle/>
                        <a:p>
                          <a:r>
                            <a:rPr lang="en-US" dirty="0" smtClean="0"/>
                            <a:t>1.81</a:t>
                          </a:r>
                          <a:endParaRPr lang="en-US" dirty="0"/>
                        </a:p>
                      </a:txBody>
                      <a:tcPr>
                        <a:solidFill>
                          <a:schemeClr val="accent6">
                            <a:lumMod val="20000"/>
                            <a:lumOff val="80000"/>
                          </a:schemeClr>
                        </a:solidFill>
                      </a:tcPr>
                    </a:tc>
                    <a:tc>
                      <a:txBody>
                        <a:bodyPr/>
                        <a:lstStyle/>
                        <a:p>
                          <a:endParaRPr lang="en-US"/>
                        </a:p>
                      </a:txBody>
                      <a:tcPr>
                        <a:blipFill rotWithShape="0">
                          <a:blip r:embed="rId3"/>
                          <a:stretch>
                            <a:fillRect l="-200000" t="-312903" r="-100794" b="-425806"/>
                          </a:stretch>
                        </a:blipFill>
                      </a:tcPr>
                    </a:tc>
                    <a:tc>
                      <a:txBody>
                        <a:bodyPr/>
                        <a:lstStyle/>
                        <a:p>
                          <a:r>
                            <a:rPr lang="en-US" dirty="0" smtClean="0"/>
                            <a:t>0.03</a:t>
                          </a:r>
                          <a:endParaRPr lang="en-US" dirty="0"/>
                        </a:p>
                      </a:txBody>
                      <a:tcPr>
                        <a:solidFill>
                          <a:schemeClr val="accent6">
                            <a:lumMod val="20000"/>
                            <a:lumOff val="80000"/>
                          </a:schemeClr>
                        </a:solidFill>
                      </a:tcPr>
                    </a:tc>
                  </a:tr>
                  <a:tr h="386969">
                    <a:tc>
                      <a:txBody>
                        <a:bodyPr/>
                        <a:lstStyle/>
                        <a:p>
                          <a:endParaRPr lang="en-US"/>
                        </a:p>
                      </a:txBody>
                      <a:tcPr>
                        <a:blipFill rotWithShape="0">
                          <a:blip r:embed="rId3"/>
                          <a:stretch>
                            <a:fillRect l="-794" t="-400000" r="-300000" b="-312500"/>
                          </a:stretch>
                        </a:blipFill>
                      </a:tcPr>
                    </a:tc>
                    <a:tc>
                      <a:txBody>
                        <a:bodyPr/>
                        <a:lstStyle/>
                        <a:p>
                          <a:r>
                            <a:rPr lang="en-US" dirty="0" smtClean="0"/>
                            <a:t>1.76</a:t>
                          </a:r>
                          <a:endParaRPr lang="en-US" dirty="0"/>
                        </a:p>
                      </a:txBody>
                      <a:tcPr>
                        <a:solidFill>
                          <a:schemeClr val="accent6">
                            <a:lumMod val="20000"/>
                            <a:lumOff val="80000"/>
                          </a:schemeClr>
                        </a:solidFill>
                      </a:tcPr>
                    </a:tc>
                    <a:tc>
                      <a:txBody>
                        <a:bodyPr/>
                        <a:lstStyle/>
                        <a:p>
                          <a:endParaRPr lang="en-US"/>
                        </a:p>
                      </a:txBody>
                      <a:tcPr>
                        <a:blipFill rotWithShape="0">
                          <a:blip r:embed="rId3"/>
                          <a:stretch>
                            <a:fillRect l="-200000" t="-400000" r="-100794" b="-312500"/>
                          </a:stretch>
                        </a:blipFill>
                      </a:tcPr>
                    </a:tc>
                    <a:tc>
                      <a:txBody>
                        <a:bodyPr/>
                        <a:lstStyle/>
                        <a:p>
                          <a:r>
                            <a:rPr lang="en-US" dirty="0" smtClean="0"/>
                            <a:t>0.07</a:t>
                          </a:r>
                          <a:endParaRPr lang="en-US" dirty="0"/>
                        </a:p>
                      </a:txBody>
                      <a:tcPr>
                        <a:solidFill>
                          <a:schemeClr val="accent6">
                            <a:lumMod val="20000"/>
                            <a:lumOff val="80000"/>
                          </a:schemeClr>
                        </a:solidFill>
                      </a:tcPr>
                    </a:tc>
                  </a:tr>
                  <a:tr h="370840">
                    <a:tc>
                      <a:txBody>
                        <a:bodyPr/>
                        <a:lstStyle/>
                        <a:p>
                          <a:endParaRPr lang="en-US"/>
                        </a:p>
                      </a:txBody>
                      <a:tcPr>
                        <a:blipFill rotWithShape="0">
                          <a:blip r:embed="rId3"/>
                          <a:stretch>
                            <a:fillRect l="-794" t="-524590" r="-300000" b="-227869"/>
                          </a:stretch>
                        </a:blipFill>
                      </a:tcPr>
                    </a:tc>
                    <a:tc>
                      <a:txBody>
                        <a:bodyPr/>
                        <a:lstStyle/>
                        <a:p>
                          <a:r>
                            <a:rPr lang="en-US" dirty="0" smtClean="0"/>
                            <a:t>0.3</a:t>
                          </a:r>
                          <a:endParaRPr lang="en-US" dirty="0"/>
                        </a:p>
                      </a:txBody>
                      <a:tcPr>
                        <a:solidFill>
                          <a:schemeClr val="accent6">
                            <a:lumMod val="20000"/>
                            <a:lumOff val="80000"/>
                          </a:schemeClr>
                        </a:solidFill>
                      </a:tcPr>
                    </a:tc>
                    <a:tc>
                      <a:txBody>
                        <a:bodyPr/>
                        <a:lstStyle/>
                        <a:p>
                          <a:endParaRPr lang="en-US"/>
                        </a:p>
                      </a:txBody>
                      <a:tcPr>
                        <a:blipFill rotWithShape="0">
                          <a:blip r:embed="rId3"/>
                          <a:stretch>
                            <a:fillRect l="-200000" t="-524590" r="-100794" b="-227869"/>
                          </a:stretch>
                        </a:blipFill>
                      </a:tcPr>
                    </a:tc>
                    <a:tc>
                      <a:txBody>
                        <a:bodyPr/>
                        <a:lstStyle/>
                        <a:p>
                          <a:r>
                            <a:rPr lang="en-US" dirty="0" smtClean="0"/>
                            <a:t>0.002</a:t>
                          </a:r>
                          <a:endParaRPr lang="en-US" dirty="0"/>
                        </a:p>
                      </a:txBody>
                      <a:tcPr>
                        <a:solidFill>
                          <a:schemeClr val="accent6">
                            <a:lumMod val="20000"/>
                            <a:lumOff val="80000"/>
                          </a:schemeClr>
                        </a:solidFill>
                      </a:tcPr>
                    </a:tc>
                  </a:tr>
                  <a:tr h="386969">
                    <a:tc>
                      <a:txBody>
                        <a:bodyPr/>
                        <a:lstStyle/>
                        <a:p>
                          <a:endParaRPr lang="en-US"/>
                        </a:p>
                      </a:txBody>
                      <a:tcPr>
                        <a:blipFill rotWithShape="0">
                          <a:blip r:embed="rId3"/>
                          <a:stretch>
                            <a:fillRect l="-794" t="-604762" r="-300000" b="-120635"/>
                          </a:stretch>
                        </a:blipFill>
                      </a:tcPr>
                    </a:tc>
                    <a:tc>
                      <a:txBody>
                        <a:bodyPr/>
                        <a:lstStyle/>
                        <a:p>
                          <a:r>
                            <a:rPr lang="en-US" dirty="0" smtClean="0"/>
                            <a:t>0.65</a:t>
                          </a:r>
                          <a:endParaRPr lang="en-US" dirty="0"/>
                        </a:p>
                      </a:txBody>
                      <a:tcPr>
                        <a:solidFill>
                          <a:schemeClr val="accent6">
                            <a:lumMod val="20000"/>
                            <a:lumOff val="80000"/>
                          </a:schemeClr>
                        </a:solidFill>
                      </a:tcPr>
                    </a:tc>
                    <a:tc>
                      <a:txBody>
                        <a:bodyPr/>
                        <a:lstStyle/>
                        <a:p>
                          <a:endParaRPr lang="en-US"/>
                        </a:p>
                      </a:txBody>
                      <a:tcPr>
                        <a:blipFill rotWithShape="0">
                          <a:blip r:embed="rId3"/>
                          <a:stretch>
                            <a:fillRect l="-200000" t="-604762" r="-100794" b="-120635"/>
                          </a:stretch>
                        </a:blipFill>
                      </a:tcPr>
                    </a:tc>
                    <a:tc>
                      <a:txBody>
                        <a:bodyPr/>
                        <a:lstStyle/>
                        <a:p>
                          <a:r>
                            <a:rPr lang="en-US" dirty="0" smtClean="0"/>
                            <a:t>7</a:t>
                          </a:r>
                          <a:endParaRPr lang="en-US" dirty="0"/>
                        </a:p>
                      </a:txBody>
                      <a:tcPr>
                        <a:solidFill>
                          <a:schemeClr val="accent6">
                            <a:lumMod val="20000"/>
                            <a:lumOff val="80000"/>
                          </a:schemeClr>
                        </a:solidFill>
                      </a:tcPr>
                    </a:tc>
                  </a:tr>
                  <a:tr h="370840">
                    <a:tc>
                      <a:txBody>
                        <a:bodyPr/>
                        <a:lstStyle/>
                        <a:p>
                          <a:endParaRPr lang="en-US"/>
                        </a:p>
                      </a:txBody>
                      <a:tcPr>
                        <a:blipFill rotWithShape="0">
                          <a:blip r:embed="rId3"/>
                          <a:stretch>
                            <a:fillRect l="-794" t="-727869" r="-300000" b="-24590"/>
                          </a:stretch>
                        </a:blipFill>
                      </a:tcPr>
                    </a:tc>
                    <a:tc>
                      <a:txBody>
                        <a:bodyPr/>
                        <a:lstStyle/>
                        <a:p>
                          <a:r>
                            <a:rPr lang="en-US" dirty="0" smtClean="0"/>
                            <a:t>0.23</a:t>
                          </a:r>
                          <a:endParaRPr lang="en-US" dirty="0"/>
                        </a:p>
                      </a:txBody>
                      <a:tcPr>
                        <a:solidFill>
                          <a:schemeClr val="accent6">
                            <a:lumMod val="20000"/>
                            <a:lumOff val="80000"/>
                          </a:schemeClr>
                        </a:solidFill>
                      </a:tcPr>
                    </a:tc>
                    <a:tc>
                      <a:txBody>
                        <a:bodyPr/>
                        <a:lstStyle/>
                        <a:p>
                          <a:endParaRPr lang="en-US"/>
                        </a:p>
                      </a:txBody>
                      <a:tcPr>
                        <a:blipFill rotWithShape="0">
                          <a:blip r:embed="rId3"/>
                          <a:stretch>
                            <a:fillRect l="-200000" t="-727869" r="-100794" b="-24590"/>
                          </a:stretch>
                        </a:blipFill>
                      </a:tcPr>
                    </a:tc>
                    <a:tc>
                      <a:txBody>
                        <a:bodyPr/>
                        <a:lstStyle/>
                        <a:p>
                          <a:r>
                            <a:rPr lang="en-US" dirty="0" smtClean="0"/>
                            <a:t>0</a:t>
                          </a:r>
                          <a:endParaRPr lang="en-US" dirty="0"/>
                        </a:p>
                      </a:txBody>
                      <a:tcPr>
                        <a:solidFill>
                          <a:schemeClr val="accent6">
                            <a:lumMod val="20000"/>
                            <a:lumOff val="80000"/>
                          </a:schemeClr>
                        </a:solidFill>
                      </a:tcPr>
                    </a:tc>
                  </a:tr>
                </a:tbl>
              </a:graphicData>
            </a:graphic>
          </p:graphicFrame>
        </mc:Fallback>
      </mc:AlternateContent>
      <p:pic>
        <p:nvPicPr>
          <p:cNvPr id="9" name="Picture 8"/>
          <p:cNvPicPr>
            <a:picLocks noChangeAspect="1"/>
          </p:cNvPicPr>
          <p:nvPr/>
        </p:nvPicPr>
        <p:blipFill>
          <a:blip r:embed="rId4"/>
          <a:stretch>
            <a:fillRect/>
          </a:stretch>
        </p:blipFill>
        <p:spPr>
          <a:xfrm>
            <a:off x="5022943" y="2476189"/>
            <a:ext cx="3115568" cy="2900501"/>
          </a:xfrm>
          <a:prstGeom prst="rect">
            <a:avLst/>
          </a:prstGeom>
        </p:spPr>
      </p:pic>
    </p:spTree>
    <p:extLst>
      <p:ext uri="{BB962C8B-B14F-4D97-AF65-F5344CB8AC3E}">
        <p14:creationId xmlns:p14="http://schemas.microsoft.com/office/powerpoint/2010/main" val="143999486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Example 1</a:t>
            </a:r>
            <a:endParaRPr lang="en-US" dirty="0"/>
          </a:p>
        </p:txBody>
      </p:sp>
      <p:sp>
        <p:nvSpPr>
          <p:cNvPr id="6" name="Footer Placeholder 5"/>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fld id="{440EDFD1-B7BF-467C-97A6-8BB3B0D76BCB}" type="slidenum">
              <a:rPr lang="en-US" smtClean="0"/>
              <a:pPr/>
              <a:t>19</a:t>
            </a:fld>
            <a:endParaRPr lang="en-US" dirty="0"/>
          </a:p>
        </p:txBody>
      </p:sp>
      <p:sp>
        <p:nvSpPr>
          <p:cNvPr id="3" name="Date Placeholder 2"/>
          <p:cNvSpPr>
            <a:spLocks noGrp="1"/>
          </p:cNvSpPr>
          <p:nvPr>
            <p:ph type="dt" sz="half" idx="12"/>
          </p:nvPr>
        </p:nvSpPr>
        <p:spPr/>
        <p:txBody>
          <a:bodyPr/>
          <a:lstStyle/>
          <a:p>
            <a:r>
              <a:rPr lang="sv-SE"/>
              <a:t>2016-11-20</a:t>
            </a:r>
          </a:p>
        </p:txBody>
      </p:sp>
      <p:sp>
        <p:nvSpPr>
          <p:cNvPr id="14" name="Content Placeholder 13"/>
          <p:cNvSpPr>
            <a:spLocks noGrp="1"/>
          </p:cNvSpPr>
          <p:nvPr>
            <p:ph idx="1"/>
          </p:nvPr>
        </p:nvSpPr>
        <p:spPr/>
        <p:txBody>
          <a:bodyPr>
            <a:normAutofit/>
          </a:bodyPr>
          <a:lstStyle/>
          <a:p>
            <a:r>
              <a:rPr lang="en-US" b="1" dirty="0"/>
              <a:t>Generator model – Step 1 </a:t>
            </a:r>
          </a:p>
          <a:p>
            <a:pPr marL="342900" indent="-342900">
              <a:buFont typeface="Arial" panose="020B0604020202020204" pitchFamily="34" charset="0"/>
              <a:buChar char="•"/>
            </a:pPr>
            <a:r>
              <a:rPr lang="en-US" dirty="0"/>
              <a:t>Power flow results:</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a:p>
          <a:p>
            <a:endParaRPr lang="en-US" dirty="0"/>
          </a:p>
          <a:p>
            <a:endParaRPr lang="en-US" dirty="0"/>
          </a:p>
          <a:p>
            <a:r>
              <a:rPr lang="en-US" dirty="0"/>
              <a:t>Note: Using the variables (V_0, Angle_0, etc.) allow to propagate the parameters to the “upper layer” of the generator </a:t>
            </a:r>
            <a:r>
              <a:rPr lang="en-US" dirty="0" err="1"/>
              <a:t>componen</a:t>
            </a:r>
            <a:endParaRPr lang="en-US" dirty="0"/>
          </a:p>
        </p:txBody>
      </p:sp>
      <mc:AlternateContent xmlns:mc="http://schemas.openxmlformats.org/markup-compatibility/2006" xmlns:a14="http://schemas.microsoft.com/office/drawing/2010/main">
        <mc:Choice Requires="a14">
          <p:graphicFrame>
            <p:nvGraphicFramePr>
              <p:cNvPr id="8" name="Table 7"/>
              <p:cNvGraphicFramePr>
                <a:graphicFrameLocks noGrp="1"/>
              </p:cNvGraphicFramePr>
              <p:nvPr>
                <p:extLst>
                  <p:ext uri="{D42A27DB-BD31-4B8C-83A1-F6EECF244321}">
                    <p14:modId xmlns:p14="http://schemas.microsoft.com/office/powerpoint/2010/main" val="4271807505"/>
                  </p:ext>
                </p:extLst>
              </p:nvPr>
            </p:nvGraphicFramePr>
            <p:xfrm>
              <a:off x="3067472" y="2070094"/>
              <a:ext cx="2808312" cy="2727058"/>
            </p:xfrm>
            <a:graphic>
              <a:graphicData uri="http://schemas.openxmlformats.org/drawingml/2006/table">
                <a:tbl>
                  <a:tblPr firstRow="1" bandRow="1">
                    <a:tableStyleId>{5940675A-B579-460E-94D1-54222C63F5DA}</a:tableStyleId>
                  </a:tblPr>
                  <a:tblGrid>
                    <a:gridCol w="1404156">
                      <a:extLst>
                        <a:ext uri="{9D8B030D-6E8A-4147-A177-3AD203B41FA5}">
                          <a16:colId xmlns:a16="http://schemas.microsoft.com/office/drawing/2014/main" val="20000"/>
                        </a:ext>
                      </a:extLst>
                    </a:gridCol>
                    <a:gridCol w="1404156">
                      <a:extLst>
                        <a:ext uri="{9D8B030D-6E8A-4147-A177-3AD203B41FA5}">
                          <a16:colId xmlns:a16="http://schemas.microsoft.com/office/drawing/2014/main" val="20001"/>
                        </a:ext>
                      </a:extLst>
                    </a:gridCol>
                  </a:tblGrid>
                  <a:tr h="392228">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𝑉</m:t>
                                    </m:r>
                                  </m:e>
                                  <m:sub>
                                    <m:r>
                                      <a:rPr lang="hr-HR" b="0" i="1" smtClean="0">
                                        <a:solidFill>
                                          <a:schemeClr val="tx1"/>
                                        </a:solidFill>
                                        <a:latin typeface="Cambria Math" charset="0"/>
                                      </a:rPr>
                                      <m:t>0</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V_0</a:t>
                          </a:r>
                        </a:p>
                      </a:txBody>
                      <a:tcPr>
                        <a:solidFill>
                          <a:schemeClr val="accent6">
                            <a:lumMod val="20000"/>
                            <a:lumOff val="80000"/>
                          </a:schemeClr>
                        </a:solidFill>
                      </a:tcPr>
                    </a:tc>
                    <a:extLst>
                      <a:ext uri="{0D108BD9-81ED-4DB2-BD59-A6C34878D82A}">
                        <a16:rowId xmlns:a16="http://schemas.microsoft.com/office/drawing/2014/main" val="10000"/>
                      </a:ext>
                    </a:extLst>
                  </a:tr>
                  <a:tr h="382959">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𝑎𝑛𝑔𝑙𝑒</m:t>
                                    </m:r>
                                  </m:e>
                                  <m:sub>
                                    <m:r>
                                      <a:rPr lang="hr-HR" b="0" i="1" smtClean="0">
                                        <a:solidFill>
                                          <a:schemeClr val="tx1"/>
                                        </a:solidFill>
                                        <a:latin typeface="Cambria Math" charset="0"/>
                                      </a:rPr>
                                      <m:t>0</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Angle_0</a:t>
                          </a:r>
                        </a:p>
                      </a:txBody>
                      <a:tcPr>
                        <a:solidFill>
                          <a:schemeClr val="accent6">
                            <a:lumMod val="20000"/>
                            <a:lumOff val="80000"/>
                          </a:schemeClr>
                        </a:solidFill>
                      </a:tcPr>
                    </a:tc>
                    <a:extLst>
                      <a:ext uri="{0D108BD9-81ED-4DB2-BD59-A6C34878D82A}">
                        <a16:rowId xmlns:a16="http://schemas.microsoft.com/office/drawing/2014/main" val="10001"/>
                      </a:ext>
                    </a:extLst>
                  </a:tr>
                  <a:tr h="392228">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𝑃</m:t>
                                    </m:r>
                                  </m:e>
                                  <m:sub>
                                    <m:r>
                                      <a:rPr lang="hr-HR" b="0" i="1" smtClean="0">
                                        <a:solidFill>
                                          <a:schemeClr val="tx1"/>
                                        </a:solidFill>
                                        <a:latin typeface="Cambria Math" charset="0"/>
                                      </a:rPr>
                                      <m:t>0</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fi-FI" dirty="0"/>
                            <a:t>P_0</a:t>
                          </a:r>
                          <a:endParaRPr lang="en-US" dirty="0"/>
                        </a:p>
                      </a:txBody>
                      <a:tcPr>
                        <a:solidFill>
                          <a:schemeClr val="accent6">
                            <a:lumMod val="20000"/>
                            <a:lumOff val="80000"/>
                          </a:schemeClr>
                        </a:solidFill>
                      </a:tcPr>
                    </a:tc>
                    <a:extLst>
                      <a:ext uri="{0D108BD9-81ED-4DB2-BD59-A6C34878D82A}">
                        <a16:rowId xmlns:a16="http://schemas.microsoft.com/office/drawing/2014/main" val="10002"/>
                      </a:ext>
                    </a:extLst>
                  </a:tr>
                  <a:tr h="382959">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𝑄</m:t>
                                    </m:r>
                                  </m:e>
                                  <m:sub>
                                    <m:r>
                                      <a:rPr lang="hr-HR" b="0" i="1" smtClean="0">
                                        <a:solidFill>
                                          <a:schemeClr val="tx1"/>
                                        </a:solidFill>
                                        <a:latin typeface="Cambria Math" charset="0"/>
                                      </a:rPr>
                                      <m:t>0</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fi-FI" dirty="0"/>
                            <a:t>Q_0</a:t>
                          </a:r>
                          <a:endParaRPr lang="en-US" dirty="0"/>
                        </a:p>
                      </a:txBody>
                      <a:tcPr>
                        <a:solidFill>
                          <a:schemeClr val="accent6">
                            <a:lumMod val="20000"/>
                            <a:lumOff val="80000"/>
                          </a:schemeClr>
                        </a:solidFill>
                      </a:tcPr>
                    </a:tc>
                    <a:extLst>
                      <a:ext uri="{0D108BD9-81ED-4DB2-BD59-A6C34878D82A}">
                        <a16:rowId xmlns:a16="http://schemas.microsoft.com/office/drawing/2014/main" val="10003"/>
                      </a:ext>
                    </a:extLst>
                  </a:tr>
                  <a:tr h="392228">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𝑉</m:t>
                                    </m:r>
                                  </m:e>
                                  <m:sub>
                                    <m:r>
                                      <a:rPr lang="hr-HR" b="0" i="1" smtClean="0">
                                        <a:solidFill>
                                          <a:schemeClr val="tx1"/>
                                        </a:solidFill>
                                        <a:latin typeface="Cambria Math" charset="0"/>
                                      </a:rPr>
                                      <m:t>𝑏</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err="1"/>
                            <a:t>V_b</a:t>
                          </a:r>
                          <a:endParaRPr lang="en-US" dirty="0"/>
                        </a:p>
                      </a:txBody>
                      <a:tcPr>
                        <a:solidFill>
                          <a:schemeClr val="accent6">
                            <a:lumMod val="20000"/>
                            <a:lumOff val="80000"/>
                          </a:schemeClr>
                        </a:solidFill>
                      </a:tcPr>
                    </a:tc>
                    <a:extLst>
                      <a:ext uri="{0D108BD9-81ED-4DB2-BD59-A6C34878D82A}">
                        <a16:rowId xmlns:a16="http://schemas.microsoft.com/office/drawing/2014/main" val="10004"/>
                      </a:ext>
                    </a:extLst>
                  </a:tr>
                  <a:tr h="392228">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𝑆</m:t>
                                    </m:r>
                                  </m:e>
                                  <m:sub>
                                    <m:r>
                                      <a:rPr lang="hr-HR" b="0" i="1" smtClean="0">
                                        <a:solidFill>
                                          <a:schemeClr val="tx1"/>
                                        </a:solidFill>
                                        <a:latin typeface="Cambria Math" charset="0"/>
                                      </a:rPr>
                                      <m:t>𝑏</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Do not edit</a:t>
                          </a:r>
                        </a:p>
                      </a:txBody>
                      <a:tcPr>
                        <a:solidFill>
                          <a:schemeClr val="accent6">
                            <a:lumMod val="20000"/>
                            <a:lumOff val="80000"/>
                          </a:schemeClr>
                        </a:solidFill>
                      </a:tcPr>
                    </a:tc>
                    <a:extLst>
                      <a:ext uri="{0D108BD9-81ED-4DB2-BD59-A6C34878D82A}">
                        <a16:rowId xmlns:a16="http://schemas.microsoft.com/office/drawing/2014/main" val="10005"/>
                      </a:ext>
                    </a:extLst>
                  </a:tr>
                  <a:tr h="392228">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𝑓</m:t>
                                    </m:r>
                                  </m:e>
                                  <m:sub>
                                    <m:r>
                                      <a:rPr lang="hr-HR" b="0" i="1" smtClean="0">
                                        <a:solidFill>
                                          <a:schemeClr val="tx1"/>
                                        </a:solidFill>
                                        <a:latin typeface="Cambria Math" charset="0"/>
                                      </a:rPr>
                                      <m:t>𝑛</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Do not edit</a:t>
                          </a:r>
                        </a:p>
                      </a:txBody>
                      <a:tcPr>
                        <a:solidFill>
                          <a:schemeClr val="accent6">
                            <a:lumMod val="20000"/>
                            <a:lumOff val="80000"/>
                          </a:schemeClr>
                        </a:solidFill>
                      </a:tcPr>
                    </a:tc>
                    <a:extLst>
                      <a:ext uri="{0D108BD9-81ED-4DB2-BD59-A6C34878D82A}">
                        <a16:rowId xmlns:a16="http://schemas.microsoft.com/office/drawing/2014/main" val="10006"/>
                      </a:ext>
                    </a:extLst>
                  </a:tr>
                </a:tbl>
              </a:graphicData>
            </a:graphic>
          </p:graphicFrame>
        </mc:Choice>
        <mc:Fallback xmlns="">
          <p:graphicFrame>
            <p:nvGraphicFramePr>
              <p:cNvPr id="8" name="Table 7"/>
              <p:cNvGraphicFramePr>
                <a:graphicFrameLocks noGrp="1"/>
              </p:cNvGraphicFramePr>
              <p:nvPr>
                <p:extLst>
                  <p:ext uri="{D42A27DB-BD31-4B8C-83A1-F6EECF244321}">
                    <p14:modId xmlns:p14="http://schemas.microsoft.com/office/powerpoint/2010/main" val="4271807505"/>
                  </p:ext>
                </p:extLst>
              </p:nvPr>
            </p:nvGraphicFramePr>
            <p:xfrm>
              <a:off x="3067472" y="2070094"/>
              <a:ext cx="2808312" cy="2727058"/>
            </p:xfrm>
            <a:graphic>
              <a:graphicData uri="http://schemas.openxmlformats.org/drawingml/2006/table">
                <a:tbl>
                  <a:tblPr firstRow="1" bandRow="1">
                    <a:tableStyleId>{5940675A-B579-460E-94D1-54222C63F5DA}</a:tableStyleId>
                  </a:tblPr>
                  <a:tblGrid>
                    <a:gridCol w="1404156">
                      <a:extLst>
                        <a:ext uri="{9D8B030D-6E8A-4147-A177-3AD203B41FA5}">
                          <a16:colId xmlns:a16="http://schemas.microsoft.com/office/drawing/2014/main" val="20000"/>
                        </a:ext>
                      </a:extLst>
                    </a:gridCol>
                    <a:gridCol w="1404156">
                      <a:extLst>
                        <a:ext uri="{9D8B030D-6E8A-4147-A177-3AD203B41FA5}">
                          <a16:colId xmlns:a16="http://schemas.microsoft.com/office/drawing/2014/main" val="20001"/>
                        </a:ext>
                      </a:extLst>
                    </a:gridCol>
                  </a:tblGrid>
                  <a:tr h="392228">
                    <a:tc>
                      <a:txBody>
                        <a:bodyPr/>
                        <a:lstStyle/>
                        <a:p>
                          <a:endParaRPr lang="en-US"/>
                        </a:p>
                      </a:txBody>
                      <a:tcPr>
                        <a:blipFill>
                          <a:blip r:embed="rId3"/>
                          <a:stretch>
                            <a:fillRect l="-433" t="-7813" r="-100433" b="-618750"/>
                          </a:stretch>
                        </a:blipFill>
                      </a:tcPr>
                    </a:tc>
                    <a:tc>
                      <a:txBody>
                        <a:bodyPr/>
                        <a:lstStyle/>
                        <a:p>
                          <a:r>
                            <a:rPr lang="en-US" dirty="0"/>
                            <a:t>V_0</a:t>
                          </a:r>
                        </a:p>
                      </a:txBody>
                      <a:tcPr>
                        <a:solidFill>
                          <a:schemeClr val="accent6">
                            <a:lumMod val="20000"/>
                            <a:lumOff val="80000"/>
                          </a:schemeClr>
                        </a:solidFill>
                      </a:tcPr>
                    </a:tc>
                    <a:extLst>
                      <a:ext uri="{0D108BD9-81ED-4DB2-BD59-A6C34878D82A}">
                        <a16:rowId xmlns:a16="http://schemas.microsoft.com/office/drawing/2014/main" val="10000"/>
                      </a:ext>
                    </a:extLst>
                  </a:tr>
                  <a:tr h="382959">
                    <a:tc>
                      <a:txBody>
                        <a:bodyPr/>
                        <a:lstStyle/>
                        <a:p>
                          <a:endParaRPr lang="en-US"/>
                        </a:p>
                      </a:txBody>
                      <a:tcPr>
                        <a:blipFill>
                          <a:blip r:embed="rId3"/>
                          <a:stretch>
                            <a:fillRect l="-433" t="-109524" r="-100433" b="-528571"/>
                          </a:stretch>
                        </a:blipFill>
                      </a:tcPr>
                    </a:tc>
                    <a:tc>
                      <a:txBody>
                        <a:bodyPr/>
                        <a:lstStyle/>
                        <a:p>
                          <a:r>
                            <a:rPr lang="en-US" dirty="0"/>
                            <a:t>Angle_0</a:t>
                          </a:r>
                        </a:p>
                      </a:txBody>
                      <a:tcPr>
                        <a:solidFill>
                          <a:schemeClr val="accent6">
                            <a:lumMod val="20000"/>
                            <a:lumOff val="80000"/>
                          </a:schemeClr>
                        </a:solidFill>
                      </a:tcPr>
                    </a:tc>
                    <a:extLst>
                      <a:ext uri="{0D108BD9-81ED-4DB2-BD59-A6C34878D82A}">
                        <a16:rowId xmlns:a16="http://schemas.microsoft.com/office/drawing/2014/main" val="10001"/>
                      </a:ext>
                    </a:extLst>
                  </a:tr>
                  <a:tr h="392228">
                    <a:tc>
                      <a:txBody>
                        <a:bodyPr/>
                        <a:lstStyle/>
                        <a:p>
                          <a:endParaRPr lang="en-US"/>
                        </a:p>
                      </a:txBody>
                      <a:tcPr>
                        <a:blipFill>
                          <a:blip r:embed="rId3"/>
                          <a:stretch>
                            <a:fillRect l="-433" t="-203077" r="-100433" b="-412308"/>
                          </a:stretch>
                        </a:blipFill>
                      </a:tcPr>
                    </a:tc>
                    <a:tc>
                      <a:txBody>
                        <a:bodyPr/>
                        <a:lstStyle/>
                        <a:p>
                          <a:r>
                            <a:rPr lang="fi-FI" dirty="0"/>
                            <a:t>P_0</a:t>
                          </a:r>
                          <a:endParaRPr lang="en-US" dirty="0"/>
                        </a:p>
                      </a:txBody>
                      <a:tcPr>
                        <a:solidFill>
                          <a:schemeClr val="accent6">
                            <a:lumMod val="20000"/>
                            <a:lumOff val="80000"/>
                          </a:schemeClr>
                        </a:solidFill>
                      </a:tcPr>
                    </a:tc>
                    <a:extLst>
                      <a:ext uri="{0D108BD9-81ED-4DB2-BD59-A6C34878D82A}">
                        <a16:rowId xmlns:a16="http://schemas.microsoft.com/office/drawing/2014/main" val="10002"/>
                      </a:ext>
                    </a:extLst>
                  </a:tr>
                  <a:tr h="382959">
                    <a:tc>
                      <a:txBody>
                        <a:bodyPr/>
                        <a:lstStyle/>
                        <a:p>
                          <a:endParaRPr lang="en-US"/>
                        </a:p>
                      </a:txBody>
                      <a:tcPr>
                        <a:blipFill>
                          <a:blip r:embed="rId3"/>
                          <a:stretch>
                            <a:fillRect l="-433" t="-312698" r="-100433" b="-325397"/>
                          </a:stretch>
                        </a:blipFill>
                      </a:tcPr>
                    </a:tc>
                    <a:tc>
                      <a:txBody>
                        <a:bodyPr/>
                        <a:lstStyle/>
                        <a:p>
                          <a:r>
                            <a:rPr lang="fi-FI" dirty="0"/>
                            <a:t>Q_0</a:t>
                          </a:r>
                          <a:endParaRPr lang="en-US" dirty="0"/>
                        </a:p>
                      </a:txBody>
                      <a:tcPr>
                        <a:solidFill>
                          <a:schemeClr val="accent6">
                            <a:lumMod val="20000"/>
                            <a:lumOff val="80000"/>
                          </a:schemeClr>
                        </a:solidFill>
                      </a:tcPr>
                    </a:tc>
                    <a:extLst>
                      <a:ext uri="{0D108BD9-81ED-4DB2-BD59-A6C34878D82A}">
                        <a16:rowId xmlns:a16="http://schemas.microsoft.com/office/drawing/2014/main" val="10003"/>
                      </a:ext>
                    </a:extLst>
                  </a:tr>
                  <a:tr h="392228">
                    <a:tc>
                      <a:txBody>
                        <a:bodyPr/>
                        <a:lstStyle/>
                        <a:p>
                          <a:endParaRPr lang="en-US"/>
                        </a:p>
                      </a:txBody>
                      <a:tcPr>
                        <a:blipFill>
                          <a:blip r:embed="rId3"/>
                          <a:stretch>
                            <a:fillRect l="-433" t="-406250" r="-100433" b="-220313"/>
                          </a:stretch>
                        </a:blipFill>
                      </a:tcPr>
                    </a:tc>
                    <a:tc>
                      <a:txBody>
                        <a:bodyPr/>
                        <a:lstStyle/>
                        <a:p>
                          <a:r>
                            <a:rPr lang="en-US" dirty="0" err="1"/>
                            <a:t>V_b</a:t>
                          </a:r>
                          <a:endParaRPr lang="en-US" dirty="0"/>
                        </a:p>
                      </a:txBody>
                      <a:tcPr>
                        <a:solidFill>
                          <a:schemeClr val="accent6">
                            <a:lumMod val="20000"/>
                            <a:lumOff val="80000"/>
                          </a:schemeClr>
                        </a:solidFill>
                      </a:tcPr>
                    </a:tc>
                    <a:extLst>
                      <a:ext uri="{0D108BD9-81ED-4DB2-BD59-A6C34878D82A}">
                        <a16:rowId xmlns:a16="http://schemas.microsoft.com/office/drawing/2014/main" val="10004"/>
                      </a:ext>
                    </a:extLst>
                  </a:tr>
                  <a:tr h="392228">
                    <a:tc>
                      <a:txBody>
                        <a:bodyPr/>
                        <a:lstStyle/>
                        <a:p>
                          <a:endParaRPr lang="en-US"/>
                        </a:p>
                      </a:txBody>
                      <a:tcPr>
                        <a:blipFill>
                          <a:blip r:embed="rId3"/>
                          <a:stretch>
                            <a:fillRect l="-433" t="-498462" r="-100433" b="-116923"/>
                          </a:stretch>
                        </a:blipFill>
                      </a:tcPr>
                    </a:tc>
                    <a:tc>
                      <a:txBody>
                        <a:bodyPr/>
                        <a:lstStyle/>
                        <a:p>
                          <a:r>
                            <a:rPr lang="en-US" dirty="0"/>
                            <a:t>Do not edit</a:t>
                          </a:r>
                        </a:p>
                      </a:txBody>
                      <a:tcPr>
                        <a:solidFill>
                          <a:schemeClr val="accent6">
                            <a:lumMod val="20000"/>
                            <a:lumOff val="80000"/>
                          </a:schemeClr>
                        </a:solidFill>
                      </a:tcPr>
                    </a:tc>
                    <a:extLst>
                      <a:ext uri="{0D108BD9-81ED-4DB2-BD59-A6C34878D82A}">
                        <a16:rowId xmlns:a16="http://schemas.microsoft.com/office/drawing/2014/main" val="10005"/>
                      </a:ext>
                    </a:extLst>
                  </a:tr>
                  <a:tr h="392228">
                    <a:tc>
                      <a:txBody>
                        <a:bodyPr/>
                        <a:lstStyle/>
                        <a:p>
                          <a:endParaRPr lang="en-US"/>
                        </a:p>
                      </a:txBody>
                      <a:tcPr>
                        <a:blipFill>
                          <a:blip r:embed="rId3"/>
                          <a:stretch>
                            <a:fillRect l="-433" t="-607813" r="-100433" b="-18750"/>
                          </a:stretch>
                        </a:blipFill>
                      </a:tcPr>
                    </a:tc>
                    <a:tc>
                      <a:txBody>
                        <a:bodyPr/>
                        <a:lstStyle/>
                        <a:p>
                          <a:r>
                            <a:rPr lang="en-US" dirty="0"/>
                            <a:t>Do not edit</a:t>
                          </a:r>
                        </a:p>
                      </a:txBody>
                      <a:tcPr>
                        <a:solidFill>
                          <a:schemeClr val="accent6">
                            <a:lumMod val="20000"/>
                            <a:lumOff val="80000"/>
                          </a:schemeClr>
                        </a:solidFill>
                      </a:tcPr>
                    </a:tc>
                    <a:extLst>
                      <a:ext uri="{0D108BD9-81ED-4DB2-BD59-A6C34878D82A}">
                        <a16:rowId xmlns:a16="http://schemas.microsoft.com/office/drawing/2014/main" val="10006"/>
                      </a:ext>
                    </a:extLst>
                  </a:tr>
                </a:tbl>
              </a:graphicData>
            </a:graphic>
          </p:graphicFrame>
        </mc:Fallback>
      </mc:AlternateContent>
    </p:spTree>
    <p:extLst>
      <p:ext uri="{BB962C8B-B14F-4D97-AF65-F5344CB8AC3E}">
        <p14:creationId xmlns:p14="http://schemas.microsoft.com/office/powerpoint/2010/main" val="200051162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Workshop Agenda</a:t>
            </a:r>
            <a:endParaRPr lang="en-US" dirty="0"/>
          </a:p>
        </p:txBody>
      </p:sp>
      <p:sp>
        <p:nvSpPr>
          <p:cNvPr id="6" name="Footer Placeholder 5"/>
          <p:cNvSpPr>
            <a:spLocks noGrp="1"/>
          </p:cNvSpPr>
          <p:nvPr>
            <p:ph type="ftr" sz="quarter" idx="10"/>
          </p:nvPr>
        </p:nvSpPr>
        <p:spPr/>
        <p:txBody>
          <a:bodyPr/>
          <a:lstStyle/>
          <a:p>
            <a:r>
              <a:rPr lang="sv-SE"/>
              <a:t>OpenIPSL Tutorial</a:t>
            </a:r>
            <a:endParaRPr lang="sv-SE" dirty="0"/>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2</a:t>
            </a:fld>
            <a:endParaRPr lang="en-US" dirty="0"/>
          </a:p>
        </p:txBody>
      </p:sp>
      <p:sp>
        <p:nvSpPr>
          <p:cNvPr id="5" name="Date Placeholder 4"/>
          <p:cNvSpPr>
            <a:spLocks noGrp="1"/>
          </p:cNvSpPr>
          <p:nvPr>
            <p:ph type="dt" sz="half" idx="12"/>
          </p:nvPr>
        </p:nvSpPr>
        <p:spPr/>
        <p:txBody>
          <a:bodyPr/>
          <a:lstStyle/>
          <a:p>
            <a:r>
              <a:rPr lang="sv-SE"/>
              <a:t>2016-11-20</a:t>
            </a:r>
          </a:p>
        </p:txBody>
      </p:sp>
      <p:sp>
        <p:nvSpPr>
          <p:cNvPr id="3" name="Content Placeholder 2"/>
          <p:cNvSpPr>
            <a:spLocks noGrp="1"/>
          </p:cNvSpPr>
          <p:nvPr>
            <p:ph idx="1"/>
          </p:nvPr>
        </p:nvSpPr>
        <p:spPr/>
        <p:txBody>
          <a:bodyPr/>
          <a:lstStyle/>
          <a:p>
            <a:endParaRPr lang="en-US" dirty="0"/>
          </a:p>
          <a:p>
            <a:pPr marL="342900" indent="-342900">
              <a:buFont typeface="Arial" charset="0"/>
              <a:buChar char="•"/>
            </a:pPr>
            <a:r>
              <a:rPr lang="en-US" dirty="0"/>
              <a:t>Introduction to the Open-Instance Power System Library </a:t>
            </a:r>
          </a:p>
          <a:p>
            <a:pPr marL="342900" indent="-342900">
              <a:buFont typeface="Arial" charset="0"/>
              <a:buChar char="•"/>
            </a:pPr>
            <a:r>
              <a:rPr lang="en-US" dirty="0"/>
              <a:t>Modelling and simulation possibilities by using </a:t>
            </a:r>
            <a:r>
              <a:rPr lang="en-US" dirty="0" err="1"/>
              <a:t>OpenIPSL</a:t>
            </a:r>
            <a:r>
              <a:rPr lang="en-US" dirty="0"/>
              <a:t> and Modelica</a:t>
            </a:r>
          </a:p>
          <a:p>
            <a:pPr marL="342900" indent="-342900">
              <a:buFont typeface="Arial" charset="0"/>
              <a:buChar char="•"/>
            </a:pPr>
            <a:r>
              <a:rPr lang="en-US" dirty="0"/>
              <a:t>Comparison of the performance with a reference simulation software</a:t>
            </a:r>
          </a:p>
          <a:p>
            <a:pPr marL="342900" indent="-342900">
              <a:buFont typeface="Arial" charset="0"/>
              <a:buChar char="•"/>
            </a:pPr>
            <a:r>
              <a:rPr lang="en-US" dirty="0"/>
              <a:t>3 use cases with a dynamic simulation and linearization</a:t>
            </a:r>
          </a:p>
          <a:p>
            <a:endParaRPr lang="en-US" dirty="0"/>
          </a:p>
          <a:p>
            <a:pPr marL="0" indent="0">
              <a:buNone/>
            </a:pPr>
            <a:endParaRPr lang="en-US" dirty="0"/>
          </a:p>
          <a:p>
            <a:endParaRPr lang="en-US" dirty="0"/>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2132578">
            <a:off x="6919749" y="4009718"/>
            <a:ext cx="1481973" cy="1481973"/>
          </a:xfrm>
          <a:prstGeom prst="rect">
            <a:avLst/>
          </a:prstGeom>
        </p:spPr>
      </p:pic>
      <p:pic>
        <p:nvPicPr>
          <p:cNvPr id="13" name="Picture 2" descr="C:\Nobackup\Dropbox\Maxime - Luigi\presentations\Material From Luigi\SmarTSLabLogo\smartslab_logo_Transparente.png"/>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l="8981" t="10406" r="9422" b="16975"/>
          <a:stretch/>
        </p:blipFill>
        <p:spPr bwMode="auto">
          <a:xfrm>
            <a:off x="6449633" y="249233"/>
            <a:ext cx="2422204" cy="847669"/>
          </a:xfrm>
          <a:prstGeom prst="rect">
            <a:avLst/>
          </a:prstGeom>
          <a:solidFill>
            <a:schemeClr val="bg1"/>
          </a:solidFill>
          <a:extLst/>
        </p:spPr>
      </p:pic>
      <p:pic>
        <p:nvPicPr>
          <p:cNvPr id="14" name="Picture 13"/>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827584" y="4221088"/>
            <a:ext cx="4199632" cy="927191"/>
          </a:xfrm>
          <a:prstGeom prst="rect">
            <a:avLst/>
          </a:prstGeom>
        </p:spPr>
      </p:pic>
    </p:spTree>
    <p:extLst>
      <p:ext uri="{BB962C8B-B14F-4D97-AF65-F5344CB8AC3E}">
        <p14:creationId xmlns:p14="http://schemas.microsoft.com/office/powerpoint/2010/main" val="146357862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9" name="Footer Placeholder 8"/>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20</a:t>
            </a:fld>
            <a:endParaRPr lang="en-US" dirty="0"/>
          </a:p>
        </p:txBody>
      </p:sp>
      <p:sp>
        <p:nvSpPr>
          <p:cNvPr id="3" name="Date Placeholder 2"/>
          <p:cNvSpPr>
            <a:spLocks noGrp="1"/>
          </p:cNvSpPr>
          <p:nvPr>
            <p:ph type="dt" sz="half" idx="12"/>
          </p:nvPr>
        </p:nvSpPr>
        <p:spPr/>
        <p:txBody>
          <a:bodyPr/>
          <a:lstStyle/>
          <a:p>
            <a:r>
              <a:rPr lang="sv-SE"/>
              <a:t>2016-11-20</a:t>
            </a:r>
          </a:p>
        </p:txBody>
      </p:sp>
      <p:sp>
        <p:nvSpPr>
          <p:cNvPr id="10" name="Content Placeholder 9"/>
          <p:cNvSpPr>
            <a:spLocks noGrp="1"/>
          </p:cNvSpPr>
          <p:nvPr>
            <p:ph idx="1"/>
          </p:nvPr>
        </p:nvSpPr>
        <p:spPr/>
        <p:txBody>
          <a:bodyPr/>
          <a:lstStyle/>
          <a:p>
            <a:r>
              <a:rPr lang="en-US" b="1" dirty="0"/>
              <a:t>Generator model – Step 2 </a:t>
            </a:r>
          </a:p>
          <a:p>
            <a:pPr marL="285750" indent="-285750">
              <a:buFont typeface="Arial" charset="0"/>
              <a:buChar char="•"/>
            </a:pPr>
            <a:r>
              <a:rPr lang="en-US" dirty="0"/>
              <a:t>PSAT model of the AVR Type III is used</a:t>
            </a:r>
          </a:p>
          <a:p>
            <a:pPr marL="285750" indent="-285750">
              <a:buFont typeface="Arial" charset="0"/>
              <a:buChar char="•"/>
            </a:pPr>
            <a:r>
              <a:rPr lang="en-US" dirty="0"/>
              <a:t>Constant block </a:t>
            </a:r>
            <a:r>
              <a:rPr lang="en-US" dirty="0" err="1"/>
              <a:t>pss_off</a:t>
            </a:r>
            <a:r>
              <a:rPr lang="en-US" dirty="0"/>
              <a:t> will be used as a zero input to the PSS input signal of the AVR since the PSS is not used </a:t>
            </a:r>
          </a:p>
          <a:p>
            <a:pPr marL="285750" indent="-285750">
              <a:buFont typeface="Arial" charset="0"/>
              <a:buChar char="•"/>
            </a:pPr>
            <a:r>
              <a:rPr lang="en-US" dirty="0"/>
              <a:t>Parameters:</a:t>
            </a:r>
          </a:p>
          <a:p>
            <a:endParaRPr lang="en-US" dirty="0"/>
          </a:p>
        </p:txBody>
      </p:sp>
      <mc:AlternateContent xmlns:mc="http://schemas.openxmlformats.org/markup-compatibility/2006" xmlns:a14="http://schemas.microsoft.com/office/drawing/2010/main">
        <mc:Choice Requires="a14">
          <p:graphicFrame>
            <p:nvGraphicFramePr>
              <p:cNvPr id="7" name="Table 6"/>
              <p:cNvGraphicFramePr>
                <a:graphicFrameLocks noGrp="1"/>
              </p:cNvGraphicFramePr>
              <p:nvPr>
                <p:extLst>
                  <p:ext uri="{D42A27DB-BD31-4B8C-83A1-F6EECF244321}">
                    <p14:modId xmlns:p14="http://schemas.microsoft.com/office/powerpoint/2010/main" val="1896854240"/>
                  </p:ext>
                </p:extLst>
              </p:nvPr>
            </p:nvGraphicFramePr>
            <p:xfrm>
              <a:off x="457199" y="3356754"/>
              <a:ext cx="3538736" cy="2275905"/>
            </p:xfrm>
            <a:graphic>
              <a:graphicData uri="http://schemas.openxmlformats.org/drawingml/2006/table">
                <a:tbl>
                  <a:tblPr firstRow="1" bandRow="1">
                    <a:tableStyleId>{5940675A-B579-460E-94D1-54222C63F5DA}</a:tableStyleId>
                  </a:tblPr>
                  <a:tblGrid>
                    <a:gridCol w="884684">
                      <a:extLst>
                        <a:ext uri="{9D8B030D-6E8A-4147-A177-3AD203B41FA5}">
                          <a16:colId xmlns:a16="http://schemas.microsoft.com/office/drawing/2014/main" val="20000"/>
                        </a:ext>
                      </a:extLst>
                    </a:gridCol>
                    <a:gridCol w="884684">
                      <a:extLst>
                        <a:ext uri="{9D8B030D-6E8A-4147-A177-3AD203B41FA5}">
                          <a16:colId xmlns:a16="http://schemas.microsoft.com/office/drawing/2014/main" val="20001"/>
                        </a:ext>
                      </a:extLst>
                    </a:gridCol>
                    <a:gridCol w="884684">
                      <a:extLst>
                        <a:ext uri="{9D8B030D-6E8A-4147-A177-3AD203B41FA5}">
                          <a16:colId xmlns:a16="http://schemas.microsoft.com/office/drawing/2014/main" val="20002"/>
                        </a:ext>
                      </a:extLst>
                    </a:gridCol>
                    <a:gridCol w="884684">
                      <a:extLst>
                        <a:ext uri="{9D8B030D-6E8A-4147-A177-3AD203B41FA5}">
                          <a16:colId xmlns:a16="http://schemas.microsoft.com/office/drawing/2014/main" val="20003"/>
                        </a:ext>
                      </a:extLst>
                    </a:gridCol>
                  </a:tblGrid>
                  <a:tr h="386969">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𝑣</m:t>
                                    </m:r>
                                  </m:e>
                                  <m:sub>
                                    <m:r>
                                      <a:rPr lang="hr-HR" b="0" i="1" smtClean="0">
                                        <a:solidFill>
                                          <a:schemeClr val="tx1"/>
                                        </a:solidFill>
                                        <a:latin typeface="Cambria Math" charset="0"/>
                                      </a:rPr>
                                      <m:t>𝑟𝑒𝑓</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1</a:t>
                          </a:r>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sSub>
                                  <m:sSubPr>
                                    <m:ctrlPr>
                                      <a:rPr lang="hr-HR" b="0" i="1" smtClean="0">
                                        <a:latin typeface="Cambria Math" panose="02040503050406030204" pitchFamily="18" charset="0"/>
                                      </a:rPr>
                                    </m:ctrlPr>
                                  </m:sSubPr>
                                  <m:e>
                                    <m:r>
                                      <a:rPr lang="hr-HR" b="0" i="1" smtClean="0">
                                        <a:latin typeface="Cambria Math" charset="0"/>
                                      </a:rPr>
                                      <m:t>𝑇</m:t>
                                    </m:r>
                                  </m:e>
                                  <m:sub>
                                    <m:r>
                                      <a:rPr lang="hr-HR" b="0" i="1" smtClean="0">
                                        <a:latin typeface="Cambria Math" charset="0"/>
                                      </a:rPr>
                                      <m:t>1</m:t>
                                    </m:r>
                                  </m:sub>
                                </m:sSub>
                              </m:oMath>
                            </m:oMathPara>
                          </a14:m>
                          <a:endParaRPr lang="en-US" dirty="0"/>
                        </a:p>
                      </a:txBody>
                      <a:tcPr>
                        <a:solidFill>
                          <a:schemeClr val="accent6">
                            <a:lumMod val="60000"/>
                            <a:lumOff val="40000"/>
                          </a:schemeClr>
                        </a:solidFill>
                      </a:tcPr>
                    </a:tc>
                    <a:tc>
                      <a:txBody>
                        <a:bodyPr/>
                        <a:lstStyle/>
                        <a:p>
                          <a:r>
                            <a:rPr lang="en-US" dirty="0"/>
                            <a:t>1</a:t>
                          </a:r>
                        </a:p>
                      </a:txBody>
                      <a:tcPr>
                        <a:solidFill>
                          <a:schemeClr val="accent6">
                            <a:lumMod val="20000"/>
                            <a:lumOff val="80000"/>
                          </a:schemeClr>
                        </a:solidFill>
                      </a:tcPr>
                    </a:tc>
                    <a:extLst>
                      <a:ext uri="{0D108BD9-81ED-4DB2-BD59-A6C34878D82A}">
                        <a16:rowId xmlns:a16="http://schemas.microsoft.com/office/drawing/2014/main" val="10000"/>
                      </a:ext>
                    </a:extLst>
                  </a:tr>
                  <a:tr h="370840">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𝑣</m:t>
                                    </m:r>
                                  </m:e>
                                  <m:sub>
                                    <m:r>
                                      <a:rPr lang="hr-HR" b="0" i="1" smtClean="0">
                                        <a:solidFill>
                                          <a:schemeClr val="tx1"/>
                                        </a:solidFill>
                                        <a:latin typeface="Cambria Math" charset="0"/>
                                      </a:rPr>
                                      <m:t>0</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1</a:t>
                          </a:r>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sSub>
                                  <m:sSubPr>
                                    <m:ctrlPr>
                                      <a:rPr lang="hr-HR" b="0" i="1" smtClean="0">
                                        <a:latin typeface="Cambria Math" panose="02040503050406030204" pitchFamily="18" charset="0"/>
                                      </a:rPr>
                                    </m:ctrlPr>
                                  </m:sSubPr>
                                  <m:e>
                                    <m:r>
                                      <a:rPr lang="hr-HR" b="0" i="1" smtClean="0">
                                        <a:latin typeface="Cambria Math" charset="0"/>
                                      </a:rPr>
                                      <m:t>𝑇</m:t>
                                    </m:r>
                                  </m:e>
                                  <m:sub>
                                    <m:r>
                                      <a:rPr lang="hr-HR" b="0" i="1" smtClean="0">
                                        <a:latin typeface="Cambria Math" charset="0"/>
                                      </a:rPr>
                                      <m:t>𝑒</m:t>
                                    </m:r>
                                  </m:sub>
                                </m:sSub>
                              </m:oMath>
                            </m:oMathPara>
                          </a14:m>
                          <a:endParaRPr lang="en-US" dirty="0"/>
                        </a:p>
                      </a:txBody>
                      <a:tcPr>
                        <a:solidFill>
                          <a:schemeClr val="accent6">
                            <a:lumMod val="60000"/>
                            <a:lumOff val="40000"/>
                          </a:schemeClr>
                        </a:solidFill>
                      </a:tcPr>
                    </a:tc>
                    <a:tc>
                      <a:txBody>
                        <a:bodyPr/>
                        <a:lstStyle/>
                        <a:p>
                          <a:r>
                            <a:rPr lang="en-US" dirty="0"/>
                            <a:t>0.0001</a:t>
                          </a:r>
                        </a:p>
                      </a:txBody>
                      <a:tcPr>
                        <a:solidFill>
                          <a:schemeClr val="accent6">
                            <a:lumMod val="20000"/>
                            <a:lumOff val="80000"/>
                          </a:schemeClr>
                        </a:solidFill>
                      </a:tcPr>
                    </a:tc>
                    <a:extLst>
                      <a:ext uri="{0D108BD9-81ED-4DB2-BD59-A6C34878D82A}">
                        <a16:rowId xmlns:a16="http://schemas.microsoft.com/office/drawing/2014/main" val="10001"/>
                      </a:ext>
                    </a:extLst>
                  </a:tr>
                  <a:tr h="370840">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𝑣</m:t>
                                    </m:r>
                                  </m:e>
                                  <m:sub>
                                    <m:r>
                                      <a:rPr lang="hr-HR" b="0" i="1" smtClean="0">
                                        <a:solidFill>
                                          <a:schemeClr val="tx1"/>
                                        </a:solidFill>
                                        <a:latin typeface="Cambria Math" charset="0"/>
                                      </a:rPr>
                                      <m:t>𝑓</m:t>
                                    </m:r>
                                    <m:r>
                                      <a:rPr lang="hr-HR" b="0" i="1" smtClean="0">
                                        <a:solidFill>
                                          <a:schemeClr val="tx1"/>
                                        </a:solidFill>
                                        <a:latin typeface="Cambria Math" charset="0"/>
                                      </a:rPr>
                                      <m:t>,</m:t>
                                    </m:r>
                                    <m:r>
                                      <a:rPr lang="hr-HR" b="0" i="1" smtClean="0">
                                        <a:solidFill>
                                          <a:schemeClr val="tx1"/>
                                        </a:solidFill>
                                        <a:latin typeface="Cambria Math" charset="0"/>
                                      </a:rPr>
                                      <m:t>𝑚𝑎𝑥</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7</a:t>
                          </a:r>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sSub>
                                  <m:sSubPr>
                                    <m:ctrlPr>
                                      <a:rPr lang="hr-HR" b="0" i="1" smtClean="0">
                                        <a:latin typeface="Cambria Math" panose="02040503050406030204" pitchFamily="18" charset="0"/>
                                      </a:rPr>
                                    </m:ctrlPr>
                                  </m:sSubPr>
                                  <m:e>
                                    <m:r>
                                      <a:rPr lang="hr-HR" b="0" i="1" smtClean="0">
                                        <a:latin typeface="Cambria Math" charset="0"/>
                                      </a:rPr>
                                      <m:t>𝑇</m:t>
                                    </m:r>
                                  </m:e>
                                  <m:sub>
                                    <m:r>
                                      <a:rPr lang="hr-HR" b="0" i="1" smtClean="0">
                                        <a:latin typeface="Cambria Math" charset="0"/>
                                      </a:rPr>
                                      <m:t>𝑟</m:t>
                                    </m:r>
                                  </m:sub>
                                </m:sSub>
                              </m:oMath>
                            </m:oMathPara>
                          </a14:m>
                          <a:endParaRPr lang="en-US" dirty="0"/>
                        </a:p>
                      </a:txBody>
                      <a:tcPr>
                        <a:solidFill>
                          <a:schemeClr val="accent6">
                            <a:lumMod val="60000"/>
                            <a:lumOff val="40000"/>
                          </a:schemeClr>
                        </a:solidFill>
                      </a:tcPr>
                    </a:tc>
                    <a:tc>
                      <a:txBody>
                        <a:bodyPr/>
                        <a:lstStyle/>
                        <a:p>
                          <a:r>
                            <a:rPr lang="nb-NO" dirty="0"/>
                            <a:t>0.015</a:t>
                          </a:r>
                          <a:endParaRPr lang="en-US" dirty="0"/>
                        </a:p>
                      </a:txBody>
                      <a:tcPr>
                        <a:solidFill>
                          <a:schemeClr val="accent6">
                            <a:lumMod val="20000"/>
                            <a:lumOff val="80000"/>
                          </a:schemeClr>
                        </a:solidFill>
                      </a:tcPr>
                    </a:tc>
                    <a:extLst>
                      <a:ext uri="{0D108BD9-81ED-4DB2-BD59-A6C34878D82A}">
                        <a16:rowId xmlns:a16="http://schemas.microsoft.com/office/drawing/2014/main" val="10002"/>
                      </a:ext>
                    </a:extLst>
                  </a:tr>
                  <a:tr h="370840">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𝑣</m:t>
                                    </m:r>
                                  </m:e>
                                  <m:sub>
                                    <m:r>
                                      <a:rPr lang="hr-HR" b="0" i="1" smtClean="0">
                                        <a:solidFill>
                                          <a:schemeClr val="tx1"/>
                                        </a:solidFill>
                                        <a:latin typeface="Cambria Math" charset="0"/>
                                      </a:rPr>
                                      <m:t>𝑓</m:t>
                                    </m:r>
                                    <m:r>
                                      <a:rPr lang="hr-HR" b="0" i="1" smtClean="0">
                                        <a:solidFill>
                                          <a:schemeClr val="tx1"/>
                                        </a:solidFill>
                                        <a:latin typeface="Cambria Math" charset="0"/>
                                      </a:rPr>
                                      <m:t>,</m:t>
                                    </m:r>
                                    <m:r>
                                      <a:rPr lang="hr-HR" b="0" i="1" smtClean="0">
                                        <a:solidFill>
                                          <a:schemeClr val="tx1"/>
                                        </a:solidFill>
                                        <a:latin typeface="Cambria Math" charset="0"/>
                                      </a:rPr>
                                      <m:t>𝑚𝑖𝑛</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6.4</a:t>
                          </a:r>
                        </a:p>
                      </a:txBody>
                      <a:tcPr>
                        <a:solidFill>
                          <a:schemeClr val="accent6">
                            <a:lumMod val="20000"/>
                            <a:lumOff val="80000"/>
                          </a:schemeClr>
                        </a:solidFill>
                      </a:tcPr>
                    </a:tc>
                    <a:tc>
                      <a:txBody>
                        <a:bodyPr/>
                        <a:lstStyle/>
                        <a:p>
                          <a:endParaRPr lang="en-US" dirty="0"/>
                        </a:p>
                      </a:txBody>
                      <a:tcPr>
                        <a:solidFill>
                          <a:schemeClr val="accent6">
                            <a:lumMod val="60000"/>
                            <a:lumOff val="40000"/>
                          </a:schemeClr>
                        </a:solidFill>
                      </a:tcPr>
                    </a:tc>
                    <a:tc>
                      <a:txBody>
                        <a:bodyPr/>
                        <a:lstStyle/>
                        <a:p>
                          <a:endParaRPr lang="en-US" dirty="0"/>
                        </a:p>
                      </a:txBody>
                      <a:tcPr>
                        <a:solidFill>
                          <a:schemeClr val="accent6">
                            <a:lumMod val="20000"/>
                            <a:lumOff val="80000"/>
                          </a:schemeClr>
                        </a:solidFill>
                      </a:tcPr>
                    </a:tc>
                    <a:extLst>
                      <a:ext uri="{0D108BD9-81ED-4DB2-BD59-A6C34878D82A}">
                        <a16:rowId xmlns:a16="http://schemas.microsoft.com/office/drawing/2014/main" val="10003"/>
                      </a:ext>
                    </a:extLst>
                  </a:tr>
                  <a:tr h="370840">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𝐾</m:t>
                                    </m:r>
                                  </m:e>
                                  <m:sub>
                                    <m:r>
                                      <a:rPr lang="hr-HR" b="0" i="1" smtClean="0">
                                        <a:solidFill>
                                          <a:schemeClr val="tx1"/>
                                        </a:solidFill>
                                        <a:latin typeface="Cambria Math" charset="0"/>
                                      </a:rPr>
                                      <m:t>0</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200</a:t>
                          </a:r>
                        </a:p>
                      </a:txBody>
                      <a:tcPr>
                        <a:solidFill>
                          <a:schemeClr val="accent6">
                            <a:lumMod val="20000"/>
                            <a:lumOff val="80000"/>
                          </a:schemeClr>
                        </a:solidFill>
                      </a:tcPr>
                    </a:tc>
                    <a:tc>
                      <a:txBody>
                        <a:bodyPr/>
                        <a:lstStyle/>
                        <a:p>
                          <a:endParaRPr lang="en-US" dirty="0"/>
                        </a:p>
                      </a:txBody>
                      <a:tcPr>
                        <a:solidFill>
                          <a:schemeClr val="accent6">
                            <a:lumMod val="60000"/>
                            <a:lumOff val="40000"/>
                          </a:schemeClr>
                        </a:solidFill>
                      </a:tcPr>
                    </a:tc>
                    <a:tc>
                      <a:txBody>
                        <a:bodyPr/>
                        <a:lstStyle/>
                        <a:p>
                          <a:endParaRPr lang="en-US" dirty="0"/>
                        </a:p>
                      </a:txBody>
                      <a:tcPr>
                        <a:solidFill>
                          <a:schemeClr val="accent6">
                            <a:lumMod val="20000"/>
                            <a:lumOff val="80000"/>
                          </a:schemeClr>
                        </a:solidFill>
                      </a:tcPr>
                    </a:tc>
                    <a:extLst>
                      <a:ext uri="{0D108BD9-81ED-4DB2-BD59-A6C34878D82A}">
                        <a16:rowId xmlns:a16="http://schemas.microsoft.com/office/drawing/2014/main" val="10004"/>
                      </a:ext>
                    </a:extLst>
                  </a:tr>
                  <a:tr h="370840">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𝑇</m:t>
                                    </m:r>
                                  </m:e>
                                  <m:sub>
                                    <m:r>
                                      <a:rPr lang="hr-HR" b="0" i="1" smtClean="0">
                                        <a:solidFill>
                                          <a:schemeClr val="tx1"/>
                                        </a:solidFill>
                                        <a:latin typeface="Cambria Math" charset="0"/>
                                      </a:rPr>
                                      <m:t>2</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1</a:t>
                          </a:r>
                        </a:p>
                      </a:txBody>
                      <a:tcPr>
                        <a:solidFill>
                          <a:schemeClr val="accent6">
                            <a:lumMod val="20000"/>
                            <a:lumOff val="80000"/>
                          </a:schemeClr>
                        </a:solidFill>
                      </a:tcPr>
                    </a:tc>
                    <a:tc>
                      <a:txBody>
                        <a:bodyPr/>
                        <a:lstStyle/>
                        <a:p>
                          <a:endParaRPr lang="en-US" dirty="0"/>
                        </a:p>
                      </a:txBody>
                      <a:tcPr>
                        <a:solidFill>
                          <a:schemeClr val="accent6">
                            <a:lumMod val="60000"/>
                            <a:lumOff val="40000"/>
                          </a:schemeClr>
                        </a:solidFill>
                      </a:tcPr>
                    </a:tc>
                    <a:tc>
                      <a:txBody>
                        <a:bodyPr/>
                        <a:lstStyle/>
                        <a:p>
                          <a:endParaRPr lang="en-US" dirty="0"/>
                        </a:p>
                      </a:txBody>
                      <a:tcPr>
                        <a:solidFill>
                          <a:schemeClr val="accent6">
                            <a:lumMod val="20000"/>
                            <a:lumOff val="80000"/>
                          </a:schemeClr>
                        </a:solidFill>
                      </a:tcPr>
                    </a:tc>
                    <a:extLst>
                      <a:ext uri="{0D108BD9-81ED-4DB2-BD59-A6C34878D82A}">
                        <a16:rowId xmlns:a16="http://schemas.microsoft.com/office/drawing/2014/main" val="10005"/>
                      </a:ext>
                    </a:extLst>
                  </a:tr>
                </a:tbl>
              </a:graphicData>
            </a:graphic>
          </p:graphicFrame>
        </mc:Choice>
        <mc:Fallback xmlns="">
          <p:graphicFrame>
            <p:nvGraphicFramePr>
              <p:cNvPr id="7" name="Table 6"/>
              <p:cNvGraphicFramePr>
                <a:graphicFrameLocks noGrp="1"/>
              </p:cNvGraphicFramePr>
              <p:nvPr>
                <p:extLst>
                  <p:ext uri="{D42A27DB-BD31-4B8C-83A1-F6EECF244321}">
                    <p14:modId xmlns:p14="http://schemas.microsoft.com/office/powerpoint/2010/main" val="1896854240"/>
                  </p:ext>
                </p:extLst>
              </p:nvPr>
            </p:nvGraphicFramePr>
            <p:xfrm>
              <a:off x="457199" y="3356754"/>
              <a:ext cx="3538736" cy="2275905"/>
            </p:xfrm>
            <a:graphic>
              <a:graphicData uri="http://schemas.openxmlformats.org/drawingml/2006/table">
                <a:tbl>
                  <a:tblPr firstRow="1" bandRow="1">
                    <a:tableStyleId>{5940675A-B579-460E-94D1-54222C63F5DA}</a:tableStyleId>
                  </a:tblPr>
                  <a:tblGrid>
                    <a:gridCol w="884684"/>
                    <a:gridCol w="884684"/>
                    <a:gridCol w="884684"/>
                    <a:gridCol w="884684"/>
                  </a:tblGrid>
                  <a:tr h="387795">
                    <a:tc>
                      <a:txBody>
                        <a:bodyPr/>
                        <a:lstStyle/>
                        <a:p>
                          <a:endParaRPr lang="en-US"/>
                        </a:p>
                      </a:txBody>
                      <a:tcPr>
                        <a:blipFill rotWithShape="0">
                          <a:blip r:embed="rId3"/>
                          <a:stretch>
                            <a:fillRect l="-685" t="-7813" r="-300000" b="-507813"/>
                          </a:stretch>
                        </a:blipFill>
                      </a:tcPr>
                    </a:tc>
                    <a:tc>
                      <a:txBody>
                        <a:bodyPr/>
                        <a:lstStyle/>
                        <a:p>
                          <a:r>
                            <a:rPr lang="en-US" dirty="0" smtClean="0"/>
                            <a:t>1</a:t>
                          </a:r>
                          <a:endParaRPr lang="en-US" dirty="0"/>
                        </a:p>
                      </a:txBody>
                      <a:tcPr>
                        <a:solidFill>
                          <a:schemeClr val="accent6">
                            <a:lumMod val="20000"/>
                            <a:lumOff val="80000"/>
                          </a:schemeClr>
                        </a:solidFill>
                      </a:tcPr>
                    </a:tc>
                    <a:tc>
                      <a:txBody>
                        <a:bodyPr/>
                        <a:lstStyle/>
                        <a:p>
                          <a:endParaRPr lang="en-US"/>
                        </a:p>
                      </a:txBody>
                      <a:tcPr>
                        <a:blipFill rotWithShape="0">
                          <a:blip r:embed="rId3"/>
                          <a:stretch>
                            <a:fillRect l="-200000" t="-7813" r="-100685" b="-507813"/>
                          </a:stretch>
                        </a:blipFill>
                      </a:tcPr>
                    </a:tc>
                    <a:tc>
                      <a:txBody>
                        <a:bodyPr/>
                        <a:lstStyle/>
                        <a:p>
                          <a:r>
                            <a:rPr lang="en-US" dirty="0" smtClean="0"/>
                            <a:t>1</a:t>
                          </a:r>
                          <a:endParaRPr lang="en-US" dirty="0"/>
                        </a:p>
                      </a:txBody>
                      <a:tcPr>
                        <a:solidFill>
                          <a:schemeClr val="accent6">
                            <a:lumMod val="20000"/>
                            <a:lumOff val="80000"/>
                          </a:schemeClr>
                        </a:solidFill>
                      </a:tcPr>
                    </a:tc>
                  </a:tr>
                  <a:tr h="370840">
                    <a:tc>
                      <a:txBody>
                        <a:bodyPr/>
                        <a:lstStyle/>
                        <a:p>
                          <a:endParaRPr lang="en-US"/>
                        </a:p>
                      </a:txBody>
                      <a:tcPr>
                        <a:blipFill rotWithShape="0">
                          <a:blip r:embed="rId3"/>
                          <a:stretch>
                            <a:fillRect l="-685" t="-113115" r="-300000" b="-432787"/>
                          </a:stretch>
                        </a:blipFill>
                      </a:tcPr>
                    </a:tc>
                    <a:tc>
                      <a:txBody>
                        <a:bodyPr/>
                        <a:lstStyle/>
                        <a:p>
                          <a:r>
                            <a:rPr lang="en-US" dirty="0" smtClean="0"/>
                            <a:t>1</a:t>
                          </a:r>
                          <a:endParaRPr lang="en-US" dirty="0"/>
                        </a:p>
                      </a:txBody>
                      <a:tcPr>
                        <a:solidFill>
                          <a:schemeClr val="accent6">
                            <a:lumMod val="20000"/>
                            <a:lumOff val="80000"/>
                          </a:schemeClr>
                        </a:solidFill>
                      </a:tcPr>
                    </a:tc>
                    <a:tc>
                      <a:txBody>
                        <a:bodyPr/>
                        <a:lstStyle/>
                        <a:p>
                          <a:endParaRPr lang="en-US"/>
                        </a:p>
                      </a:txBody>
                      <a:tcPr>
                        <a:blipFill rotWithShape="0">
                          <a:blip r:embed="rId3"/>
                          <a:stretch>
                            <a:fillRect l="-200000" t="-113115" r="-100685" b="-432787"/>
                          </a:stretch>
                        </a:blipFill>
                      </a:tcPr>
                    </a:tc>
                    <a:tc>
                      <a:txBody>
                        <a:bodyPr/>
                        <a:lstStyle/>
                        <a:p>
                          <a:r>
                            <a:rPr lang="en-US" dirty="0" smtClean="0"/>
                            <a:t>0.0001</a:t>
                          </a:r>
                          <a:endParaRPr lang="en-US" dirty="0"/>
                        </a:p>
                      </a:txBody>
                      <a:tcPr>
                        <a:solidFill>
                          <a:schemeClr val="accent6">
                            <a:lumMod val="20000"/>
                            <a:lumOff val="80000"/>
                          </a:schemeClr>
                        </a:solidFill>
                      </a:tcPr>
                    </a:tc>
                  </a:tr>
                  <a:tr h="387795">
                    <a:tc>
                      <a:txBody>
                        <a:bodyPr/>
                        <a:lstStyle/>
                        <a:p>
                          <a:endParaRPr lang="en-US"/>
                        </a:p>
                      </a:txBody>
                      <a:tcPr>
                        <a:blipFill rotWithShape="0">
                          <a:blip r:embed="rId3"/>
                          <a:stretch>
                            <a:fillRect l="-685" t="-206349" r="-300000" b="-319048"/>
                          </a:stretch>
                        </a:blipFill>
                      </a:tcPr>
                    </a:tc>
                    <a:tc>
                      <a:txBody>
                        <a:bodyPr/>
                        <a:lstStyle/>
                        <a:p>
                          <a:r>
                            <a:rPr lang="en-US" dirty="0" smtClean="0"/>
                            <a:t>7</a:t>
                          </a:r>
                          <a:endParaRPr lang="en-US" dirty="0"/>
                        </a:p>
                      </a:txBody>
                      <a:tcPr>
                        <a:solidFill>
                          <a:schemeClr val="accent6">
                            <a:lumMod val="20000"/>
                            <a:lumOff val="80000"/>
                          </a:schemeClr>
                        </a:solidFill>
                      </a:tcPr>
                    </a:tc>
                    <a:tc>
                      <a:txBody>
                        <a:bodyPr/>
                        <a:lstStyle/>
                        <a:p>
                          <a:endParaRPr lang="en-US"/>
                        </a:p>
                      </a:txBody>
                      <a:tcPr>
                        <a:blipFill rotWithShape="0">
                          <a:blip r:embed="rId3"/>
                          <a:stretch>
                            <a:fillRect l="-200000" t="-206349" r="-100685" b="-319048"/>
                          </a:stretch>
                        </a:blipFill>
                      </a:tcPr>
                    </a:tc>
                    <a:tc>
                      <a:txBody>
                        <a:bodyPr/>
                        <a:lstStyle/>
                        <a:p>
                          <a:r>
                            <a:rPr lang="nb-NO" dirty="0" smtClean="0"/>
                            <a:t>0.015</a:t>
                          </a:r>
                          <a:endParaRPr lang="en-US" dirty="0"/>
                        </a:p>
                      </a:txBody>
                      <a:tcPr>
                        <a:solidFill>
                          <a:schemeClr val="accent6">
                            <a:lumMod val="20000"/>
                            <a:lumOff val="80000"/>
                          </a:schemeClr>
                        </a:solidFill>
                      </a:tcPr>
                    </a:tc>
                  </a:tr>
                  <a:tr h="387795">
                    <a:tc>
                      <a:txBody>
                        <a:bodyPr/>
                        <a:lstStyle/>
                        <a:p>
                          <a:endParaRPr lang="en-US"/>
                        </a:p>
                      </a:txBody>
                      <a:tcPr>
                        <a:blipFill rotWithShape="0">
                          <a:blip r:embed="rId3"/>
                          <a:stretch>
                            <a:fillRect l="-685" t="-301563" r="-300000" b="-214063"/>
                          </a:stretch>
                        </a:blipFill>
                      </a:tcPr>
                    </a:tc>
                    <a:tc>
                      <a:txBody>
                        <a:bodyPr/>
                        <a:lstStyle/>
                        <a:p>
                          <a:r>
                            <a:rPr lang="en-US" dirty="0" smtClean="0"/>
                            <a:t>-6.4</a:t>
                          </a:r>
                          <a:endParaRPr lang="en-US" dirty="0"/>
                        </a:p>
                      </a:txBody>
                      <a:tcPr>
                        <a:solidFill>
                          <a:schemeClr val="accent6">
                            <a:lumMod val="20000"/>
                            <a:lumOff val="80000"/>
                          </a:schemeClr>
                        </a:solidFill>
                      </a:tcPr>
                    </a:tc>
                    <a:tc>
                      <a:txBody>
                        <a:bodyPr/>
                        <a:lstStyle/>
                        <a:p>
                          <a:pPr/>
                          <a:endParaRPr lang="en-US" dirty="0"/>
                        </a:p>
                      </a:txBody>
                      <a:tcPr>
                        <a:solidFill>
                          <a:schemeClr val="accent6">
                            <a:lumMod val="60000"/>
                            <a:lumOff val="40000"/>
                          </a:schemeClr>
                        </a:solidFill>
                      </a:tcPr>
                    </a:tc>
                    <a:tc>
                      <a:txBody>
                        <a:bodyPr/>
                        <a:lstStyle/>
                        <a:p>
                          <a:endParaRPr lang="en-US" dirty="0"/>
                        </a:p>
                      </a:txBody>
                      <a:tcPr>
                        <a:solidFill>
                          <a:schemeClr val="accent6">
                            <a:lumMod val="20000"/>
                            <a:lumOff val="80000"/>
                          </a:schemeClr>
                        </a:solidFill>
                      </a:tcPr>
                    </a:tc>
                  </a:tr>
                  <a:tr h="370840">
                    <a:tc>
                      <a:txBody>
                        <a:bodyPr/>
                        <a:lstStyle/>
                        <a:p>
                          <a:endParaRPr lang="en-US"/>
                        </a:p>
                      </a:txBody>
                      <a:tcPr>
                        <a:blipFill rotWithShape="0">
                          <a:blip r:embed="rId3"/>
                          <a:stretch>
                            <a:fillRect l="-685" t="-421311" r="-300000" b="-124590"/>
                          </a:stretch>
                        </a:blipFill>
                      </a:tcPr>
                    </a:tc>
                    <a:tc>
                      <a:txBody>
                        <a:bodyPr/>
                        <a:lstStyle/>
                        <a:p>
                          <a:r>
                            <a:rPr lang="en-US" dirty="0" smtClean="0"/>
                            <a:t>200</a:t>
                          </a:r>
                          <a:endParaRPr lang="en-US" dirty="0"/>
                        </a:p>
                      </a:txBody>
                      <a:tcPr>
                        <a:solidFill>
                          <a:schemeClr val="accent6">
                            <a:lumMod val="20000"/>
                            <a:lumOff val="80000"/>
                          </a:schemeClr>
                        </a:solidFill>
                      </a:tcPr>
                    </a:tc>
                    <a:tc>
                      <a:txBody>
                        <a:bodyPr/>
                        <a:lstStyle/>
                        <a:p>
                          <a:pPr/>
                          <a:endParaRPr lang="en-US" dirty="0"/>
                        </a:p>
                      </a:txBody>
                      <a:tcPr>
                        <a:solidFill>
                          <a:schemeClr val="accent6">
                            <a:lumMod val="60000"/>
                            <a:lumOff val="40000"/>
                          </a:schemeClr>
                        </a:solidFill>
                      </a:tcPr>
                    </a:tc>
                    <a:tc>
                      <a:txBody>
                        <a:bodyPr/>
                        <a:lstStyle/>
                        <a:p>
                          <a:endParaRPr lang="en-US" dirty="0"/>
                        </a:p>
                      </a:txBody>
                      <a:tcPr>
                        <a:solidFill>
                          <a:schemeClr val="accent6">
                            <a:lumMod val="20000"/>
                            <a:lumOff val="80000"/>
                          </a:schemeClr>
                        </a:solidFill>
                      </a:tcPr>
                    </a:tc>
                  </a:tr>
                  <a:tr h="370840">
                    <a:tc>
                      <a:txBody>
                        <a:bodyPr/>
                        <a:lstStyle/>
                        <a:p>
                          <a:endParaRPr lang="en-US"/>
                        </a:p>
                      </a:txBody>
                      <a:tcPr>
                        <a:blipFill rotWithShape="0">
                          <a:blip r:embed="rId3"/>
                          <a:stretch>
                            <a:fillRect l="-685" t="-521311" r="-300000" b="-24590"/>
                          </a:stretch>
                        </a:blipFill>
                      </a:tcPr>
                    </a:tc>
                    <a:tc>
                      <a:txBody>
                        <a:bodyPr/>
                        <a:lstStyle/>
                        <a:p>
                          <a:r>
                            <a:rPr lang="en-US" dirty="0" smtClean="0"/>
                            <a:t>1</a:t>
                          </a:r>
                          <a:endParaRPr lang="en-US" dirty="0"/>
                        </a:p>
                      </a:txBody>
                      <a:tcPr>
                        <a:solidFill>
                          <a:schemeClr val="accent6">
                            <a:lumMod val="20000"/>
                            <a:lumOff val="80000"/>
                          </a:schemeClr>
                        </a:solidFill>
                      </a:tcPr>
                    </a:tc>
                    <a:tc>
                      <a:txBody>
                        <a:bodyPr/>
                        <a:lstStyle/>
                        <a:p>
                          <a:endParaRPr lang="en-US" dirty="0"/>
                        </a:p>
                      </a:txBody>
                      <a:tcPr>
                        <a:solidFill>
                          <a:schemeClr val="accent6">
                            <a:lumMod val="60000"/>
                            <a:lumOff val="40000"/>
                          </a:schemeClr>
                        </a:solidFill>
                      </a:tcPr>
                    </a:tc>
                    <a:tc>
                      <a:txBody>
                        <a:bodyPr/>
                        <a:lstStyle/>
                        <a:p>
                          <a:endParaRPr lang="en-US" dirty="0"/>
                        </a:p>
                      </a:txBody>
                      <a:tcPr>
                        <a:solidFill>
                          <a:schemeClr val="accent6">
                            <a:lumMod val="20000"/>
                            <a:lumOff val="80000"/>
                          </a:schemeClr>
                        </a:solidFill>
                      </a:tcPr>
                    </a:tc>
                  </a:tr>
                </a:tbl>
              </a:graphicData>
            </a:graphic>
          </p:graphicFrame>
        </mc:Fallback>
      </mc:AlternateContent>
      <p:pic>
        <p:nvPicPr>
          <p:cNvPr id="8" name="Picture 7"/>
          <p:cNvPicPr>
            <a:picLocks noChangeAspect="1"/>
          </p:cNvPicPr>
          <p:nvPr/>
        </p:nvPicPr>
        <p:blipFill>
          <a:blip r:embed="rId4"/>
          <a:stretch>
            <a:fillRect/>
          </a:stretch>
        </p:blipFill>
        <p:spPr>
          <a:xfrm>
            <a:off x="4636320" y="3573016"/>
            <a:ext cx="4067944" cy="1851305"/>
          </a:xfrm>
          <a:prstGeom prst="rect">
            <a:avLst/>
          </a:prstGeom>
        </p:spPr>
      </p:pic>
    </p:spTree>
    <p:extLst>
      <p:ext uri="{BB962C8B-B14F-4D97-AF65-F5344CB8AC3E}">
        <p14:creationId xmlns:p14="http://schemas.microsoft.com/office/powerpoint/2010/main" val="159492075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6" name="Footer Placeholder 5"/>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21</a:t>
            </a:fld>
            <a:endParaRPr lang="en-US" dirty="0"/>
          </a:p>
        </p:txBody>
      </p:sp>
      <p:sp>
        <p:nvSpPr>
          <p:cNvPr id="3" name="Date Placeholder 2"/>
          <p:cNvSpPr>
            <a:spLocks noGrp="1"/>
          </p:cNvSpPr>
          <p:nvPr>
            <p:ph type="dt" sz="half" idx="12"/>
          </p:nvPr>
        </p:nvSpPr>
        <p:spPr/>
        <p:txBody>
          <a:bodyPr/>
          <a:lstStyle/>
          <a:p>
            <a:r>
              <a:rPr lang="sv-SE"/>
              <a:t>2016-11-20</a:t>
            </a:r>
          </a:p>
        </p:txBody>
      </p:sp>
      <p:sp>
        <p:nvSpPr>
          <p:cNvPr id="10" name="Content Placeholder 9"/>
          <p:cNvSpPr>
            <a:spLocks noGrp="1"/>
          </p:cNvSpPr>
          <p:nvPr>
            <p:ph idx="1"/>
          </p:nvPr>
        </p:nvSpPr>
        <p:spPr>
          <a:xfrm>
            <a:off x="338964" y="1582739"/>
            <a:ext cx="3945004" cy="4078286"/>
          </a:xfrm>
        </p:spPr>
        <p:txBody>
          <a:bodyPr/>
          <a:lstStyle/>
          <a:p>
            <a:r>
              <a:rPr lang="en-US" b="1" dirty="0"/>
              <a:t>Generator model – Step 3 </a:t>
            </a:r>
          </a:p>
          <a:p>
            <a:pPr marL="285750" indent="-285750">
              <a:buFont typeface="Arial" charset="0"/>
              <a:buChar char="•"/>
            </a:pPr>
            <a:r>
              <a:rPr lang="en-US" dirty="0"/>
              <a:t>To finish the generator model, different signals need to be connected</a:t>
            </a:r>
          </a:p>
          <a:p>
            <a:pPr marL="285750" indent="-285750">
              <a:buFont typeface="Arial" charset="0"/>
              <a:buChar char="•"/>
            </a:pPr>
            <a:endParaRPr lang="en-US" dirty="0"/>
          </a:p>
          <a:p>
            <a:pPr marL="285750" indent="-285750">
              <a:buFont typeface="Arial" charset="0"/>
              <a:buChar char="•"/>
            </a:pPr>
            <a:r>
              <a:rPr lang="en-US" dirty="0"/>
              <a:t>Optionally, icon of the generator model can be altered</a:t>
            </a:r>
          </a:p>
          <a:p>
            <a:endParaRPr lang="en-US" dirty="0"/>
          </a:p>
        </p:txBody>
      </p:sp>
      <p:pic>
        <p:nvPicPr>
          <p:cNvPr id="7" name="Picture 6"/>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1361857" y="4005064"/>
            <a:ext cx="1705615" cy="1554229"/>
          </a:xfrm>
          <a:prstGeom prst="rect">
            <a:avLst/>
          </a:prstGeom>
        </p:spPr>
      </p:pic>
      <p:pic>
        <p:nvPicPr>
          <p:cNvPr id="9" name="Picture 8"/>
          <p:cNvPicPr>
            <a:picLocks noChangeAspect="1"/>
          </p:cNvPicPr>
          <p:nvPr/>
        </p:nvPicPr>
        <p:blipFill>
          <a:blip r:embed="rId4"/>
          <a:stretch>
            <a:fillRect/>
          </a:stretch>
        </p:blipFill>
        <p:spPr>
          <a:xfrm>
            <a:off x="4208079" y="1916832"/>
            <a:ext cx="4336062" cy="3458954"/>
          </a:xfrm>
          <a:prstGeom prst="rect">
            <a:avLst/>
          </a:prstGeom>
        </p:spPr>
      </p:pic>
    </p:spTree>
    <p:extLst>
      <p:ext uri="{BB962C8B-B14F-4D97-AF65-F5344CB8AC3E}">
        <p14:creationId xmlns:p14="http://schemas.microsoft.com/office/powerpoint/2010/main" val="154326724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6" name="Footer Placeholder 5"/>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22</a:t>
            </a:fld>
            <a:endParaRPr lang="en-US" dirty="0"/>
          </a:p>
        </p:txBody>
      </p:sp>
      <p:sp>
        <p:nvSpPr>
          <p:cNvPr id="5" name="Date Placeholder 4"/>
          <p:cNvSpPr>
            <a:spLocks noGrp="1"/>
          </p:cNvSpPr>
          <p:nvPr>
            <p:ph type="dt" sz="half" idx="12"/>
          </p:nvPr>
        </p:nvSpPr>
        <p:spPr/>
        <p:txBody>
          <a:bodyPr/>
          <a:lstStyle/>
          <a:p>
            <a:r>
              <a:rPr lang="sv-SE"/>
              <a:t>2016-11-20</a:t>
            </a:r>
          </a:p>
        </p:txBody>
      </p:sp>
      <p:sp>
        <p:nvSpPr>
          <p:cNvPr id="7" name="Content Placeholder 6"/>
          <p:cNvSpPr>
            <a:spLocks noGrp="1"/>
          </p:cNvSpPr>
          <p:nvPr>
            <p:ph idx="1"/>
          </p:nvPr>
        </p:nvSpPr>
        <p:spPr/>
        <p:txBody>
          <a:bodyPr/>
          <a:lstStyle/>
          <a:p>
            <a:r>
              <a:rPr lang="en-US" b="1" dirty="0"/>
              <a:t>Network model – Step 1 </a:t>
            </a:r>
          </a:p>
          <a:p>
            <a:pPr marL="285750" indent="-285750">
              <a:buFont typeface="Arial" charset="0"/>
              <a:buChar char="•"/>
            </a:pPr>
            <a:r>
              <a:rPr lang="en-US" dirty="0"/>
              <a:t>Network package will be created in the </a:t>
            </a:r>
            <a:r>
              <a:rPr lang="en-US" i="1" dirty="0"/>
              <a:t>Example_1 </a:t>
            </a:r>
            <a:r>
              <a:rPr lang="en-US" dirty="0"/>
              <a:t>package</a:t>
            </a:r>
          </a:p>
          <a:p>
            <a:pPr marL="285750" indent="-285750">
              <a:buFont typeface="Arial" charset="0"/>
              <a:buChar char="•"/>
            </a:pPr>
            <a:r>
              <a:rPr lang="en-US" dirty="0"/>
              <a:t>This package is created by right clicking on the </a:t>
            </a:r>
            <a:r>
              <a:rPr lang="en-US" i="1" dirty="0"/>
              <a:t>Example_1</a:t>
            </a:r>
            <a:r>
              <a:rPr lang="en-US" dirty="0"/>
              <a:t> in the </a:t>
            </a:r>
            <a:r>
              <a:rPr lang="en-US" i="1" dirty="0" err="1"/>
              <a:t>Working_Examples</a:t>
            </a:r>
            <a:r>
              <a:rPr lang="en-US" dirty="0"/>
              <a:t> package</a:t>
            </a:r>
            <a:endParaRPr lang="en-US" i="1" dirty="0"/>
          </a:p>
          <a:p>
            <a:endParaRPr lang="en-US" dirty="0"/>
          </a:p>
        </p:txBody>
      </p:sp>
      <p:grpSp>
        <p:nvGrpSpPr>
          <p:cNvPr id="8" name="Group 7"/>
          <p:cNvGrpSpPr/>
          <p:nvPr/>
        </p:nvGrpSpPr>
        <p:grpSpPr>
          <a:xfrm>
            <a:off x="1200563" y="3068960"/>
            <a:ext cx="6880615" cy="2870200"/>
            <a:chOff x="1200563" y="2803921"/>
            <a:chExt cx="6880615" cy="2870200"/>
          </a:xfrm>
        </p:grpSpPr>
        <p:pic>
          <p:nvPicPr>
            <p:cNvPr id="3" name="Picture 2"/>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3788578" y="2803921"/>
              <a:ext cx="4292600" cy="2870200"/>
            </a:xfrm>
            <a:prstGeom prst="rect">
              <a:avLst/>
            </a:prstGeom>
          </p:spPr>
        </p:pic>
        <p:sp>
          <p:nvSpPr>
            <p:cNvPr id="14" name="Rectangle 13"/>
            <p:cNvSpPr/>
            <p:nvPr/>
          </p:nvSpPr>
          <p:spPr>
            <a:xfrm>
              <a:off x="5508104" y="3265944"/>
              <a:ext cx="2448272" cy="576064"/>
            </a:xfrm>
            <a:prstGeom prst="rect">
              <a:avLst/>
            </a:prstGeom>
            <a:no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12" name="Picture 11"/>
            <p:cNvPicPr>
              <a:picLocks noChangeAspect="1"/>
            </p:cNvPicPr>
            <p:nvPr/>
          </p:nvPicPr>
          <p:blipFill>
            <a:blip r:embed="rId4"/>
            <a:stretch>
              <a:fillRect/>
            </a:stretch>
          </p:blipFill>
          <p:spPr>
            <a:xfrm>
              <a:off x="1835696" y="2935287"/>
              <a:ext cx="1401548" cy="2579886"/>
            </a:xfrm>
            <a:prstGeom prst="rect">
              <a:avLst/>
            </a:prstGeom>
          </p:spPr>
        </p:pic>
        <p:cxnSp>
          <p:nvCxnSpPr>
            <p:cNvPr id="9" name="Straight Arrow Connector 8"/>
            <p:cNvCxnSpPr/>
            <p:nvPr/>
          </p:nvCxnSpPr>
          <p:spPr>
            <a:xfrm>
              <a:off x="1200563" y="4352528"/>
              <a:ext cx="1008112" cy="0"/>
            </a:xfrm>
            <a:prstGeom prst="straightConnector1">
              <a:avLst/>
            </a:prstGeom>
            <a:ln w="31750">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38503102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7" name="Footer Placeholder 6"/>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23</a:t>
            </a:fld>
            <a:endParaRPr lang="en-US" dirty="0"/>
          </a:p>
        </p:txBody>
      </p:sp>
      <p:sp>
        <p:nvSpPr>
          <p:cNvPr id="3" name="Date Placeholder 2"/>
          <p:cNvSpPr>
            <a:spLocks noGrp="1"/>
          </p:cNvSpPr>
          <p:nvPr>
            <p:ph type="dt" sz="half" idx="12"/>
          </p:nvPr>
        </p:nvSpPr>
        <p:spPr/>
        <p:txBody>
          <a:bodyPr/>
          <a:lstStyle/>
          <a:p>
            <a:r>
              <a:rPr lang="sv-SE"/>
              <a:t>2016-11-20</a:t>
            </a:r>
          </a:p>
        </p:txBody>
      </p:sp>
      <p:sp>
        <p:nvSpPr>
          <p:cNvPr id="8" name="Content Placeholder 7"/>
          <p:cNvSpPr>
            <a:spLocks noGrp="1"/>
          </p:cNvSpPr>
          <p:nvPr>
            <p:ph idx="1"/>
          </p:nvPr>
        </p:nvSpPr>
        <p:spPr/>
        <p:txBody>
          <a:bodyPr/>
          <a:lstStyle/>
          <a:p>
            <a:r>
              <a:rPr lang="en-US" b="1" dirty="0"/>
              <a:t>Network model – Step 1 </a:t>
            </a:r>
          </a:p>
          <a:p>
            <a:pPr marL="285750" indent="-285750">
              <a:buFont typeface="Arial" charset="0"/>
              <a:buChar char="•"/>
            </a:pPr>
            <a:r>
              <a:rPr lang="en-US" dirty="0"/>
              <a:t>Network model will be created in the </a:t>
            </a:r>
            <a:r>
              <a:rPr lang="en-US" i="1" dirty="0"/>
              <a:t>Network </a:t>
            </a:r>
            <a:r>
              <a:rPr lang="en-US" dirty="0"/>
              <a:t>package</a:t>
            </a:r>
          </a:p>
          <a:p>
            <a:pPr marL="285750" indent="-285750">
              <a:buFont typeface="Arial" charset="0"/>
              <a:buChar char="•"/>
            </a:pPr>
            <a:r>
              <a:rPr lang="en-US" dirty="0"/>
              <a:t>This package is created by right clicking on the </a:t>
            </a:r>
            <a:r>
              <a:rPr lang="en-US" i="1" dirty="0"/>
              <a:t>Network </a:t>
            </a:r>
            <a:r>
              <a:rPr lang="en-US" dirty="0"/>
              <a:t>package</a:t>
            </a:r>
          </a:p>
          <a:p>
            <a:pPr marL="285750" indent="-285750">
              <a:buFont typeface="Arial" charset="0"/>
              <a:buChar char="•"/>
            </a:pPr>
            <a:r>
              <a:rPr lang="en-US" dirty="0"/>
              <a:t>The name of the network model will be </a:t>
            </a:r>
            <a:r>
              <a:rPr lang="en-US" i="1" dirty="0"/>
              <a:t>Example_1</a:t>
            </a:r>
            <a:endParaRPr lang="en-US" dirty="0"/>
          </a:p>
          <a:p>
            <a:endParaRPr lang="en-US" dirty="0"/>
          </a:p>
        </p:txBody>
      </p:sp>
      <p:grpSp>
        <p:nvGrpSpPr>
          <p:cNvPr id="14" name="Group 13"/>
          <p:cNvGrpSpPr/>
          <p:nvPr/>
        </p:nvGrpSpPr>
        <p:grpSpPr>
          <a:xfrm>
            <a:off x="1486676" y="3140968"/>
            <a:ext cx="6757732" cy="2585875"/>
            <a:chOff x="1486676" y="2708920"/>
            <a:chExt cx="6757732" cy="2585875"/>
          </a:xfrm>
        </p:grpSpPr>
        <p:pic>
          <p:nvPicPr>
            <p:cNvPr id="5" name="Picture 4"/>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4199665" y="2783244"/>
              <a:ext cx="3789751" cy="2511551"/>
            </a:xfrm>
            <a:prstGeom prst="rect">
              <a:avLst/>
            </a:prstGeom>
          </p:spPr>
        </p:pic>
        <p:cxnSp>
          <p:nvCxnSpPr>
            <p:cNvPr id="9" name="Straight Arrow Connector 8"/>
            <p:cNvCxnSpPr/>
            <p:nvPr/>
          </p:nvCxnSpPr>
          <p:spPr>
            <a:xfrm flipH="1">
              <a:off x="3124372" y="4663898"/>
              <a:ext cx="1008112" cy="0"/>
            </a:xfrm>
            <a:prstGeom prst="straightConnector1">
              <a:avLst/>
            </a:prstGeom>
            <a:ln w="31750">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cxnSp>
          <p:nvCxnSpPr>
            <p:cNvPr id="12" name="Straight Arrow Connector 11"/>
            <p:cNvCxnSpPr/>
            <p:nvPr/>
          </p:nvCxnSpPr>
          <p:spPr>
            <a:xfrm flipH="1">
              <a:off x="7236296" y="3284984"/>
              <a:ext cx="1008112" cy="0"/>
            </a:xfrm>
            <a:prstGeom prst="straightConnector1">
              <a:avLst/>
            </a:prstGeom>
            <a:ln w="31750">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cxnSp>
          <p:nvCxnSpPr>
            <p:cNvPr id="13" name="Straight Arrow Connector 12"/>
            <p:cNvCxnSpPr/>
            <p:nvPr/>
          </p:nvCxnSpPr>
          <p:spPr>
            <a:xfrm flipH="1">
              <a:off x="7236296" y="3573016"/>
              <a:ext cx="1008112" cy="0"/>
            </a:xfrm>
            <a:prstGeom prst="straightConnector1">
              <a:avLst/>
            </a:prstGeom>
            <a:ln w="31750">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pic>
          <p:nvPicPr>
            <p:cNvPr id="6" name="Picture 5"/>
            <p:cNvPicPr>
              <a:picLocks noChangeAspect="1"/>
            </p:cNvPicPr>
            <p:nvPr/>
          </p:nvPicPr>
          <p:blipFill rotWithShape="1">
            <a:blip r:embed="rId4"/>
            <a:srcRect b="19517"/>
            <a:stretch/>
          </p:blipFill>
          <p:spPr>
            <a:xfrm>
              <a:off x="1486676" y="2708920"/>
              <a:ext cx="1628800" cy="2585875"/>
            </a:xfrm>
            <a:prstGeom prst="rect">
              <a:avLst/>
            </a:prstGeom>
          </p:spPr>
        </p:pic>
      </p:grpSp>
    </p:spTree>
    <p:extLst>
      <p:ext uri="{BB962C8B-B14F-4D97-AF65-F5344CB8AC3E}">
        <p14:creationId xmlns:p14="http://schemas.microsoft.com/office/powerpoint/2010/main" val="84814153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3">
            <a:extLst>
              <a:ext uri="{28A0092B-C50C-407E-A947-70E740481C1C}">
                <a14:useLocalDpi xmlns:a14="http://schemas.microsoft.com/office/drawing/2010/main"/>
              </a:ext>
            </a:extLst>
          </a:blip>
          <a:srcRect l="3709" t="11308" r="7901" b="15838"/>
          <a:stretch/>
        </p:blipFill>
        <p:spPr>
          <a:xfrm>
            <a:off x="1636443" y="2458230"/>
            <a:ext cx="5904656" cy="1656184"/>
          </a:xfrm>
          <a:prstGeom prst="rect">
            <a:avLst/>
          </a:prstGeom>
        </p:spPr>
      </p:pic>
      <p:sp>
        <p:nvSpPr>
          <p:cNvPr id="11" name="Content Placeholder 10"/>
          <p:cNvSpPr>
            <a:spLocks noGrp="1"/>
          </p:cNvSpPr>
          <p:nvPr>
            <p:ph idx="1"/>
          </p:nvPr>
        </p:nvSpPr>
        <p:spPr/>
        <p:txBody>
          <a:bodyPr>
            <a:normAutofit/>
          </a:bodyPr>
          <a:lstStyle/>
          <a:p>
            <a:r>
              <a:rPr lang="en-US" b="1" dirty="0"/>
              <a:t>Network model – Step 1 </a:t>
            </a:r>
          </a:p>
          <a:p>
            <a:pPr marL="342900" indent="-342900">
              <a:buFont typeface="Arial" panose="020B0604020202020204" pitchFamily="34" charset="0"/>
              <a:buChar char="•"/>
            </a:pPr>
            <a:r>
              <a:rPr lang="en-US" dirty="0"/>
              <a:t>Created generator model and three bus models are added to the network model</a:t>
            </a:r>
          </a:p>
          <a:p>
            <a:endParaRPr lang="en-US" dirty="0"/>
          </a:p>
          <a:p>
            <a:endParaRPr lang="en-US" dirty="0"/>
          </a:p>
          <a:p>
            <a:endParaRPr lang="en-US" dirty="0"/>
          </a:p>
          <a:p>
            <a:endParaRPr lang="en-US" dirty="0"/>
          </a:p>
          <a:p>
            <a:pPr marL="342900" indent="-342900">
              <a:buFont typeface="Arial" panose="020B0604020202020204" pitchFamily="34" charset="0"/>
              <a:buChar char="•"/>
            </a:pPr>
            <a:r>
              <a:rPr lang="en-US" dirty="0"/>
              <a:t>Also, model </a:t>
            </a:r>
            <a:r>
              <a:rPr lang="en-US" i="1" dirty="0" err="1"/>
              <a:t>OpenIPSL.Electrical.SystemBase</a:t>
            </a:r>
            <a:r>
              <a:rPr lang="en-US" dirty="0"/>
              <a:t> shall be added to the network model which defines base parameters for all of the components in the network model</a:t>
            </a:r>
          </a:p>
          <a:p>
            <a:endParaRPr lang="en-US" dirty="0"/>
          </a:p>
          <a:p>
            <a:endParaRPr lang="en-US" dirty="0"/>
          </a:p>
        </p:txBody>
      </p:sp>
      <p:sp>
        <p:nvSpPr>
          <p:cNvPr id="2" name="Title 1"/>
          <p:cNvSpPr>
            <a:spLocks noGrp="1"/>
          </p:cNvSpPr>
          <p:nvPr>
            <p:ph type="title"/>
          </p:nvPr>
        </p:nvSpPr>
        <p:spPr/>
        <p:txBody>
          <a:bodyPr/>
          <a:lstStyle/>
          <a:p>
            <a:r>
              <a:rPr lang="en-US"/>
              <a:t>Example 1</a:t>
            </a:r>
            <a:endParaRPr lang="en-US" dirty="0"/>
          </a:p>
        </p:txBody>
      </p:sp>
      <p:sp>
        <p:nvSpPr>
          <p:cNvPr id="10" name="Footer Placeholder 9"/>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fld id="{440EDFD1-B7BF-467C-97A6-8BB3B0D76BCB}" type="slidenum">
              <a:rPr lang="en-US" smtClean="0"/>
              <a:pPr/>
              <a:t>24</a:t>
            </a:fld>
            <a:endParaRPr lang="en-US" dirty="0"/>
          </a:p>
        </p:txBody>
      </p:sp>
      <p:sp>
        <p:nvSpPr>
          <p:cNvPr id="8" name="Date Placeholder 7"/>
          <p:cNvSpPr>
            <a:spLocks noGrp="1"/>
          </p:cNvSpPr>
          <p:nvPr>
            <p:ph type="dt" sz="half" idx="12"/>
          </p:nvPr>
        </p:nvSpPr>
        <p:spPr/>
        <p:txBody>
          <a:bodyPr/>
          <a:lstStyle/>
          <a:p>
            <a:r>
              <a:rPr lang="sv-SE"/>
              <a:t>2016-11-20</a:t>
            </a:r>
          </a:p>
        </p:txBody>
      </p:sp>
      <mc:AlternateContent xmlns:mc="http://schemas.openxmlformats.org/markup-compatibility/2006" xmlns:a14="http://schemas.microsoft.com/office/drawing/2010/main">
        <mc:Choice Requires="a14">
          <p:graphicFrame>
            <p:nvGraphicFramePr>
              <p:cNvPr id="9" name="Table 8"/>
              <p:cNvGraphicFramePr>
                <a:graphicFrameLocks noGrp="1"/>
              </p:cNvGraphicFramePr>
              <p:nvPr>
                <p:extLst/>
              </p:nvPr>
            </p:nvGraphicFramePr>
            <p:xfrm>
              <a:off x="2283160" y="5170733"/>
              <a:ext cx="1769368" cy="757809"/>
            </p:xfrm>
            <a:graphic>
              <a:graphicData uri="http://schemas.openxmlformats.org/drawingml/2006/table">
                <a:tbl>
                  <a:tblPr firstRow="1" bandRow="1">
                    <a:tableStyleId>{5940675A-B579-460E-94D1-54222C63F5DA}</a:tableStyleId>
                  </a:tblPr>
                  <a:tblGrid>
                    <a:gridCol w="884684">
                      <a:extLst>
                        <a:ext uri="{9D8B030D-6E8A-4147-A177-3AD203B41FA5}">
                          <a16:colId xmlns:a16="http://schemas.microsoft.com/office/drawing/2014/main" val="20000"/>
                        </a:ext>
                      </a:extLst>
                    </a:gridCol>
                    <a:gridCol w="884684">
                      <a:extLst>
                        <a:ext uri="{9D8B030D-6E8A-4147-A177-3AD203B41FA5}">
                          <a16:colId xmlns:a16="http://schemas.microsoft.com/office/drawing/2014/main" val="20001"/>
                        </a:ext>
                      </a:extLst>
                    </a:gridCol>
                  </a:tblGrid>
                  <a:tr h="386969">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𝑆</m:t>
                                    </m:r>
                                  </m:e>
                                  <m:sub>
                                    <m:r>
                                      <a:rPr lang="hr-HR" b="0" i="1" smtClean="0">
                                        <a:solidFill>
                                          <a:schemeClr val="tx1"/>
                                        </a:solidFill>
                                        <a:latin typeface="Cambria Math" charset="0"/>
                                      </a:rPr>
                                      <m:t>𝑏</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100</a:t>
                          </a:r>
                        </a:p>
                      </a:txBody>
                      <a:tcPr>
                        <a:solidFill>
                          <a:schemeClr val="accent6">
                            <a:lumMod val="20000"/>
                            <a:lumOff val="80000"/>
                          </a:schemeClr>
                        </a:solidFill>
                      </a:tcPr>
                    </a:tc>
                    <a:extLst>
                      <a:ext uri="{0D108BD9-81ED-4DB2-BD59-A6C34878D82A}">
                        <a16:rowId xmlns:a16="http://schemas.microsoft.com/office/drawing/2014/main" val="10000"/>
                      </a:ext>
                    </a:extLst>
                  </a:tr>
                  <a:tr h="370840">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𝑓</m:t>
                                    </m:r>
                                  </m:e>
                                  <m:sub>
                                    <m:r>
                                      <a:rPr lang="hr-HR" b="0" i="1" smtClean="0">
                                        <a:solidFill>
                                          <a:schemeClr val="tx1"/>
                                        </a:solidFill>
                                        <a:latin typeface="Cambria Math" charset="0"/>
                                      </a:rPr>
                                      <m:t>𝑛</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60</a:t>
                          </a:r>
                        </a:p>
                      </a:txBody>
                      <a:tcPr>
                        <a:solidFill>
                          <a:schemeClr val="accent6">
                            <a:lumMod val="20000"/>
                            <a:lumOff val="80000"/>
                          </a:schemeClr>
                        </a:solidFill>
                      </a:tcPr>
                    </a:tc>
                    <a:extLst>
                      <a:ext uri="{0D108BD9-81ED-4DB2-BD59-A6C34878D82A}">
                        <a16:rowId xmlns:a16="http://schemas.microsoft.com/office/drawing/2014/main" val="10001"/>
                      </a:ext>
                    </a:extLst>
                  </a:tr>
                </a:tbl>
              </a:graphicData>
            </a:graphic>
          </p:graphicFrame>
        </mc:Choice>
        <mc:Fallback xmlns="">
          <p:graphicFrame>
            <p:nvGraphicFramePr>
              <p:cNvPr id="9" name="Table 8"/>
              <p:cNvGraphicFramePr>
                <a:graphicFrameLocks noGrp="1"/>
              </p:cNvGraphicFramePr>
              <p:nvPr>
                <p:extLst>
                  <p:ext uri="{D42A27DB-BD31-4B8C-83A1-F6EECF244321}">
                    <p14:modId xmlns:p14="http://schemas.microsoft.com/office/powerpoint/2010/main" val="1890502457"/>
                  </p:ext>
                </p:extLst>
              </p:nvPr>
            </p:nvGraphicFramePr>
            <p:xfrm>
              <a:off x="2283160" y="5170733"/>
              <a:ext cx="1769368" cy="757809"/>
            </p:xfrm>
            <a:graphic>
              <a:graphicData uri="http://schemas.openxmlformats.org/drawingml/2006/table">
                <a:tbl>
                  <a:tblPr firstRow="1" bandRow="1">
                    <a:tableStyleId>{5940675A-B579-460E-94D1-54222C63F5DA}</a:tableStyleId>
                  </a:tblPr>
                  <a:tblGrid>
                    <a:gridCol w="884684"/>
                    <a:gridCol w="884684"/>
                  </a:tblGrid>
                  <a:tr h="386969">
                    <a:tc>
                      <a:txBody>
                        <a:bodyPr/>
                        <a:lstStyle/>
                        <a:p>
                          <a:endParaRPr lang="en-US"/>
                        </a:p>
                      </a:txBody>
                      <a:tcPr>
                        <a:blipFill rotWithShape="0">
                          <a:blip r:embed="rId4"/>
                          <a:stretch>
                            <a:fillRect l="-685" t="-7813" r="-100685" b="-118750"/>
                          </a:stretch>
                        </a:blipFill>
                      </a:tcPr>
                    </a:tc>
                    <a:tc>
                      <a:txBody>
                        <a:bodyPr/>
                        <a:lstStyle/>
                        <a:p>
                          <a:r>
                            <a:rPr lang="en-US" dirty="0" smtClean="0"/>
                            <a:t>100</a:t>
                          </a:r>
                          <a:endParaRPr lang="en-US" dirty="0"/>
                        </a:p>
                      </a:txBody>
                      <a:tcPr>
                        <a:solidFill>
                          <a:schemeClr val="accent6">
                            <a:lumMod val="20000"/>
                            <a:lumOff val="80000"/>
                          </a:schemeClr>
                        </a:solidFill>
                      </a:tcPr>
                    </a:tc>
                  </a:tr>
                  <a:tr h="370840">
                    <a:tc>
                      <a:txBody>
                        <a:bodyPr/>
                        <a:lstStyle/>
                        <a:p>
                          <a:endParaRPr lang="en-US"/>
                        </a:p>
                      </a:txBody>
                      <a:tcPr>
                        <a:blipFill rotWithShape="0">
                          <a:blip r:embed="rId4"/>
                          <a:stretch>
                            <a:fillRect l="-685" t="-113115" r="-100685" b="-24590"/>
                          </a:stretch>
                        </a:blipFill>
                      </a:tcPr>
                    </a:tc>
                    <a:tc>
                      <a:txBody>
                        <a:bodyPr/>
                        <a:lstStyle/>
                        <a:p>
                          <a:r>
                            <a:rPr lang="en-US" dirty="0" smtClean="0"/>
                            <a:t>60</a:t>
                          </a:r>
                          <a:endParaRPr lang="en-US" dirty="0"/>
                        </a:p>
                      </a:txBody>
                      <a:tcPr>
                        <a:solidFill>
                          <a:schemeClr val="accent6">
                            <a:lumMod val="20000"/>
                            <a:lumOff val="80000"/>
                          </a:schemeClr>
                        </a:solidFill>
                      </a:tcPr>
                    </a:tc>
                  </a:tr>
                </a:tbl>
              </a:graphicData>
            </a:graphic>
          </p:graphicFrame>
        </mc:Fallback>
      </mc:AlternateContent>
      <p:pic>
        <p:nvPicPr>
          <p:cNvPr id="3" name="Picture 2"/>
          <p:cNvPicPr>
            <a:picLocks noChangeAspect="1"/>
          </p:cNvPicPr>
          <p:nvPr/>
        </p:nvPicPr>
        <p:blipFill>
          <a:blip r:embed="rId5"/>
          <a:stretch>
            <a:fillRect/>
          </a:stretch>
        </p:blipFill>
        <p:spPr>
          <a:xfrm>
            <a:off x="5508104" y="4735743"/>
            <a:ext cx="2266826" cy="1142109"/>
          </a:xfrm>
          <a:prstGeom prst="rect">
            <a:avLst/>
          </a:prstGeom>
        </p:spPr>
      </p:pic>
    </p:spTree>
    <p:extLst>
      <p:ext uri="{BB962C8B-B14F-4D97-AF65-F5344CB8AC3E}">
        <p14:creationId xmlns:p14="http://schemas.microsoft.com/office/powerpoint/2010/main" val="186583041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8" name="Footer Placeholder 7"/>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25</a:t>
            </a:fld>
            <a:endParaRPr lang="en-US" dirty="0"/>
          </a:p>
        </p:txBody>
      </p:sp>
      <p:sp>
        <p:nvSpPr>
          <p:cNvPr id="7" name="Date Placeholder 6"/>
          <p:cNvSpPr>
            <a:spLocks noGrp="1"/>
          </p:cNvSpPr>
          <p:nvPr>
            <p:ph type="dt" sz="half" idx="12"/>
          </p:nvPr>
        </p:nvSpPr>
        <p:spPr/>
        <p:txBody>
          <a:bodyPr/>
          <a:lstStyle/>
          <a:p>
            <a:r>
              <a:rPr lang="sv-SE"/>
              <a:t>2016-11-20</a:t>
            </a:r>
          </a:p>
        </p:txBody>
      </p:sp>
      <p:sp>
        <p:nvSpPr>
          <p:cNvPr id="9" name="Content Placeholder 8"/>
          <p:cNvSpPr>
            <a:spLocks noGrp="1"/>
          </p:cNvSpPr>
          <p:nvPr>
            <p:ph idx="1"/>
          </p:nvPr>
        </p:nvSpPr>
        <p:spPr/>
        <p:txBody>
          <a:bodyPr/>
          <a:lstStyle/>
          <a:p>
            <a:r>
              <a:rPr lang="en-US" b="1" dirty="0"/>
              <a:t>Network model – Step 2 </a:t>
            </a:r>
          </a:p>
          <a:p>
            <a:pPr marL="342900" indent="-342900">
              <a:buFont typeface="Arial" panose="020B0604020202020204" pitchFamily="34" charset="0"/>
              <a:buChar char="•"/>
            </a:pPr>
            <a:r>
              <a:rPr lang="en-US" dirty="0"/>
              <a:t>Transformer and line models are added</a:t>
            </a:r>
          </a:p>
          <a:p>
            <a:endParaRPr lang="en-US" dirty="0"/>
          </a:p>
        </p:txBody>
      </p:sp>
      <p:pic>
        <p:nvPicPr>
          <p:cNvPr id="3" name="Picture 2"/>
          <p:cNvPicPr>
            <a:picLocks noChangeAspect="1"/>
          </p:cNvPicPr>
          <p:nvPr/>
        </p:nvPicPr>
        <p:blipFill>
          <a:blip r:embed="rId3"/>
          <a:stretch>
            <a:fillRect/>
          </a:stretch>
        </p:blipFill>
        <p:spPr>
          <a:xfrm>
            <a:off x="899592" y="2420888"/>
            <a:ext cx="6635791" cy="3024336"/>
          </a:xfrm>
          <a:prstGeom prst="rect">
            <a:avLst/>
          </a:prstGeom>
        </p:spPr>
      </p:pic>
    </p:spTree>
    <p:extLst>
      <p:ext uri="{BB962C8B-B14F-4D97-AF65-F5344CB8AC3E}">
        <p14:creationId xmlns:p14="http://schemas.microsoft.com/office/powerpoint/2010/main" val="145553779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8" name="Footer Placeholder 7"/>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26</a:t>
            </a:fld>
            <a:endParaRPr lang="en-US" dirty="0"/>
          </a:p>
        </p:txBody>
      </p:sp>
      <p:sp>
        <p:nvSpPr>
          <p:cNvPr id="6" name="Date Placeholder 5"/>
          <p:cNvSpPr>
            <a:spLocks noGrp="1"/>
          </p:cNvSpPr>
          <p:nvPr>
            <p:ph type="dt" sz="half" idx="12"/>
          </p:nvPr>
        </p:nvSpPr>
        <p:spPr/>
        <p:txBody>
          <a:bodyPr/>
          <a:lstStyle/>
          <a:p>
            <a:r>
              <a:rPr lang="sv-SE"/>
              <a:t>2016-11-20</a:t>
            </a:r>
          </a:p>
        </p:txBody>
      </p:sp>
      <p:sp>
        <p:nvSpPr>
          <p:cNvPr id="12" name="Content Placeholder 11"/>
          <p:cNvSpPr>
            <a:spLocks noGrp="1"/>
          </p:cNvSpPr>
          <p:nvPr>
            <p:ph idx="1"/>
          </p:nvPr>
        </p:nvSpPr>
        <p:spPr/>
        <p:txBody>
          <a:bodyPr/>
          <a:lstStyle/>
          <a:p>
            <a:r>
              <a:rPr lang="en-US" b="1" dirty="0"/>
              <a:t>Network model – Step 2 </a:t>
            </a:r>
          </a:p>
          <a:p>
            <a:pPr marL="342900" indent="-342900">
              <a:buFont typeface="Arial" panose="020B0604020202020204" pitchFamily="34" charset="0"/>
              <a:buChar char="•"/>
            </a:pPr>
            <a:r>
              <a:rPr lang="en-US" dirty="0"/>
              <a:t>Transformer and line parameters</a:t>
            </a:r>
          </a:p>
          <a:p>
            <a:endParaRPr lang="en-US" dirty="0"/>
          </a:p>
        </p:txBody>
      </p:sp>
      <mc:AlternateContent xmlns:mc="http://schemas.openxmlformats.org/markup-compatibility/2006" xmlns:a14="http://schemas.microsoft.com/office/drawing/2010/main">
        <mc:Choice Requires="a14">
          <p:graphicFrame>
            <p:nvGraphicFramePr>
              <p:cNvPr id="7" name="Table 6"/>
              <p:cNvGraphicFramePr>
                <a:graphicFrameLocks noGrp="1"/>
              </p:cNvGraphicFramePr>
              <p:nvPr>
                <p:extLst>
                  <p:ext uri="{D42A27DB-BD31-4B8C-83A1-F6EECF244321}">
                    <p14:modId xmlns:p14="http://schemas.microsoft.com/office/powerpoint/2010/main" val="812553174"/>
                  </p:ext>
                </p:extLst>
              </p:nvPr>
            </p:nvGraphicFramePr>
            <p:xfrm>
              <a:off x="611560" y="3510300"/>
              <a:ext cx="2952328" cy="1768729"/>
            </p:xfrm>
            <a:graphic>
              <a:graphicData uri="http://schemas.openxmlformats.org/drawingml/2006/table">
                <a:tbl>
                  <a:tblPr firstRow="1" bandRow="1">
                    <a:tableStyleId>{5940675A-B579-460E-94D1-54222C63F5DA}</a:tableStyleId>
                  </a:tblPr>
                  <a:tblGrid>
                    <a:gridCol w="738082">
                      <a:extLst>
                        <a:ext uri="{9D8B030D-6E8A-4147-A177-3AD203B41FA5}">
                          <a16:colId xmlns:a16="http://schemas.microsoft.com/office/drawing/2014/main" val="20000"/>
                        </a:ext>
                      </a:extLst>
                    </a:gridCol>
                    <a:gridCol w="738082">
                      <a:extLst>
                        <a:ext uri="{9D8B030D-6E8A-4147-A177-3AD203B41FA5}">
                          <a16:colId xmlns:a16="http://schemas.microsoft.com/office/drawing/2014/main" val="20001"/>
                        </a:ext>
                      </a:extLst>
                    </a:gridCol>
                    <a:gridCol w="738082">
                      <a:extLst>
                        <a:ext uri="{9D8B030D-6E8A-4147-A177-3AD203B41FA5}">
                          <a16:colId xmlns:a16="http://schemas.microsoft.com/office/drawing/2014/main" val="20002"/>
                        </a:ext>
                      </a:extLst>
                    </a:gridCol>
                    <a:gridCol w="738082">
                      <a:extLst>
                        <a:ext uri="{9D8B030D-6E8A-4147-A177-3AD203B41FA5}">
                          <a16:colId xmlns:a16="http://schemas.microsoft.com/office/drawing/2014/main" val="20003"/>
                        </a:ext>
                      </a:extLst>
                    </a:gridCol>
                  </a:tblGrid>
                  <a:tr h="386969">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𝑆</m:t>
                                    </m:r>
                                  </m:e>
                                  <m:sub>
                                    <m:r>
                                      <a:rPr lang="hr-HR" b="0" i="1" smtClean="0">
                                        <a:solidFill>
                                          <a:schemeClr val="tx1"/>
                                        </a:solidFill>
                                        <a:latin typeface="Cambria Math" charset="0"/>
                                      </a:rPr>
                                      <m:t>𝑏</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a:t>
                          </a:r>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sSub>
                                  <m:sSubPr>
                                    <m:ctrlPr>
                                      <a:rPr lang="hr-HR" b="0" i="1" smtClean="0">
                                        <a:latin typeface="Cambria Math" panose="02040503050406030204" pitchFamily="18" charset="0"/>
                                      </a:rPr>
                                    </m:ctrlPr>
                                  </m:sSubPr>
                                  <m:e>
                                    <m:r>
                                      <a:rPr lang="hr-HR" b="0" i="1" smtClean="0">
                                        <a:latin typeface="Cambria Math" charset="0"/>
                                      </a:rPr>
                                      <m:t>𝑓</m:t>
                                    </m:r>
                                  </m:e>
                                  <m:sub>
                                    <m:r>
                                      <a:rPr lang="hr-HR" b="0" i="1" smtClean="0">
                                        <a:latin typeface="Cambria Math" charset="0"/>
                                      </a:rPr>
                                      <m:t>𝑛</m:t>
                                    </m:r>
                                  </m:sub>
                                </m:sSub>
                              </m:oMath>
                            </m:oMathPara>
                          </a14:m>
                          <a:endParaRPr lang="en-US" dirty="0"/>
                        </a:p>
                      </a:txBody>
                      <a:tcPr>
                        <a:solidFill>
                          <a:schemeClr val="accent6">
                            <a:lumMod val="60000"/>
                            <a:lumOff val="40000"/>
                          </a:schemeClr>
                        </a:solidFill>
                      </a:tcPr>
                    </a:tc>
                    <a:tc>
                      <a:txBody>
                        <a:bodyPr/>
                        <a:lstStyle/>
                        <a:p>
                          <a:r>
                            <a:rPr lang="en-US" dirty="0"/>
                            <a:t>-</a:t>
                          </a:r>
                        </a:p>
                      </a:txBody>
                      <a:tcPr>
                        <a:solidFill>
                          <a:schemeClr val="accent6">
                            <a:lumMod val="20000"/>
                            <a:lumOff val="80000"/>
                          </a:schemeClr>
                        </a:solidFill>
                      </a:tcPr>
                    </a:tc>
                    <a:extLst>
                      <a:ext uri="{0D108BD9-81ED-4DB2-BD59-A6C34878D82A}">
                        <a16:rowId xmlns:a16="http://schemas.microsoft.com/office/drawing/2014/main" val="10000"/>
                      </a:ext>
                    </a:extLst>
                  </a:tr>
                  <a:tr h="370840">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𝑆</m:t>
                                    </m:r>
                                  </m:e>
                                  <m:sub>
                                    <m:r>
                                      <a:rPr lang="hr-HR" b="0" i="1" smtClean="0">
                                        <a:solidFill>
                                          <a:schemeClr val="tx1"/>
                                        </a:solidFill>
                                        <a:latin typeface="Cambria Math" charset="0"/>
                                      </a:rPr>
                                      <m:t>𝑛</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2220</a:t>
                          </a:r>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r>
                                  <a:rPr lang="hr-HR" b="0" i="1" smtClean="0">
                                    <a:latin typeface="Cambria Math" charset="0"/>
                                  </a:rPr>
                                  <m:t>𝑘𝑇</m:t>
                                </m:r>
                              </m:oMath>
                            </m:oMathPara>
                          </a14:m>
                          <a:endParaRPr lang="en-US" dirty="0"/>
                        </a:p>
                      </a:txBody>
                      <a:tcPr>
                        <a:solidFill>
                          <a:schemeClr val="accent6">
                            <a:lumMod val="60000"/>
                            <a:lumOff val="40000"/>
                          </a:schemeClr>
                        </a:solidFill>
                      </a:tcPr>
                    </a:tc>
                    <a:tc>
                      <a:txBody>
                        <a:bodyPr/>
                        <a:lstStyle/>
                        <a:p>
                          <a:r>
                            <a:rPr lang="en-US" dirty="0"/>
                            <a:t>1</a:t>
                          </a:r>
                        </a:p>
                      </a:txBody>
                      <a:tcPr>
                        <a:solidFill>
                          <a:schemeClr val="accent6">
                            <a:lumMod val="20000"/>
                            <a:lumOff val="80000"/>
                          </a:schemeClr>
                        </a:solidFill>
                      </a:tcPr>
                    </a:tc>
                    <a:extLst>
                      <a:ext uri="{0D108BD9-81ED-4DB2-BD59-A6C34878D82A}">
                        <a16:rowId xmlns:a16="http://schemas.microsoft.com/office/drawing/2014/main" val="10001"/>
                      </a:ext>
                    </a:extLst>
                  </a:tr>
                  <a:tr h="370840">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𝑉</m:t>
                                    </m:r>
                                  </m:e>
                                  <m:sub>
                                    <m:r>
                                      <a:rPr lang="hr-HR" b="0" i="1" smtClean="0">
                                        <a:solidFill>
                                          <a:schemeClr val="tx1"/>
                                        </a:solidFill>
                                        <a:latin typeface="Cambria Math" charset="0"/>
                                      </a:rPr>
                                      <m:t>𝑏</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60</a:t>
                          </a:r>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r>
                                  <a:rPr lang="hr-HR" b="0" i="1" smtClean="0">
                                    <a:latin typeface="Cambria Math" charset="0"/>
                                  </a:rPr>
                                  <m:t>𝑥</m:t>
                                </m:r>
                              </m:oMath>
                            </m:oMathPara>
                          </a14:m>
                          <a:endParaRPr lang="en-US" dirty="0"/>
                        </a:p>
                      </a:txBody>
                      <a:tcPr>
                        <a:solidFill>
                          <a:schemeClr val="accent6">
                            <a:lumMod val="60000"/>
                            <a:lumOff val="40000"/>
                          </a:schemeClr>
                        </a:solidFill>
                      </a:tcPr>
                    </a:tc>
                    <a:tc>
                      <a:txBody>
                        <a:bodyPr/>
                        <a:lstStyle/>
                        <a:p>
                          <a:r>
                            <a:rPr lang="en-US" dirty="0"/>
                            <a:t>0.15</a:t>
                          </a:r>
                        </a:p>
                      </a:txBody>
                      <a:tcPr>
                        <a:solidFill>
                          <a:schemeClr val="accent6">
                            <a:lumMod val="20000"/>
                            <a:lumOff val="80000"/>
                          </a:schemeClr>
                        </a:solidFill>
                      </a:tcPr>
                    </a:tc>
                    <a:extLst>
                      <a:ext uri="{0D108BD9-81ED-4DB2-BD59-A6C34878D82A}">
                        <a16:rowId xmlns:a16="http://schemas.microsoft.com/office/drawing/2014/main" val="10002"/>
                      </a:ext>
                    </a:extLst>
                  </a:tr>
                  <a:tr h="370840">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𝑉</m:t>
                                    </m:r>
                                  </m:e>
                                  <m:sub>
                                    <m:r>
                                      <a:rPr lang="hr-HR" b="0" i="1" smtClean="0">
                                        <a:solidFill>
                                          <a:schemeClr val="tx1"/>
                                        </a:solidFill>
                                        <a:latin typeface="Cambria Math" charset="0"/>
                                      </a:rPr>
                                      <m:t>𝑛</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0.001</a:t>
                          </a:r>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r>
                                  <a:rPr lang="hr-HR" b="0" i="1" smtClean="0">
                                    <a:latin typeface="Cambria Math" charset="0"/>
                                  </a:rPr>
                                  <m:t>𝑟</m:t>
                                </m:r>
                              </m:oMath>
                            </m:oMathPara>
                          </a14:m>
                          <a:endParaRPr lang="en-US" dirty="0"/>
                        </a:p>
                      </a:txBody>
                      <a:tcPr>
                        <a:solidFill>
                          <a:schemeClr val="accent6">
                            <a:lumMod val="60000"/>
                            <a:lumOff val="40000"/>
                          </a:schemeClr>
                        </a:solidFill>
                      </a:tcPr>
                    </a:tc>
                    <a:tc>
                      <a:txBody>
                        <a:bodyPr/>
                        <a:lstStyle/>
                        <a:p>
                          <a:r>
                            <a:rPr lang="en-US" dirty="0"/>
                            <a:t>0</a:t>
                          </a:r>
                        </a:p>
                      </a:txBody>
                      <a:tcPr>
                        <a:solidFill>
                          <a:schemeClr val="accent6">
                            <a:lumMod val="20000"/>
                            <a:lumOff val="80000"/>
                          </a:schemeClr>
                        </a:solidFill>
                      </a:tcPr>
                    </a:tc>
                    <a:extLst>
                      <a:ext uri="{0D108BD9-81ED-4DB2-BD59-A6C34878D82A}">
                        <a16:rowId xmlns:a16="http://schemas.microsoft.com/office/drawing/2014/main" val="10003"/>
                      </a:ext>
                    </a:extLst>
                  </a:tr>
                </a:tbl>
              </a:graphicData>
            </a:graphic>
          </p:graphicFrame>
        </mc:Choice>
        <mc:Fallback xmlns="">
          <p:graphicFrame>
            <p:nvGraphicFramePr>
              <p:cNvPr id="7" name="Table 6"/>
              <p:cNvGraphicFramePr>
                <a:graphicFrameLocks noGrp="1"/>
              </p:cNvGraphicFramePr>
              <p:nvPr>
                <p:extLst>
                  <p:ext uri="{D42A27DB-BD31-4B8C-83A1-F6EECF244321}">
                    <p14:modId xmlns:p14="http://schemas.microsoft.com/office/powerpoint/2010/main" val="812553174"/>
                  </p:ext>
                </p:extLst>
              </p:nvPr>
            </p:nvGraphicFramePr>
            <p:xfrm>
              <a:off x="611560" y="3510300"/>
              <a:ext cx="2952328" cy="1768729"/>
            </p:xfrm>
            <a:graphic>
              <a:graphicData uri="http://schemas.openxmlformats.org/drawingml/2006/table">
                <a:tbl>
                  <a:tblPr firstRow="1" bandRow="1">
                    <a:tableStyleId>{5940675A-B579-460E-94D1-54222C63F5DA}</a:tableStyleId>
                  </a:tblPr>
                  <a:tblGrid>
                    <a:gridCol w="738082"/>
                    <a:gridCol w="738082"/>
                    <a:gridCol w="738082"/>
                    <a:gridCol w="738082"/>
                  </a:tblGrid>
                  <a:tr h="386969">
                    <a:tc>
                      <a:txBody>
                        <a:bodyPr/>
                        <a:lstStyle/>
                        <a:p>
                          <a:endParaRPr lang="en-US"/>
                        </a:p>
                      </a:txBody>
                      <a:tcPr>
                        <a:blipFill rotWithShape="0">
                          <a:blip r:embed="rId3"/>
                          <a:stretch>
                            <a:fillRect l="-826" t="-7813" r="-302479" b="-379688"/>
                          </a:stretch>
                        </a:blipFill>
                      </a:tcPr>
                    </a:tc>
                    <a:tc>
                      <a:txBody>
                        <a:bodyPr/>
                        <a:lstStyle/>
                        <a:p>
                          <a:r>
                            <a:rPr lang="en-US" dirty="0" smtClean="0"/>
                            <a:t>-</a:t>
                          </a:r>
                          <a:endParaRPr lang="en-US" dirty="0"/>
                        </a:p>
                      </a:txBody>
                      <a:tcPr>
                        <a:solidFill>
                          <a:schemeClr val="accent6">
                            <a:lumMod val="20000"/>
                            <a:lumOff val="80000"/>
                          </a:schemeClr>
                        </a:solidFill>
                      </a:tcPr>
                    </a:tc>
                    <a:tc>
                      <a:txBody>
                        <a:bodyPr/>
                        <a:lstStyle/>
                        <a:p>
                          <a:endParaRPr lang="en-US"/>
                        </a:p>
                      </a:txBody>
                      <a:tcPr>
                        <a:blipFill rotWithShape="0">
                          <a:blip r:embed="rId3"/>
                          <a:stretch>
                            <a:fillRect l="-201653" t="-7813" r="-101653" b="-379688"/>
                          </a:stretch>
                        </a:blipFill>
                      </a:tcPr>
                    </a:tc>
                    <a:tc>
                      <a:txBody>
                        <a:bodyPr/>
                        <a:lstStyle/>
                        <a:p>
                          <a:r>
                            <a:rPr lang="en-US" dirty="0" smtClean="0"/>
                            <a:t>-</a:t>
                          </a:r>
                          <a:endParaRPr lang="en-US" dirty="0"/>
                        </a:p>
                      </a:txBody>
                      <a:tcPr>
                        <a:solidFill>
                          <a:schemeClr val="accent6">
                            <a:lumMod val="20000"/>
                            <a:lumOff val="80000"/>
                          </a:schemeClr>
                        </a:solidFill>
                      </a:tcPr>
                    </a:tc>
                  </a:tr>
                  <a:tr h="370840">
                    <a:tc>
                      <a:txBody>
                        <a:bodyPr/>
                        <a:lstStyle/>
                        <a:p>
                          <a:endParaRPr lang="en-US"/>
                        </a:p>
                      </a:txBody>
                      <a:tcPr>
                        <a:blipFill rotWithShape="0">
                          <a:blip r:embed="rId3"/>
                          <a:stretch>
                            <a:fillRect l="-826" t="-113115" r="-302479" b="-298361"/>
                          </a:stretch>
                        </a:blipFill>
                      </a:tcPr>
                    </a:tc>
                    <a:tc>
                      <a:txBody>
                        <a:bodyPr/>
                        <a:lstStyle/>
                        <a:p>
                          <a:r>
                            <a:rPr lang="en-US" dirty="0" smtClean="0"/>
                            <a:t>2220</a:t>
                          </a:r>
                          <a:endParaRPr lang="en-US" dirty="0"/>
                        </a:p>
                      </a:txBody>
                      <a:tcPr>
                        <a:solidFill>
                          <a:schemeClr val="accent6">
                            <a:lumMod val="20000"/>
                            <a:lumOff val="80000"/>
                          </a:schemeClr>
                        </a:solidFill>
                      </a:tcPr>
                    </a:tc>
                    <a:tc>
                      <a:txBody>
                        <a:bodyPr/>
                        <a:lstStyle/>
                        <a:p>
                          <a:endParaRPr lang="en-US"/>
                        </a:p>
                      </a:txBody>
                      <a:tcPr>
                        <a:blipFill rotWithShape="0">
                          <a:blip r:embed="rId3"/>
                          <a:stretch>
                            <a:fillRect l="-201653" t="-113115" r="-101653" b="-298361"/>
                          </a:stretch>
                        </a:blipFill>
                      </a:tcPr>
                    </a:tc>
                    <a:tc>
                      <a:txBody>
                        <a:bodyPr/>
                        <a:lstStyle/>
                        <a:p>
                          <a:r>
                            <a:rPr lang="en-US" dirty="0" smtClean="0"/>
                            <a:t>1</a:t>
                          </a:r>
                          <a:endParaRPr lang="en-US" dirty="0"/>
                        </a:p>
                      </a:txBody>
                      <a:tcPr>
                        <a:solidFill>
                          <a:schemeClr val="accent6">
                            <a:lumMod val="20000"/>
                            <a:lumOff val="80000"/>
                          </a:schemeClr>
                        </a:solidFill>
                      </a:tcPr>
                    </a:tc>
                  </a:tr>
                  <a:tr h="370840">
                    <a:tc>
                      <a:txBody>
                        <a:bodyPr/>
                        <a:lstStyle/>
                        <a:p>
                          <a:endParaRPr lang="en-US"/>
                        </a:p>
                      </a:txBody>
                      <a:tcPr>
                        <a:blipFill rotWithShape="0">
                          <a:blip r:embed="rId3"/>
                          <a:stretch>
                            <a:fillRect l="-826" t="-213115" r="-302479" b="-198361"/>
                          </a:stretch>
                        </a:blipFill>
                      </a:tcPr>
                    </a:tc>
                    <a:tc>
                      <a:txBody>
                        <a:bodyPr/>
                        <a:lstStyle/>
                        <a:p>
                          <a:r>
                            <a:rPr lang="en-US" dirty="0" smtClean="0"/>
                            <a:t>60</a:t>
                          </a:r>
                          <a:endParaRPr lang="en-US" dirty="0"/>
                        </a:p>
                      </a:txBody>
                      <a:tcPr>
                        <a:solidFill>
                          <a:schemeClr val="accent6">
                            <a:lumMod val="20000"/>
                            <a:lumOff val="80000"/>
                          </a:schemeClr>
                        </a:solidFill>
                      </a:tcPr>
                    </a:tc>
                    <a:tc>
                      <a:txBody>
                        <a:bodyPr/>
                        <a:lstStyle/>
                        <a:p>
                          <a:endParaRPr lang="en-US"/>
                        </a:p>
                      </a:txBody>
                      <a:tcPr>
                        <a:blipFill rotWithShape="0">
                          <a:blip r:embed="rId3"/>
                          <a:stretch>
                            <a:fillRect l="-201653" t="-213115" r="-101653" b="-198361"/>
                          </a:stretch>
                        </a:blipFill>
                      </a:tcPr>
                    </a:tc>
                    <a:tc>
                      <a:txBody>
                        <a:bodyPr/>
                        <a:lstStyle/>
                        <a:p>
                          <a:r>
                            <a:rPr lang="en-US" dirty="0" smtClean="0"/>
                            <a:t>0.15</a:t>
                          </a:r>
                          <a:endParaRPr lang="en-US" dirty="0"/>
                        </a:p>
                      </a:txBody>
                      <a:tcPr>
                        <a:solidFill>
                          <a:schemeClr val="accent6">
                            <a:lumMod val="20000"/>
                            <a:lumOff val="80000"/>
                          </a:schemeClr>
                        </a:solidFill>
                      </a:tcPr>
                    </a:tc>
                  </a:tr>
                  <a:tr h="640080">
                    <a:tc>
                      <a:txBody>
                        <a:bodyPr/>
                        <a:lstStyle/>
                        <a:p>
                          <a:endParaRPr lang="en-US"/>
                        </a:p>
                      </a:txBody>
                      <a:tcPr>
                        <a:blipFill rotWithShape="0">
                          <a:blip r:embed="rId3"/>
                          <a:stretch>
                            <a:fillRect l="-826" t="-181905" r="-302479" b="-15238"/>
                          </a:stretch>
                        </a:blipFill>
                      </a:tcPr>
                    </a:tc>
                    <a:tc>
                      <a:txBody>
                        <a:bodyPr/>
                        <a:lstStyle/>
                        <a:p>
                          <a:r>
                            <a:rPr lang="en-US" dirty="0" smtClean="0"/>
                            <a:t>0.001</a:t>
                          </a:r>
                          <a:endParaRPr lang="en-US" dirty="0"/>
                        </a:p>
                      </a:txBody>
                      <a:tcPr>
                        <a:solidFill>
                          <a:schemeClr val="accent6">
                            <a:lumMod val="20000"/>
                            <a:lumOff val="80000"/>
                          </a:schemeClr>
                        </a:solidFill>
                      </a:tcPr>
                    </a:tc>
                    <a:tc>
                      <a:txBody>
                        <a:bodyPr/>
                        <a:lstStyle/>
                        <a:p>
                          <a:endParaRPr lang="en-US"/>
                        </a:p>
                      </a:txBody>
                      <a:tcPr>
                        <a:blipFill rotWithShape="0">
                          <a:blip r:embed="rId3"/>
                          <a:stretch>
                            <a:fillRect l="-201653" t="-181905" r="-101653" b="-15238"/>
                          </a:stretch>
                        </a:blipFill>
                      </a:tcPr>
                    </a:tc>
                    <a:tc>
                      <a:txBody>
                        <a:bodyPr/>
                        <a:lstStyle/>
                        <a:p>
                          <a:r>
                            <a:rPr lang="en-US" dirty="0" smtClean="0"/>
                            <a:t>0</a:t>
                          </a:r>
                          <a:endParaRPr lang="en-US" dirty="0"/>
                        </a:p>
                      </a:txBody>
                      <a:tcPr>
                        <a:solidFill>
                          <a:schemeClr val="accent6">
                            <a:lumMod val="20000"/>
                            <a:lumOff val="80000"/>
                          </a:schemeClr>
                        </a:solidFill>
                      </a:tcPr>
                    </a:tc>
                  </a:tr>
                </a:tbl>
              </a:graphicData>
            </a:graphic>
          </p:graphicFrame>
        </mc:Fallback>
      </mc:AlternateContent>
      <p:sp>
        <p:nvSpPr>
          <p:cNvPr id="9" name="TextBox 8"/>
          <p:cNvSpPr txBox="1"/>
          <p:nvPr/>
        </p:nvSpPr>
        <p:spPr>
          <a:xfrm>
            <a:off x="611560" y="3140968"/>
            <a:ext cx="2664296" cy="369332"/>
          </a:xfrm>
          <a:prstGeom prst="rect">
            <a:avLst/>
          </a:prstGeom>
          <a:noFill/>
        </p:spPr>
        <p:txBody>
          <a:bodyPr wrap="square" rtlCol="0">
            <a:spAutoFit/>
          </a:bodyPr>
          <a:lstStyle/>
          <a:p>
            <a:r>
              <a:rPr lang="en-US" dirty="0"/>
              <a:t>Transformer</a:t>
            </a:r>
          </a:p>
        </p:txBody>
      </p:sp>
      <mc:AlternateContent xmlns:mc="http://schemas.openxmlformats.org/markup-compatibility/2006" xmlns:a14="http://schemas.microsoft.com/office/drawing/2010/main">
        <mc:Choice Requires="a14">
          <p:graphicFrame>
            <p:nvGraphicFramePr>
              <p:cNvPr id="10" name="Table 9"/>
              <p:cNvGraphicFramePr>
                <a:graphicFrameLocks noGrp="1"/>
              </p:cNvGraphicFramePr>
              <p:nvPr>
                <p:extLst/>
              </p:nvPr>
            </p:nvGraphicFramePr>
            <p:xfrm>
              <a:off x="4246057" y="2751214"/>
              <a:ext cx="3566304" cy="1097280"/>
            </p:xfrm>
            <a:graphic>
              <a:graphicData uri="http://schemas.openxmlformats.org/drawingml/2006/table">
                <a:tbl>
                  <a:tblPr firstRow="1" bandRow="1">
                    <a:tableStyleId>{5940675A-B579-460E-94D1-54222C63F5DA}</a:tableStyleId>
                  </a:tblPr>
                  <a:tblGrid>
                    <a:gridCol w="580495">
                      <a:extLst>
                        <a:ext uri="{9D8B030D-6E8A-4147-A177-3AD203B41FA5}">
                          <a16:colId xmlns:a16="http://schemas.microsoft.com/office/drawing/2014/main" val="20000"/>
                        </a:ext>
                      </a:extLst>
                    </a:gridCol>
                    <a:gridCol w="1584307">
                      <a:extLst>
                        <a:ext uri="{9D8B030D-6E8A-4147-A177-3AD203B41FA5}">
                          <a16:colId xmlns:a16="http://schemas.microsoft.com/office/drawing/2014/main" val="20001"/>
                        </a:ext>
                      </a:extLst>
                    </a:gridCol>
                    <a:gridCol w="482595">
                      <a:extLst>
                        <a:ext uri="{9D8B030D-6E8A-4147-A177-3AD203B41FA5}">
                          <a16:colId xmlns:a16="http://schemas.microsoft.com/office/drawing/2014/main" val="20002"/>
                        </a:ext>
                      </a:extLst>
                    </a:gridCol>
                    <a:gridCol w="918907">
                      <a:extLst>
                        <a:ext uri="{9D8B030D-6E8A-4147-A177-3AD203B41FA5}">
                          <a16:colId xmlns:a16="http://schemas.microsoft.com/office/drawing/2014/main" val="20003"/>
                        </a:ext>
                      </a:extLst>
                    </a:gridCol>
                  </a:tblGrid>
                  <a:tr h="334400">
                    <a:tc>
                      <a:txBody>
                        <a:bodyPr/>
                        <a:lstStyle/>
                        <a:p>
                          <a:pPr/>
                          <a14:m>
                            <m:oMathPara xmlns:m="http://schemas.openxmlformats.org/officeDocument/2006/math">
                              <m:oMathParaPr>
                                <m:jc m:val="centerGroup"/>
                              </m:oMathParaPr>
                              <m:oMath xmlns:m="http://schemas.openxmlformats.org/officeDocument/2006/math">
                                <m:r>
                                  <a:rPr lang="hr-HR" b="0" i="1" smtClean="0">
                                    <a:solidFill>
                                      <a:schemeClr val="tx1"/>
                                    </a:solidFill>
                                    <a:latin typeface="Cambria Math" charset="0"/>
                                  </a:rPr>
                                  <m:t>𝑅</m:t>
                                </m:r>
                              </m:oMath>
                            </m:oMathPara>
                          </a14:m>
                          <a:endParaRPr lang="en-US" dirty="0">
                            <a:solidFill>
                              <a:schemeClr val="tx1"/>
                            </a:solidFill>
                          </a:endParaRPr>
                        </a:p>
                      </a:txBody>
                      <a:tcPr>
                        <a:solidFill>
                          <a:schemeClr val="accent6">
                            <a:lumMod val="60000"/>
                            <a:lumOff val="40000"/>
                          </a:schemeClr>
                        </a:solidFill>
                      </a:tcPr>
                    </a:tc>
                    <a:tc>
                      <a:txBody>
                        <a:bodyPr/>
                        <a:lstStyle/>
                        <a:p>
                          <a:r>
                            <a:rPr lang="en-US" dirty="0"/>
                            <a:t>0.0</a:t>
                          </a:r>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r>
                                  <a:rPr lang="hr-HR" b="0" i="1" smtClean="0">
                                    <a:latin typeface="Cambria Math" charset="0"/>
                                  </a:rPr>
                                  <m:t>𝐺</m:t>
                                </m:r>
                              </m:oMath>
                            </m:oMathPara>
                          </a14:m>
                          <a:endParaRPr lang="en-US" dirty="0"/>
                        </a:p>
                      </a:txBody>
                      <a:tcPr>
                        <a:solidFill>
                          <a:schemeClr val="accent6">
                            <a:lumMod val="60000"/>
                            <a:lumOff val="40000"/>
                          </a:schemeClr>
                        </a:solidFill>
                      </a:tcPr>
                    </a:tc>
                    <a:tc>
                      <a:txBody>
                        <a:bodyPr/>
                        <a:lstStyle/>
                        <a:p>
                          <a:r>
                            <a:rPr lang="en-US" dirty="0"/>
                            <a:t>0.0</a:t>
                          </a:r>
                        </a:p>
                      </a:txBody>
                      <a:tcPr>
                        <a:solidFill>
                          <a:schemeClr val="accent6">
                            <a:lumMod val="20000"/>
                            <a:lumOff val="80000"/>
                          </a:schemeClr>
                        </a:solidFill>
                      </a:tcPr>
                    </a:tc>
                    <a:extLst>
                      <a:ext uri="{0D108BD9-81ED-4DB2-BD59-A6C34878D82A}">
                        <a16:rowId xmlns:a16="http://schemas.microsoft.com/office/drawing/2014/main" val="10000"/>
                      </a:ext>
                    </a:extLst>
                  </a:tr>
                  <a:tr h="320462">
                    <a:tc>
                      <a:txBody>
                        <a:bodyPr/>
                        <a:lstStyle/>
                        <a:p>
                          <a:pPr/>
                          <a14:m>
                            <m:oMathPara xmlns:m="http://schemas.openxmlformats.org/officeDocument/2006/math">
                              <m:oMathParaPr>
                                <m:jc m:val="centerGroup"/>
                              </m:oMathParaPr>
                              <m:oMath xmlns:m="http://schemas.openxmlformats.org/officeDocument/2006/math">
                                <m:r>
                                  <a:rPr lang="hr-HR" b="0" i="1" smtClean="0">
                                    <a:solidFill>
                                      <a:schemeClr val="tx1"/>
                                    </a:solidFill>
                                    <a:latin typeface="Cambria Math" charset="0"/>
                                  </a:rPr>
                                  <m:t>𝑋</m:t>
                                </m:r>
                              </m:oMath>
                            </m:oMathPara>
                          </a14:m>
                          <a:endParaRPr lang="en-US" dirty="0">
                            <a:solidFill>
                              <a:schemeClr val="tx1"/>
                            </a:solidFill>
                          </a:endParaRPr>
                        </a:p>
                      </a:txBody>
                      <a:tcPr>
                        <a:solidFill>
                          <a:schemeClr val="accent6">
                            <a:lumMod val="60000"/>
                            <a:lumOff val="40000"/>
                          </a:schemeClr>
                        </a:solidFill>
                      </a:tcPr>
                    </a:tc>
                    <a:tc>
                      <a:txBody>
                        <a:bodyPr/>
                        <a:lstStyle/>
                        <a:p>
                          <a:r>
                            <a:rPr lang="nb-NO" dirty="0"/>
                            <a:t>0.5*100/2220</a:t>
                          </a:r>
                          <a:endParaRPr lang="en-US" dirty="0"/>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r>
                                  <a:rPr lang="hr-HR" b="0" i="1" smtClean="0">
                                    <a:latin typeface="Cambria Math" charset="0"/>
                                  </a:rPr>
                                  <m:t>𝐵</m:t>
                                </m:r>
                              </m:oMath>
                            </m:oMathPara>
                          </a14:m>
                          <a:endParaRPr lang="en-US" dirty="0"/>
                        </a:p>
                      </a:txBody>
                      <a:tcPr>
                        <a:solidFill>
                          <a:schemeClr val="accent6">
                            <a:lumMod val="60000"/>
                            <a:lumOff val="40000"/>
                          </a:schemeClr>
                        </a:solidFill>
                      </a:tcPr>
                    </a:tc>
                    <a:tc>
                      <a:txBody>
                        <a:bodyPr/>
                        <a:lstStyle/>
                        <a:p>
                          <a:r>
                            <a:rPr lang="en-US" dirty="0"/>
                            <a:t>0.0</a:t>
                          </a:r>
                        </a:p>
                      </a:txBody>
                      <a:tcPr>
                        <a:solidFill>
                          <a:schemeClr val="accent6">
                            <a:lumMod val="20000"/>
                            <a:lumOff val="80000"/>
                          </a:schemeClr>
                        </a:solidFill>
                      </a:tcPr>
                    </a:tc>
                    <a:extLst>
                      <a:ext uri="{0D108BD9-81ED-4DB2-BD59-A6C34878D82A}">
                        <a16:rowId xmlns:a16="http://schemas.microsoft.com/office/drawing/2014/main" val="10001"/>
                      </a:ext>
                    </a:extLst>
                  </a:tr>
                  <a:tr h="320462">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𝑆</m:t>
                                    </m:r>
                                  </m:e>
                                  <m:sub>
                                    <m:r>
                                      <a:rPr lang="hr-HR" b="0" i="1" smtClean="0">
                                        <a:solidFill>
                                          <a:schemeClr val="tx1"/>
                                        </a:solidFill>
                                        <a:latin typeface="Cambria Math" charset="0"/>
                                      </a:rPr>
                                      <m:t>𝑏</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100</a:t>
                          </a:r>
                        </a:p>
                      </a:txBody>
                      <a:tcPr>
                        <a:solidFill>
                          <a:schemeClr val="accent6">
                            <a:lumMod val="20000"/>
                            <a:lumOff val="80000"/>
                          </a:schemeClr>
                        </a:solidFill>
                      </a:tcPr>
                    </a:tc>
                    <a:tc>
                      <a:txBody>
                        <a:bodyPr/>
                        <a:lstStyle/>
                        <a:p>
                          <a:endParaRPr lang="en-US" dirty="0"/>
                        </a:p>
                      </a:txBody>
                      <a:tcPr>
                        <a:solidFill>
                          <a:schemeClr val="accent6">
                            <a:lumMod val="60000"/>
                            <a:lumOff val="40000"/>
                          </a:schemeClr>
                        </a:solidFill>
                      </a:tcPr>
                    </a:tc>
                    <a:tc>
                      <a:txBody>
                        <a:bodyPr/>
                        <a:lstStyle/>
                        <a:p>
                          <a:endParaRPr lang="en-US" dirty="0"/>
                        </a:p>
                      </a:txBody>
                      <a:tcPr>
                        <a:solidFill>
                          <a:schemeClr val="accent6">
                            <a:lumMod val="20000"/>
                            <a:lumOff val="80000"/>
                          </a:schemeClr>
                        </a:solidFill>
                      </a:tcPr>
                    </a:tc>
                    <a:extLst>
                      <a:ext uri="{0D108BD9-81ED-4DB2-BD59-A6C34878D82A}">
                        <a16:rowId xmlns:a16="http://schemas.microsoft.com/office/drawing/2014/main" val="10002"/>
                      </a:ext>
                    </a:extLst>
                  </a:tr>
                </a:tbl>
              </a:graphicData>
            </a:graphic>
          </p:graphicFrame>
        </mc:Choice>
        <mc:Fallback xmlns="">
          <p:graphicFrame>
            <p:nvGraphicFramePr>
              <p:cNvPr id="10" name="Table 9"/>
              <p:cNvGraphicFramePr>
                <a:graphicFrameLocks noGrp="1"/>
              </p:cNvGraphicFramePr>
              <p:nvPr>
                <p:extLst>
                  <p:ext uri="{D42A27DB-BD31-4B8C-83A1-F6EECF244321}">
                    <p14:modId xmlns:p14="http://schemas.microsoft.com/office/powerpoint/2010/main" val="848307516"/>
                  </p:ext>
                </p:extLst>
              </p:nvPr>
            </p:nvGraphicFramePr>
            <p:xfrm>
              <a:off x="4246057" y="2751214"/>
              <a:ext cx="3566304" cy="1097280"/>
            </p:xfrm>
            <a:graphic>
              <a:graphicData uri="http://schemas.openxmlformats.org/drawingml/2006/table">
                <a:tbl>
                  <a:tblPr firstRow="1" bandRow="1">
                    <a:tableStyleId>{5940675A-B579-460E-94D1-54222C63F5DA}</a:tableStyleId>
                  </a:tblPr>
                  <a:tblGrid>
                    <a:gridCol w="580495"/>
                    <a:gridCol w="1584307"/>
                    <a:gridCol w="482595"/>
                    <a:gridCol w="918907"/>
                  </a:tblGrid>
                  <a:tr h="365760">
                    <a:tc>
                      <a:txBody>
                        <a:bodyPr/>
                        <a:lstStyle/>
                        <a:p>
                          <a:endParaRPr lang="en-US"/>
                        </a:p>
                      </a:txBody>
                      <a:tcPr>
                        <a:blipFill rotWithShape="0">
                          <a:blip r:embed="rId4"/>
                          <a:stretch>
                            <a:fillRect l="-1053" t="-8333" r="-518947" b="-226667"/>
                          </a:stretch>
                        </a:blipFill>
                      </a:tcPr>
                    </a:tc>
                    <a:tc>
                      <a:txBody>
                        <a:bodyPr/>
                        <a:lstStyle/>
                        <a:p>
                          <a:r>
                            <a:rPr lang="en-US" dirty="0" smtClean="0"/>
                            <a:t>0.0</a:t>
                          </a:r>
                          <a:endParaRPr lang="en-US" dirty="0"/>
                        </a:p>
                      </a:txBody>
                      <a:tcPr>
                        <a:solidFill>
                          <a:schemeClr val="accent6">
                            <a:lumMod val="20000"/>
                            <a:lumOff val="80000"/>
                          </a:schemeClr>
                        </a:solidFill>
                      </a:tcPr>
                    </a:tc>
                    <a:tc>
                      <a:txBody>
                        <a:bodyPr/>
                        <a:lstStyle/>
                        <a:p>
                          <a:endParaRPr lang="en-US"/>
                        </a:p>
                      </a:txBody>
                      <a:tcPr>
                        <a:blipFill rotWithShape="0">
                          <a:blip r:embed="rId4"/>
                          <a:stretch>
                            <a:fillRect l="-451899" t="-8333" r="-193671" b="-226667"/>
                          </a:stretch>
                        </a:blipFill>
                      </a:tcPr>
                    </a:tc>
                    <a:tc>
                      <a:txBody>
                        <a:bodyPr/>
                        <a:lstStyle/>
                        <a:p>
                          <a:r>
                            <a:rPr lang="en-US" dirty="0" smtClean="0"/>
                            <a:t>0.0</a:t>
                          </a:r>
                          <a:endParaRPr lang="en-US" dirty="0"/>
                        </a:p>
                      </a:txBody>
                      <a:tcPr>
                        <a:solidFill>
                          <a:schemeClr val="accent6">
                            <a:lumMod val="20000"/>
                            <a:lumOff val="80000"/>
                          </a:schemeClr>
                        </a:solidFill>
                      </a:tcPr>
                    </a:tc>
                  </a:tr>
                  <a:tr h="365760">
                    <a:tc>
                      <a:txBody>
                        <a:bodyPr/>
                        <a:lstStyle/>
                        <a:p>
                          <a:endParaRPr lang="en-US"/>
                        </a:p>
                      </a:txBody>
                      <a:tcPr>
                        <a:blipFill rotWithShape="0">
                          <a:blip r:embed="rId4"/>
                          <a:stretch>
                            <a:fillRect l="-1053" t="-106557" r="-518947" b="-122951"/>
                          </a:stretch>
                        </a:blipFill>
                      </a:tcPr>
                    </a:tc>
                    <a:tc>
                      <a:txBody>
                        <a:bodyPr/>
                        <a:lstStyle/>
                        <a:p>
                          <a:r>
                            <a:rPr lang="nb-NO" dirty="0" smtClean="0"/>
                            <a:t>0.5*100/2220</a:t>
                          </a:r>
                          <a:endParaRPr lang="en-US" dirty="0"/>
                        </a:p>
                      </a:txBody>
                      <a:tcPr>
                        <a:solidFill>
                          <a:schemeClr val="accent6">
                            <a:lumMod val="20000"/>
                            <a:lumOff val="80000"/>
                          </a:schemeClr>
                        </a:solidFill>
                      </a:tcPr>
                    </a:tc>
                    <a:tc>
                      <a:txBody>
                        <a:bodyPr/>
                        <a:lstStyle/>
                        <a:p>
                          <a:endParaRPr lang="en-US"/>
                        </a:p>
                      </a:txBody>
                      <a:tcPr>
                        <a:blipFill rotWithShape="0">
                          <a:blip r:embed="rId4"/>
                          <a:stretch>
                            <a:fillRect l="-451899" t="-106557" r="-193671" b="-122951"/>
                          </a:stretch>
                        </a:blipFill>
                      </a:tcPr>
                    </a:tc>
                    <a:tc>
                      <a:txBody>
                        <a:bodyPr/>
                        <a:lstStyle/>
                        <a:p>
                          <a:r>
                            <a:rPr lang="en-US" dirty="0" smtClean="0"/>
                            <a:t>0.0</a:t>
                          </a:r>
                          <a:endParaRPr lang="en-US" dirty="0"/>
                        </a:p>
                      </a:txBody>
                      <a:tcPr>
                        <a:solidFill>
                          <a:schemeClr val="accent6">
                            <a:lumMod val="20000"/>
                            <a:lumOff val="80000"/>
                          </a:schemeClr>
                        </a:solidFill>
                      </a:tcPr>
                    </a:tc>
                  </a:tr>
                  <a:tr h="365760">
                    <a:tc>
                      <a:txBody>
                        <a:bodyPr/>
                        <a:lstStyle/>
                        <a:p>
                          <a:endParaRPr lang="en-US"/>
                        </a:p>
                      </a:txBody>
                      <a:tcPr>
                        <a:blipFill rotWithShape="0">
                          <a:blip r:embed="rId4"/>
                          <a:stretch>
                            <a:fillRect l="-1053" t="-210000" r="-518947" b="-25000"/>
                          </a:stretch>
                        </a:blipFill>
                      </a:tcPr>
                    </a:tc>
                    <a:tc>
                      <a:txBody>
                        <a:bodyPr/>
                        <a:lstStyle/>
                        <a:p>
                          <a:r>
                            <a:rPr lang="en-US" dirty="0" smtClean="0"/>
                            <a:t>100</a:t>
                          </a:r>
                          <a:endParaRPr lang="en-US" dirty="0"/>
                        </a:p>
                      </a:txBody>
                      <a:tcPr>
                        <a:solidFill>
                          <a:schemeClr val="accent6">
                            <a:lumMod val="20000"/>
                            <a:lumOff val="80000"/>
                          </a:schemeClr>
                        </a:solidFill>
                      </a:tcPr>
                    </a:tc>
                    <a:tc>
                      <a:txBody>
                        <a:bodyPr/>
                        <a:lstStyle/>
                        <a:p>
                          <a:endParaRPr lang="en-US" dirty="0"/>
                        </a:p>
                      </a:txBody>
                      <a:tcPr>
                        <a:solidFill>
                          <a:schemeClr val="accent6">
                            <a:lumMod val="60000"/>
                            <a:lumOff val="40000"/>
                          </a:schemeClr>
                        </a:solidFill>
                      </a:tcPr>
                    </a:tc>
                    <a:tc>
                      <a:txBody>
                        <a:bodyPr/>
                        <a:lstStyle/>
                        <a:p>
                          <a:endParaRPr lang="en-US" dirty="0"/>
                        </a:p>
                      </a:txBody>
                      <a:tcPr>
                        <a:solidFill>
                          <a:schemeClr val="accent6">
                            <a:lumMod val="20000"/>
                            <a:lumOff val="80000"/>
                          </a:schemeClr>
                        </a:solidFill>
                      </a:tcPr>
                    </a:tc>
                  </a:tr>
                </a:tbl>
              </a:graphicData>
            </a:graphic>
          </p:graphicFrame>
        </mc:Fallback>
      </mc:AlternateContent>
      <p:sp>
        <p:nvSpPr>
          <p:cNvPr id="11" name="TextBox 10"/>
          <p:cNvSpPr txBox="1"/>
          <p:nvPr/>
        </p:nvSpPr>
        <p:spPr>
          <a:xfrm>
            <a:off x="4211960" y="2381881"/>
            <a:ext cx="2664296" cy="369332"/>
          </a:xfrm>
          <a:prstGeom prst="rect">
            <a:avLst/>
          </a:prstGeom>
          <a:noFill/>
        </p:spPr>
        <p:txBody>
          <a:bodyPr wrap="square" rtlCol="0">
            <a:spAutoFit/>
          </a:bodyPr>
          <a:lstStyle/>
          <a:p>
            <a:r>
              <a:rPr lang="en-US" dirty="0"/>
              <a:t>Line 1</a:t>
            </a:r>
          </a:p>
        </p:txBody>
      </p:sp>
      <mc:AlternateContent xmlns:mc="http://schemas.openxmlformats.org/markup-compatibility/2006" xmlns:a14="http://schemas.microsoft.com/office/drawing/2010/main">
        <mc:Choice Requires="a14">
          <p:graphicFrame>
            <p:nvGraphicFramePr>
              <p:cNvPr id="14" name="Table 13"/>
              <p:cNvGraphicFramePr>
                <a:graphicFrameLocks noGrp="1"/>
              </p:cNvGraphicFramePr>
              <p:nvPr>
                <p:extLst/>
              </p:nvPr>
            </p:nvGraphicFramePr>
            <p:xfrm>
              <a:off x="4211961" y="4461149"/>
              <a:ext cx="3600399" cy="1371600"/>
            </p:xfrm>
            <a:graphic>
              <a:graphicData uri="http://schemas.openxmlformats.org/drawingml/2006/table">
                <a:tbl>
                  <a:tblPr firstRow="1" bandRow="1">
                    <a:tableStyleId>{5940675A-B579-460E-94D1-54222C63F5DA}</a:tableStyleId>
                  </a:tblPr>
                  <a:tblGrid>
                    <a:gridCol w="610237">
                      <a:extLst>
                        <a:ext uri="{9D8B030D-6E8A-4147-A177-3AD203B41FA5}">
                          <a16:colId xmlns:a16="http://schemas.microsoft.com/office/drawing/2014/main" val="20000"/>
                        </a:ext>
                      </a:extLst>
                    </a:gridCol>
                    <a:gridCol w="1647641">
                      <a:extLst>
                        <a:ext uri="{9D8B030D-6E8A-4147-A177-3AD203B41FA5}">
                          <a16:colId xmlns:a16="http://schemas.microsoft.com/office/drawing/2014/main" val="20001"/>
                        </a:ext>
                      </a:extLst>
                    </a:gridCol>
                    <a:gridCol w="442421">
                      <a:extLst>
                        <a:ext uri="{9D8B030D-6E8A-4147-A177-3AD203B41FA5}">
                          <a16:colId xmlns:a16="http://schemas.microsoft.com/office/drawing/2014/main" val="20002"/>
                        </a:ext>
                      </a:extLst>
                    </a:gridCol>
                    <a:gridCol w="900100">
                      <a:extLst>
                        <a:ext uri="{9D8B030D-6E8A-4147-A177-3AD203B41FA5}">
                          <a16:colId xmlns:a16="http://schemas.microsoft.com/office/drawing/2014/main" val="20003"/>
                        </a:ext>
                      </a:extLst>
                    </a:gridCol>
                  </a:tblGrid>
                  <a:tr h="334400">
                    <a:tc>
                      <a:txBody>
                        <a:bodyPr/>
                        <a:lstStyle/>
                        <a:p>
                          <a:pPr/>
                          <a14:m>
                            <m:oMathPara xmlns:m="http://schemas.openxmlformats.org/officeDocument/2006/math">
                              <m:oMathParaPr>
                                <m:jc m:val="centerGroup"/>
                              </m:oMathParaPr>
                              <m:oMath xmlns:m="http://schemas.openxmlformats.org/officeDocument/2006/math">
                                <m:r>
                                  <a:rPr lang="hr-HR" b="0" i="1" smtClean="0">
                                    <a:solidFill>
                                      <a:schemeClr val="tx1"/>
                                    </a:solidFill>
                                    <a:latin typeface="Cambria Math" charset="0"/>
                                  </a:rPr>
                                  <m:t>𝑅</m:t>
                                </m:r>
                              </m:oMath>
                            </m:oMathPara>
                          </a14:m>
                          <a:endParaRPr lang="en-US" dirty="0">
                            <a:solidFill>
                              <a:schemeClr val="tx1"/>
                            </a:solidFill>
                          </a:endParaRPr>
                        </a:p>
                      </a:txBody>
                      <a:tcPr>
                        <a:solidFill>
                          <a:schemeClr val="accent6">
                            <a:lumMod val="60000"/>
                            <a:lumOff val="40000"/>
                          </a:schemeClr>
                        </a:solidFill>
                      </a:tcPr>
                    </a:tc>
                    <a:tc>
                      <a:txBody>
                        <a:bodyPr/>
                        <a:lstStyle/>
                        <a:p>
                          <a:r>
                            <a:rPr lang="en-US" dirty="0"/>
                            <a:t>0.0</a:t>
                          </a:r>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r>
                                  <a:rPr lang="hr-HR" b="0" i="1" smtClean="0">
                                    <a:latin typeface="Cambria Math" charset="0"/>
                                  </a:rPr>
                                  <m:t>𝐺</m:t>
                                </m:r>
                              </m:oMath>
                            </m:oMathPara>
                          </a14:m>
                          <a:endParaRPr lang="en-US" dirty="0"/>
                        </a:p>
                      </a:txBody>
                      <a:tcPr>
                        <a:solidFill>
                          <a:schemeClr val="accent6">
                            <a:lumMod val="60000"/>
                            <a:lumOff val="40000"/>
                          </a:schemeClr>
                        </a:solidFill>
                      </a:tcPr>
                    </a:tc>
                    <a:tc>
                      <a:txBody>
                        <a:bodyPr/>
                        <a:lstStyle/>
                        <a:p>
                          <a:r>
                            <a:rPr lang="en-US" dirty="0"/>
                            <a:t>0.0</a:t>
                          </a:r>
                        </a:p>
                      </a:txBody>
                      <a:tcPr>
                        <a:solidFill>
                          <a:schemeClr val="accent6">
                            <a:lumMod val="20000"/>
                            <a:lumOff val="80000"/>
                          </a:schemeClr>
                        </a:solidFill>
                      </a:tcPr>
                    </a:tc>
                    <a:extLst>
                      <a:ext uri="{0D108BD9-81ED-4DB2-BD59-A6C34878D82A}">
                        <a16:rowId xmlns:a16="http://schemas.microsoft.com/office/drawing/2014/main" val="10000"/>
                      </a:ext>
                    </a:extLst>
                  </a:tr>
                  <a:tr h="320462">
                    <a:tc>
                      <a:txBody>
                        <a:bodyPr/>
                        <a:lstStyle/>
                        <a:p>
                          <a:pPr/>
                          <a14:m>
                            <m:oMathPara xmlns:m="http://schemas.openxmlformats.org/officeDocument/2006/math">
                              <m:oMathParaPr>
                                <m:jc m:val="centerGroup"/>
                              </m:oMathParaPr>
                              <m:oMath xmlns:m="http://schemas.openxmlformats.org/officeDocument/2006/math">
                                <m:r>
                                  <a:rPr lang="hr-HR" b="0" i="1" smtClean="0">
                                    <a:solidFill>
                                      <a:schemeClr val="tx1"/>
                                    </a:solidFill>
                                    <a:latin typeface="Cambria Math" charset="0"/>
                                  </a:rPr>
                                  <m:t>𝑋</m:t>
                                </m:r>
                              </m:oMath>
                            </m:oMathPara>
                          </a14:m>
                          <a:endParaRPr lang="en-US" dirty="0">
                            <a:solidFill>
                              <a:schemeClr val="tx1"/>
                            </a:solidFill>
                          </a:endParaRPr>
                        </a:p>
                      </a:txBody>
                      <a:tcPr>
                        <a:solidFill>
                          <a:schemeClr val="accent6">
                            <a:lumMod val="60000"/>
                            <a:lumOff val="40000"/>
                          </a:schemeClr>
                        </a:solidFill>
                      </a:tcPr>
                    </a:tc>
                    <a:tc>
                      <a:txBody>
                        <a:bodyPr/>
                        <a:lstStyle/>
                        <a:p>
                          <a:r>
                            <a:rPr lang="nb-NO" dirty="0"/>
                            <a:t>0.93*100/2220</a:t>
                          </a:r>
                          <a:endParaRPr lang="en-US" dirty="0"/>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r>
                                  <a:rPr lang="hr-HR" b="0" i="1" smtClean="0">
                                    <a:latin typeface="Cambria Math" charset="0"/>
                                  </a:rPr>
                                  <m:t>𝐵</m:t>
                                </m:r>
                              </m:oMath>
                            </m:oMathPara>
                          </a14:m>
                          <a:endParaRPr lang="en-US" dirty="0"/>
                        </a:p>
                      </a:txBody>
                      <a:tcPr>
                        <a:solidFill>
                          <a:schemeClr val="accent6">
                            <a:lumMod val="60000"/>
                            <a:lumOff val="40000"/>
                          </a:schemeClr>
                        </a:solidFill>
                      </a:tcPr>
                    </a:tc>
                    <a:tc>
                      <a:txBody>
                        <a:bodyPr/>
                        <a:lstStyle/>
                        <a:p>
                          <a:r>
                            <a:rPr lang="en-US" dirty="0"/>
                            <a:t>0.0</a:t>
                          </a:r>
                        </a:p>
                      </a:txBody>
                      <a:tcPr>
                        <a:solidFill>
                          <a:schemeClr val="accent6">
                            <a:lumMod val="20000"/>
                            <a:lumOff val="80000"/>
                          </a:schemeClr>
                        </a:solidFill>
                      </a:tcPr>
                    </a:tc>
                    <a:extLst>
                      <a:ext uri="{0D108BD9-81ED-4DB2-BD59-A6C34878D82A}">
                        <a16:rowId xmlns:a16="http://schemas.microsoft.com/office/drawing/2014/main" val="10001"/>
                      </a:ext>
                    </a:extLst>
                  </a:tr>
                  <a:tr h="320462">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𝑆</m:t>
                                    </m:r>
                                  </m:e>
                                  <m:sub>
                                    <m:r>
                                      <a:rPr lang="hr-HR" b="0" i="1" smtClean="0">
                                        <a:solidFill>
                                          <a:schemeClr val="tx1"/>
                                        </a:solidFill>
                                        <a:latin typeface="Cambria Math" charset="0"/>
                                      </a:rPr>
                                      <m:t>𝑏</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100</a:t>
                          </a:r>
                        </a:p>
                      </a:txBody>
                      <a:tcPr>
                        <a:solidFill>
                          <a:schemeClr val="accent6">
                            <a:lumMod val="20000"/>
                            <a:lumOff val="80000"/>
                          </a:schemeClr>
                        </a:solidFill>
                      </a:tcPr>
                    </a:tc>
                    <a:tc>
                      <a:txBody>
                        <a:bodyPr/>
                        <a:lstStyle/>
                        <a:p>
                          <a:endParaRPr lang="en-US" dirty="0"/>
                        </a:p>
                      </a:txBody>
                      <a:tcPr>
                        <a:solidFill>
                          <a:schemeClr val="accent6">
                            <a:lumMod val="60000"/>
                            <a:lumOff val="40000"/>
                          </a:schemeClr>
                        </a:solidFill>
                      </a:tcPr>
                    </a:tc>
                    <a:tc>
                      <a:txBody>
                        <a:bodyPr/>
                        <a:lstStyle/>
                        <a:p>
                          <a:endParaRPr lang="en-US" dirty="0"/>
                        </a:p>
                      </a:txBody>
                      <a:tcPr>
                        <a:solidFill>
                          <a:schemeClr val="accent6">
                            <a:lumMod val="20000"/>
                            <a:lumOff val="80000"/>
                          </a:schemeClr>
                        </a:solidFill>
                      </a:tcPr>
                    </a:tc>
                    <a:extLst>
                      <a:ext uri="{0D108BD9-81ED-4DB2-BD59-A6C34878D82A}">
                        <a16:rowId xmlns:a16="http://schemas.microsoft.com/office/drawing/2014/main" val="10002"/>
                      </a:ext>
                    </a:extLst>
                  </a:tr>
                </a:tbl>
              </a:graphicData>
            </a:graphic>
          </p:graphicFrame>
        </mc:Choice>
        <mc:Fallback xmlns="">
          <p:graphicFrame>
            <p:nvGraphicFramePr>
              <p:cNvPr id="14" name="Table 13"/>
              <p:cNvGraphicFramePr>
                <a:graphicFrameLocks noGrp="1"/>
              </p:cNvGraphicFramePr>
              <p:nvPr>
                <p:extLst>
                  <p:ext uri="{D42A27DB-BD31-4B8C-83A1-F6EECF244321}">
                    <p14:modId xmlns:p14="http://schemas.microsoft.com/office/powerpoint/2010/main" val="1722979138"/>
                  </p:ext>
                </p:extLst>
              </p:nvPr>
            </p:nvGraphicFramePr>
            <p:xfrm>
              <a:off x="4211961" y="4461149"/>
              <a:ext cx="3600399" cy="1097280"/>
            </p:xfrm>
            <a:graphic>
              <a:graphicData uri="http://schemas.openxmlformats.org/drawingml/2006/table">
                <a:tbl>
                  <a:tblPr firstRow="1" bandRow="1">
                    <a:tableStyleId>{5940675A-B579-460E-94D1-54222C63F5DA}</a:tableStyleId>
                  </a:tblPr>
                  <a:tblGrid>
                    <a:gridCol w="610237"/>
                    <a:gridCol w="1647641"/>
                    <a:gridCol w="442421"/>
                    <a:gridCol w="900100"/>
                  </a:tblGrid>
                  <a:tr h="365760">
                    <a:tc>
                      <a:txBody>
                        <a:bodyPr/>
                        <a:lstStyle/>
                        <a:p>
                          <a:endParaRPr lang="en-US"/>
                        </a:p>
                      </a:txBody>
                      <a:tcPr>
                        <a:blipFill rotWithShape="0">
                          <a:blip r:embed="rId5"/>
                          <a:stretch>
                            <a:fillRect l="-1000" t="-8333" r="-494000" b="-228333"/>
                          </a:stretch>
                        </a:blipFill>
                      </a:tcPr>
                    </a:tc>
                    <a:tc>
                      <a:txBody>
                        <a:bodyPr/>
                        <a:lstStyle/>
                        <a:p>
                          <a:r>
                            <a:rPr lang="en-US" dirty="0" smtClean="0"/>
                            <a:t>0.0</a:t>
                          </a:r>
                          <a:endParaRPr lang="en-US" dirty="0"/>
                        </a:p>
                      </a:txBody>
                      <a:tcPr>
                        <a:solidFill>
                          <a:schemeClr val="accent6">
                            <a:lumMod val="20000"/>
                            <a:lumOff val="80000"/>
                          </a:schemeClr>
                        </a:solidFill>
                      </a:tcPr>
                    </a:tc>
                    <a:tc>
                      <a:txBody>
                        <a:bodyPr/>
                        <a:lstStyle/>
                        <a:p>
                          <a:endParaRPr lang="en-US"/>
                        </a:p>
                      </a:txBody>
                      <a:tcPr>
                        <a:blipFill rotWithShape="0">
                          <a:blip r:embed="rId5"/>
                          <a:stretch>
                            <a:fillRect l="-509589" t="-8333" r="-205479" b="-228333"/>
                          </a:stretch>
                        </a:blipFill>
                      </a:tcPr>
                    </a:tc>
                    <a:tc>
                      <a:txBody>
                        <a:bodyPr/>
                        <a:lstStyle/>
                        <a:p>
                          <a:r>
                            <a:rPr lang="en-US" dirty="0" smtClean="0"/>
                            <a:t>0.0</a:t>
                          </a:r>
                          <a:endParaRPr lang="en-US" dirty="0"/>
                        </a:p>
                      </a:txBody>
                      <a:tcPr>
                        <a:solidFill>
                          <a:schemeClr val="accent6">
                            <a:lumMod val="20000"/>
                            <a:lumOff val="80000"/>
                          </a:schemeClr>
                        </a:solidFill>
                      </a:tcPr>
                    </a:tc>
                  </a:tr>
                  <a:tr h="365760">
                    <a:tc>
                      <a:txBody>
                        <a:bodyPr/>
                        <a:lstStyle/>
                        <a:p>
                          <a:endParaRPr lang="en-US"/>
                        </a:p>
                      </a:txBody>
                      <a:tcPr>
                        <a:blipFill rotWithShape="0">
                          <a:blip r:embed="rId5"/>
                          <a:stretch>
                            <a:fillRect l="-1000" t="-106557" r="-494000" b="-124590"/>
                          </a:stretch>
                        </a:blipFill>
                      </a:tcPr>
                    </a:tc>
                    <a:tc>
                      <a:txBody>
                        <a:bodyPr/>
                        <a:lstStyle/>
                        <a:p>
                          <a:r>
                            <a:rPr lang="nb-NO" dirty="0" smtClean="0"/>
                            <a:t>0.93*100/2220</a:t>
                          </a:r>
                          <a:endParaRPr lang="en-US" dirty="0"/>
                        </a:p>
                      </a:txBody>
                      <a:tcPr>
                        <a:solidFill>
                          <a:schemeClr val="accent6">
                            <a:lumMod val="20000"/>
                            <a:lumOff val="80000"/>
                          </a:schemeClr>
                        </a:solidFill>
                      </a:tcPr>
                    </a:tc>
                    <a:tc>
                      <a:txBody>
                        <a:bodyPr/>
                        <a:lstStyle/>
                        <a:p>
                          <a:endParaRPr lang="en-US"/>
                        </a:p>
                      </a:txBody>
                      <a:tcPr>
                        <a:blipFill rotWithShape="0">
                          <a:blip r:embed="rId5"/>
                          <a:stretch>
                            <a:fillRect l="-509589" t="-106557" r="-205479" b="-124590"/>
                          </a:stretch>
                        </a:blipFill>
                      </a:tcPr>
                    </a:tc>
                    <a:tc>
                      <a:txBody>
                        <a:bodyPr/>
                        <a:lstStyle/>
                        <a:p>
                          <a:r>
                            <a:rPr lang="en-US" dirty="0" smtClean="0"/>
                            <a:t>0.0</a:t>
                          </a:r>
                          <a:endParaRPr lang="en-US" dirty="0"/>
                        </a:p>
                      </a:txBody>
                      <a:tcPr>
                        <a:solidFill>
                          <a:schemeClr val="accent6">
                            <a:lumMod val="20000"/>
                            <a:lumOff val="80000"/>
                          </a:schemeClr>
                        </a:solidFill>
                      </a:tcPr>
                    </a:tc>
                  </a:tr>
                  <a:tr h="365760">
                    <a:tc>
                      <a:txBody>
                        <a:bodyPr/>
                        <a:lstStyle/>
                        <a:p>
                          <a:endParaRPr lang="en-US"/>
                        </a:p>
                      </a:txBody>
                      <a:tcPr>
                        <a:blipFill rotWithShape="0">
                          <a:blip r:embed="rId5"/>
                          <a:stretch>
                            <a:fillRect l="-1000" t="-210000" r="-494000" b="-26667"/>
                          </a:stretch>
                        </a:blipFill>
                      </a:tcPr>
                    </a:tc>
                    <a:tc>
                      <a:txBody>
                        <a:bodyPr/>
                        <a:lstStyle/>
                        <a:p>
                          <a:r>
                            <a:rPr lang="en-US" dirty="0" smtClean="0"/>
                            <a:t>100</a:t>
                          </a:r>
                          <a:endParaRPr lang="en-US" dirty="0"/>
                        </a:p>
                      </a:txBody>
                      <a:tcPr>
                        <a:solidFill>
                          <a:schemeClr val="accent6">
                            <a:lumMod val="20000"/>
                            <a:lumOff val="80000"/>
                          </a:schemeClr>
                        </a:solidFill>
                      </a:tcPr>
                    </a:tc>
                    <a:tc>
                      <a:txBody>
                        <a:bodyPr/>
                        <a:lstStyle/>
                        <a:p>
                          <a:endParaRPr lang="en-US" dirty="0"/>
                        </a:p>
                      </a:txBody>
                      <a:tcPr>
                        <a:solidFill>
                          <a:schemeClr val="accent6">
                            <a:lumMod val="60000"/>
                            <a:lumOff val="40000"/>
                          </a:schemeClr>
                        </a:solidFill>
                      </a:tcPr>
                    </a:tc>
                    <a:tc>
                      <a:txBody>
                        <a:bodyPr/>
                        <a:lstStyle/>
                        <a:p>
                          <a:endParaRPr lang="en-US" dirty="0"/>
                        </a:p>
                      </a:txBody>
                      <a:tcPr>
                        <a:solidFill>
                          <a:schemeClr val="accent6">
                            <a:lumMod val="20000"/>
                            <a:lumOff val="80000"/>
                          </a:schemeClr>
                        </a:solidFill>
                      </a:tcPr>
                    </a:tc>
                  </a:tr>
                </a:tbl>
              </a:graphicData>
            </a:graphic>
          </p:graphicFrame>
        </mc:Fallback>
      </mc:AlternateContent>
      <p:sp>
        <p:nvSpPr>
          <p:cNvPr id="15" name="TextBox 14"/>
          <p:cNvSpPr txBox="1"/>
          <p:nvPr/>
        </p:nvSpPr>
        <p:spPr>
          <a:xfrm>
            <a:off x="4177863" y="4091816"/>
            <a:ext cx="2664296" cy="369332"/>
          </a:xfrm>
          <a:prstGeom prst="rect">
            <a:avLst/>
          </a:prstGeom>
          <a:noFill/>
        </p:spPr>
        <p:txBody>
          <a:bodyPr wrap="square" rtlCol="0">
            <a:spAutoFit/>
          </a:bodyPr>
          <a:lstStyle/>
          <a:p>
            <a:r>
              <a:rPr lang="en-US" dirty="0"/>
              <a:t>Line 2</a:t>
            </a:r>
          </a:p>
        </p:txBody>
      </p:sp>
    </p:spTree>
    <p:extLst>
      <p:ext uri="{BB962C8B-B14F-4D97-AF65-F5344CB8AC3E}">
        <p14:creationId xmlns:p14="http://schemas.microsoft.com/office/powerpoint/2010/main" val="123753120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7" name="Footer Placeholder 6"/>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27</a:t>
            </a:fld>
            <a:endParaRPr lang="en-US" dirty="0"/>
          </a:p>
        </p:txBody>
      </p:sp>
      <p:sp>
        <p:nvSpPr>
          <p:cNvPr id="3" name="Date Placeholder 2"/>
          <p:cNvSpPr>
            <a:spLocks noGrp="1"/>
          </p:cNvSpPr>
          <p:nvPr>
            <p:ph type="dt" sz="half" idx="12"/>
          </p:nvPr>
        </p:nvSpPr>
        <p:spPr/>
        <p:txBody>
          <a:bodyPr/>
          <a:lstStyle/>
          <a:p>
            <a:r>
              <a:rPr lang="sv-SE"/>
              <a:t>2016-11-20</a:t>
            </a:r>
          </a:p>
        </p:txBody>
      </p:sp>
      <p:sp>
        <p:nvSpPr>
          <p:cNvPr id="9" name="Content Placeholder 8"/>
          <p:cNvSpPr>
            <a:spLocks noGrp="1"/>
          </p:cNvSpPr>
          <p:nvPr>
            <p:ph idx="1"/>
          </p:nvPr>
        </p:nvSpPr>
        <p:spPr/>
        <p:txBody>
          <a:bodyPr/>
          <a:lstStyle/>
          <a:p>
            <a:r>
              <a:rPr lang="en-US" b="1" dirty="0"/>
              <a:t>Network model – Step 3 </a:t>
            </a:r>
          </a:p>
          <a:p>
            <a:pPr marL="342900" indent="-342900">
              <a:buFont typeface="Arial" panose="020B0604020202020204" pitchFamily="34" charset="0"/>
              <a:buChar char="•"/>
            </a:pPr>
            <a:r>
              <a:rPr lang="en-US" dirty="0"/>
              <a:t>Infinite bus is added</a:t>
            </a:r>
          </a:p>
          <a:p>
            <a:pPr marL="342900" indent="-342900">
              <a:buFont typeface="Arial" panose="020B0604020202020204" pitchFamily="34" charset="0"/>
              <a:buChar char="•"/>
            </a:pPr>
            <a:r>
              <a:rPr lang="en-US" dirty="0"/>
              <a:t>Power Flow results are implemented</a:t>
            </a:r>
          </a:p>
          <a:p>
            <a:endParaRPr lang="en-US" dirty="0"/>
          </a:p>
        </p:txBody>
      </p:sp>
      <mc:AlternateContent xmlns:mc="http://schemas.openxmlformats.org/markup-compatibility/2006" xmlns:a14="http://schemas.microsoft.com/office/drawing/2010/main">
        <mc:Choice Requires="a14">
          <p:graphicFrame>
            <p:nvGraphicFramePr>
              <p:cNvPr id="11" name="Table 10"/>
              <p:cNvGraphicFramePr>
                <a:graphicFrameLocks noGrp="1"/>
              </p:cNvGraphicFramePr>
              <p:nvPr>
                <p:extLst>
                  <p:ext uri="{D42A27DB-BD31-4B8C-83A1-F6EECF244321}">
                    <p14:modId xmlns:p14="http://schemas.microsoft.com/office/powerpoint/2010/main" val="2811379413"/>
                  </p:ext>
                </p:extLst>
              </p:nvPr>
            </p:nvGraphicFramePr>
            <p:xfrm>
              <a:off x="4515272" y="3042031"/>
              <a:ext cx="4032448" cy="773938"/>
            </p:xfrm>
            <a:graphic>
              <a:graphicData uri="http://schemas.openxmlformats.org/drawingml/2006/table">
                <a:tbl>
                  <a:tblPr firstRow="1" bandRow="1">
                    <a:tableStyleId>{5940675A-B579-460E-94D1-54222C63F5DA}</a:tableStyleId>
                  </a:tblPr>
                  <a:tblGrid>
                    <a:gridCol w="754415">
                      <a:extLst>
                        <a:ext uri="{9D8B030D-6E8A-4147-A177-3AD203B41FA5}">
                          <a16:colId xmlns:a16="http://schemas.microsoft.com/office/drawing/2014/main" val="20000"/>
                        </a:ext>
                      </a:extLst>
                    </a:gridCol>
                    <a:gridCol w="1261809">
                      <a:extLst>
                        <a:ext uri="{9D8B030D-6E8A-4147-A177-3AD203B41FA5}">
                          <a16:colId xmlns:a16="http://schemas.microsoft.com/office/drawing/2014/main" val="20001"/>
                        </a:ext>
                      </a:extLst>
                    </a:gridCol>
                    <a:gridCol w="1008112">
                      <a:extLst>
                        <a:ext uri="{9D8B030D-6E8A-4147-A177-3AD203B41FA5}">
                          <a16:colId xmlns:a16="http://schemas.microsoft.com/office/drawing/2014/main" val="20002"/>
                        </a:ext>
                      </a:extLst>
                    </a:gridCol>
                    <a:gridCol w="1008112">
                      <a:extLst>
                        <a:ext uri="{9D8B030D-6E8A-4147-A177-3AD203B41FA5}">
                          <a16:colId xmlns:a16="http://schemas.microsoft.com/office/drawing/2014/main" val="20003"/>
                        </a:ext>
                      </a:extLst>
                    </a:gridCol>
                  </a:tblGrid>
                  <a:tr h="386969">
                    <a:tc>
                      <a:txBody>
                        <a:bodyPr/>
                        <a:lstStyle/>
                        <a:p>
                          <a:pPr/>
                          <a14:m>
                            <m:oMathPara xmlns:m="http://schemas.openxmlformats.org/officeDocument/2006/math">
                              <m:oMathParaPr>
                                <m:jc m:val="centerGroup"/>
                              </m:oMathParaPr>
                              <m:oMath xmlns:m="http://schemas.openxmlformats.org/officeDocument/2006/math">
                                <m:r>
                                  <a:rPr lang="hr-HR" b="0" i="1" smtClean="0">
                                    <a:solidFill>
                                      <a:schemeClr val="tx1"/>
                                    </a:solidFill>
                                    <a:latin typeface="Cambria Math" charset="0"/>
                                  </a:rPr>
                                  <m:t>𝑉</m:t>
                                </m:r>
                              </m:oMath>
                            </m:oMathPara>
                          </a14:m>
                          <a:endParaRPr lang="en-US" dirty="0">
                            <a:solidFill>
                              <a:schemeClr val="tx1"/>
                            </a:solidFill>
                          </a:endParaRPr>
                        </a:p>
                      </a:txBody>
                      <a:tcPr>
                        <a:solidFill>
                          <a:schemeClr val="accent6">
                            <a:lumMod val="60000"/>
                            <a:lumOff val="40000"/>
                          </a:schemeClr>
                        </a:solidFill>
                      </a:tcPr>
                    </a:tc>
                    <a:tc>
                      <a:txBody>
                        <a:bodyPr/>
                        <a:lstStyle/>
                        <a:p>
                          <a:r>
                            <a:rPr lang="is-IS" dirty="0"/>
                            <a:t>0.90081</a:t>
                          </a:r>
                          <a:endParaRPr lang="en-US" dirty="0"/>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r>
                                  <a:rPr lang="hr-HR" b="0" i="1" smtClean="0">
                                    <a:latin typeface="Cambria Math" charset="0"/>
                                  </a:rPr>
                                  <m:t>𝑎𝑛𝑔𝑙𝑒</m:t>
                                </m:r>
                              </m:oMath>
                            </m:oMathPara>
                          </a14:m>
                          <a:endParaRPr lang="en-US" dirty="0"/>
                        </a:p>
                      </a:txBody>
                      <a:tcPr>
                        <a:solidFill>
                          <a:schemeClr val="accent6">
                            <a:lumMod val="60000"/>
                            <a:lumOff val="40000"/>
                          </a:schemeClr>
                        </a:solidFill>
                      </a:tcPr>
                    </a:tc>
                    <a:tc>
                      <a:txBody>
                        <a:bodyPr/>
                        <a:lstStyle/>
                        <a:p>
                          <a:r>
                            <a:rPr lang="en-US" dirty="0"/>
                            <a:t>0</a:t>
                          </a:r>
                        </a:p>
                      </a:txBody>
                      <a:tcPr>
                        <a:solidFill>
                          <a:schemeClr val="accent6">
                            <a:lumMod val="20000"/>
                            <a:lumOff val="80000"/>
                          </a:schemeClr>
                        </a:solidFill>
                      </a:tcPr>
                    </a:tc>
                    <a:extLst>
                      <a:ext uri="{0D108BD9-81ED-4DB2-BD59-A6C34878D82A}">
                        <a16:rowId xmlns:a16="http://schemas.microsoft.com/office/drawing/2014/main" val="10000"/>
                      </a:ext>
                    </a:extLst>
                  </a:tr>
                  <a:tr h="386969">
                    <a:tc>
                      <a:txBody>
                        <a:bodyPr/>
                        <a:lstStyle/>
                        <a:p>
                          <a:r>
                            <a:rPr lang="en-US" dirty="0">
                              <a:solidFill>
                                <a:schemeClr val="tx1"/>
                              </a:solidFill>
                            </a:rPr>
                            <a:t>P</a:t>
                          </a:r>
                        </a:p>
                      </a:txBody>
                      <a:tcPr>
                        <a:solidFill>
                          <a:schemeClr val="accent6">
                            <a:lumMod val="60000"/>
                            <a:lumOff val="40000"/>
                          </a:schemeClr>
                        </a:solidFill>
                      </a:tcPr>
                    </a:tc>
                    <a:tc>
                      <a:txBody>
                        <a:bodyPr/>
                        <a:lstStyle/>
                        <a:p>
                          <a:r>
                            <a:rPr lang="ru-RU" dirty="0"/>
                            <a:t>-1998 </a:t>
                          </a:r>
                          <a:endParaRPr lang="en-US" dirty="0"/>
                        </a:p>
                      </a:txBody>
                      <a:tcPr>
                        <a:solidFill>
                          <a:schemeClr val="accent6">
                            <a:lumMod val="20000"/>
                            <a:lumOff val="80000"/>
                          </a:schemeClr>
                        </a:solidFill>
                      </a:tcPr>
                    </a:tc>
                    <a:tc>
                      <a:txBody>
                        <a:bodyPr/>
                        <a:lstStyle/>
                        <a:p>
                          <a:r>
                            <a:rPr lang="en-US" dirty="0"/>
                            <a:t>Q</a:t>
                          </a:r>
                        </a:p>
                      </a:txBody>
                      <a:tcPr>
                        <a:solidFill>
                          <a:schemeClr val="accent6">
                            <a:lumMod val="60000"/>
                            <a:lumOff val="40000"/>
                          </a:schemeClr>
                        </a:solidFill>
                      </a:tcPr>
                    </a:tc>
                    <a:tc>
                      <a:txBody>
                        <a:bodyPr/>
                        <a:lstStyle/>
                        <a:p>
                          <a:r>
                            <a:rPr lang="en-US" dirty="0"/>
                            <a:t>87.066</a:t>
                          </a:r>
                        </a:p>
                      </a:txBody>
                      <a:tcPr>
                        <a:solidFill>
                          <a:schemeClr val="accent6">
                            <a:lumMod val="20000"/>
                            <a:lumOff val="80000"/>
                          </a:schemeClr>
                        </a:solidFill>
                      </a:tcPr>
                    </a:tc>
                    <a:extLst>
                      <a:ext uri="{0D108BD9-81ED-4DB2-BD59-A6C34878D82A}">
                        <a16:rowId xmlns:a16="http://schemas.microsoft.com/office/drawing/2014/main" val="10001"/>
                      </a:ext>
                    </a:extLst>
                  </a:tr>
                </a:tbl>
              </a:graphicData>
            </a:graphic>
          </p:graphicFrame>
        </mc:Choice>
        <mc:Fallback xmlns="">
          <p:graphicFrame>
            <p:nvGraphicFramePr>
              <p:cNvPr id="11" name="Table 10"/>
              <p:cNvGraphicFramePr>
                <a:graphicFrameLocks noGrp="1"/>
              </p:cNvGraphicFramePr>
              <p:nvPr>
                <p:extLst>
                  <p:ext uri="{D42A27DB-BD31-4B8C-83A1-F6EECF244321}">
                    <p14:modId xmlns:p14="http://schemas.microsoft.com/office/powerpoint/2010/main" val="2811379413"/>
                  </p:ext>
                </p:extLst>
              </p:nvPr>
            </p:nvGraphicFramePr>
            <p:xfrm>
              <a:off x="4515272" y="3042031"/>
              <a:ext cx="4032448" cy="773938"/>
            </p:xfrm>
            <a:graphic>
              <a:graphicData uri="http://schemas.openxmlformats.org/drawingml/2006/table">
                <a:tbl>
                  <a:tblPr firstRow="1" bandRow="1">
                    <a:tableStyleId>{5940675A-B579-460E-94D1-54222C63F5DA}</a:tableStyleId>
                  </a:tblPr>
                  <a:tblGrid>
                    <a:gridCol w="754415">
                      <a:extLst>
                        <a:ext uri="{9D8B030D-6E8A-4147-A177-3AD203B41FA5}">
                          <a16:colId xmlns:a16="http://schemas.microsoft.com/office/drawing/2014/main" val="20000"/>
                        </a:ext>
                      </a:extLst>
                    </a:gridCol>
                    <a:gridCol w="1261809">
                      <a:extLst>
                        <a:ext uri="{9D8B030D-6E8A-4147-A177-3AD203B41FA5}">
                          <a16:colId xmlns:a16="http://schemas.microsoft.com/office/drawing/2014/main" val="20001"/>
                        </a:ext>
                      </a:extLst>
                    </a:gridCol>
                    <a:gridCol w="1008112">
                      <a:extLst>
                        <a:ext uri="{9D8B030D-6E8A-4147-A177-3AD203B41FA5}">
                          <a16:colId xmlns:a16="http://schemas.microsoft.com/office/drawing/2014/main" val="20002"/>
                        </a:ext>
                      </a:extLst>
                    </a:gridCol>
                    <a:gridCol w="1008112">
                      <a:extLst>
                        <a:ext uri="{9D8B030D-6E8A-4147-A177-3AD203B41FA5}">
                          <a16:colId xmlns:a16="http://schemas.microsoft.com/office/drawing/2014/main" val="20003"/>
                        </a:ext>
                      </a:extLst>
                    </a:gridCol>
                  </a:tblGrid>
                  <a:tr h="386969">
                    <a:tc>
                      <a:txBody>
                        <a:bodyPr/>
                        <a:lstStyle/>
                        <a:p>
                          <a:endParaRPr lang="en-US"/>
                        </a:p>
                      </a:txBody>
                      <a:tcPr>
                        <a:blipFill>
                          <a:blip r:embed="rId3"/>
                          <a:stretch>
                            <a:fillRect l="-806" t="-7813" r="-436290" b="-117188"/>
                          </a:stretch>
                        </a:blipFill>
                      </a:tcPr>
                    </a:tc>
                    <a:tc>
                      <a:txBody>
                        <a:bodyPr/>
                        <a:lstStyle/>
                        <a:p>
                          <a:r>
                            <a:rPr lang="is-IS" dirty="0"/>
                            <a:t>0.90081</a:t>
                          </a:r>
                          <a:endParaRPr lang="en-US" dirty="0"/>
                        </a:p>
                      </a:txBody>
                      <a:tcPr>
                        <a:solidFill>
                          <a:schemeClr val="accent6">
                            <a:lumMod val="20000"/>
                            <a:lumOff val="80000"/>
                          </a:schemeClr>
                        </a:solidFill>
                      </a:tcPr>
                    </a:tc>
                    <a:tc>
                      <a:txBody>
                        <a:bodyPr/>
                        <a:lstStyle/>
                        <a:p>
                          <a:endParaRPr lang="en-US"/>
                        </a:p>
                      </a:txBody>
                      <a:tcPr>
                        <a:blipFill>
                          <a:blip r:embed="rId3"/>
                          <a:stretch>
                            <a:fillRect l="-201818" t="-7813" r="-101818" b="-117188"/>
                          </a:stretch>
                        </a:blipFill>
                      </a:tcPr>
                    </a:tc>
                    <a:tc>
                      <a:txBody>
                        <a:bodyPr/>
                        <a:lstStyle/>
                        <a:p>
                          <a:r>
                            <a:rPr lang="en-US" dirty="0"/>
                            <a:t>0</a:t>
                          </a:r>
                        </a:p>
                      </a:txBody>
                      <a:tcPr>
                        <a:solidFill>
                          <a:schemeClr val="accent6">
                            <a:lumMod val="20000"/>
                            <a:lumOff val="80000"/>
                          </a:schemeClr>
                        </a:solidFill>
                      </a:tcPr>
                    </a:tc>
                    <a:extLst>
                      <a:ext uri="{0D108BD9-81ED-4DB2-BD59-A6C34878D82A}">
                        <a16:rowId xmlns:a16="http://schemas.microsoft.com/office/drawing/2014/main" val="10000"/>
                      </a:ext>
                    </a:extLst>
                  </a:tr>
                  <a:tr h="386969">
                    <a:tc>
                      <a:txBody>
                        <a:bodyPr/>
                        <a:lstStyle/>
                        <a:p>
                          <a:r>
                            <a:rPr lang="en-US" dirty="0">
                              <a:solidFill>
                                <a:schemeClr val="tx1"/>
                              </a:solidFill>
                            </a:rPr>
                            <a:t>P</a:t>
                          </a:r>
                        </a:p>
                      </a:txBody>
                      <a:tcPr>
                        <a:solidFill>
                          <a:schemeClr val="accent6">
                            <a:lumMod val="60000"/>
                            <a:lumOff val="40000"/>
                          </a:schemeClr>
                        </a:solidFill>
                      </a:tcPr>
                    </a:tc>
                    <a:tc>
                      <a:txBody>
                        <a:bodyPr/>
                        <a:lstStyle/>
                        <a:p>
                          <a:r>
                            <a:rPr lang="ru-RU" dirty="0"/>
                            <a:t>-1998 </a:t>
                          </a:r>
                          <a:endParaRPr lang="en-US" dirty="0"/>
                        </a:p>
                      </a:txBody>
                      <a:tcPr>
                        <a:solidFill>
                          <a:schemeClr val="accent6">
                            <a:lumMod val="20000"/>
                            <a:lumOff val="80000"/>
                          </a:schemeClr>
                        </a:solidFill>
                      </a:tcPr>
                    </a:tc>
                    <a:tc>
                      <a:txBody>
                        <a:bodyPr/>
                        <a:lstStyle/>
                        <a:p>
                          <a:r>
                            <a:rPr lang="en-US" dirty="0"/>
                            <a:t>Q</a:t>
                          </a:r>
                        </a:p>
                      </a:txBody>
                      <a:tcPr>
                        <a:solidFill>
                          <a:schemeClr val="accent6">
                            <a:lumMod val="60000"/>
                            <a:lumOff val="40000"/>
                          </a:schemeClr>
                        </a:solidFill>
                      </a:tcPr>
                    </a:tc>
                    <a:tc>
                      <a:txBody>
                        <a:bodyPr/>
                        <a:lstStyle/>
                        <a:p>
                          <a:r>
                            <a:rPr lang="en-US" dirty="0"/>
                            <a:t>87.066</a:t>
                          </a:r>
                        </a:p>
                      </a:txBody>
                      <a:tcPr>
                        <a:solidFill>
                          <a:schemeClr val="accent6">
                            <a:lumMod val="20000"/>
                            <a:lumOff val="80000"/>
                          </a:schemeClr>
                        </a:solidFill>
                      </a:tcPr>
                    </a:tc>
                    <a:extLst>
                      <a:ext uri="{0D108BD9-81ED-4DB2-BD59-A6C34878D82A}">
                        <a16:rowId xmlns:a16="http://schemas.microsoft.com/office/drawing/2014/main" val="10001"/>
                      </a:ext>
                    </a:extLst>
                  </a:tr>
                </a:tbl>
              </a:graphicData>
            </a:graphic>
          </p:graphicFrame>
        </mc:Fallback>
      </mc:AlternateContent>
      <p:sp>
        <p:nvSpPr>
          <p:cNvPr id="12" name="TextBox 11"/>
          <p:cNvSpPr txBox="1"/>
          <p:nvPr/>
        </p:nvSpPr>
        <p:spPr>
          <a:xfrm>
            <a:off x="5887883" y="2691373"/>
            <a:ext cx="1368152" cy="369332"/>
          </a:xfrm>
          <a:prstGeom prst="rect">
            <a:avLst/>
          </a:prstGeom>
          <a:noFill/>
        </p:spPr>
        <p:txBody>
          <a:bodyPr wrap="square" rtlCol="0">
            <a:spAutoFit/>
          </a:bodyPr>
          <a:lstStyle/>
          <a:p>
            <a:r>
              <a:rPr lang="en-US" dirty="0"/>
              <a:t>Infinite bus</a:t>
            </a:r>
          </a:p>
        </p:txBody>
      </p:sp>
      <p:pic>
        <p:nvPicPr>
          <p:cNvPr id="6" name="Picture 5"/>
          <p:cNvPicPr>
            <a:picLocks noChangeAspect="1"/>
          </p:cNvPicPr>
          <p:nvPr/>
        </p:nvPicPr>
        <p:blipFill>
          <a:blip r:embed="rId4"/>
          <a:stretch>
            <a:fillRect/>
          </a:stretch>
        </p:blipFill>
        <p:spPr>
          <a:xfrm>
            <a:off x="1073696" y="3933056"/>
            <a:ext cx="6156176" cy="1548519"/>
          </a:xfrm>
          <a:prstGeom prst="rect">
            <a:avLst/>
          </a:prstGeom>
        </p:spPr>
      </p:pic>
      <mc:AlternateContent xmlns:mc="http://schemas.openxmlformats.org/markup-compatibility/2006" xmlns:a14="http://schemas.microsoft.com/office/drawing/2010/main">
        <mc:Choice Requires="a14">
          <p:graphicFrame>
            <p:nvGraphicFramePr>
              <p:cNvPr id="14" name="Table 13"/>
              <p:cNvGraphicFramePr>
                <a:graphicFrameLocks noGrp="1"/>
              </p:cNvGraphicFramePr>
              <p:nvPr>
                <p:extLst>
                  <p:ext uri="{D42A27DB-BD31-4B8C-83A1-F6EECF244321}">
                    <p14:modId xmlns:p14="http://schemas.microsoft.com/office/powerpoint/2010/main" val="3897184269"/>
                  </p:ext>
                </p:extLst>
              </p:nvPr>
            </p:nvGraphicFramePr>
            <p:xfrm>
              <a:off x="338964" y="3058351"/>
              <a:ext cx="4032448" cy="773938"/>
            </p:xfrm>
            <a:graphic>
              <a:graphicData uri="http://schemas.openxmlformats.org/drawingml/2006/table">
                <a:tbl>
                  <a:tblPr firstRow="1" bandRow="1">
                    <a:tableStyleId>{5940675A-B579-460E-94D1-54222C63F5DA}</a:tableStyleId>
                  </a:tblPr>
                  <a:tblGrid>
                    <a:gridCol w="754415">
                      <a:extLst>
                        <a:ext uri="{9D8B030D-6E8A-4147-A177-3AD203B41FA5}">
                          <a16:colId xmlns:a16="http://schemas.microsoft.com/office/drawing/2014/main" val="20000"/>
                        </a:ext>
                      </a:extLst>
                    </a:gridCol>
                    <a:gridCol w="1261809">
                      <a:extLst>
                        <a:ext uri="{9D8B030D-6E8A-4147-A177-3AD203B41FA5}">
                          <a16:colId xmlns:a16="http://schemas.microsoft.com/office/drawing/2014/main" val="20001"/>
                        </a:ext>
                      </a:extLst>
                    </a:gridCol>
                    <a:gridCol w="1008112">
                      <a:extLst>
                        <a:ext uri="{9D8B030D-6E8A-4147-A177-3AD203B41FA5}">
                          <a16:colId xmlns:a16="http://schemas.microsoft.com/office/drawing/2014/main" val="20002"/>
                        </a:ext>
                      </a:extLst>
                    </a:gridCol>
                    <a:gridCol w="1008112">
                      <a:extLst>
                        <a:ext uri="{9D8B030D-6E8A-4147-A177-3AD203B41FA5}">
                          <a16:colId xmlns:a16="http://schemas.microsoft.com/office/drawing/2014/main" val="20003"/>
                        </a:ext>
                      </a:extLst>
                    </a:gridCol>
                  </a:tblGrid>
                  <a:tr h="386969">
                    <a:tc>
                      <a:txBody>
                        <a:bodyPr/>
                        <a:lstStyle/>
                        <a:p>
                          <a:pPr/>
                          <a14:m>
                            <m:oMathPara xmlns:m="http://schemas.openxmlformats.org/officeDocument/2006/math">
                              <m:oMathParaPr>
                                <m:jc m:val="centerGroup"/>
                              </m:oMathParaPr>
                              <m:oMath xmlns:m="http://schemas.openxmlformats.org/officeDocument/2006/math">
                                <m:r>
                                  <a:rPr lang="hr-HR" b="0" i="1" smtClean="0">
                                    <a:solidFill>
                                      <a:schemeClr val="tx1"/>
                                    </a:solidFill>
                                    <a:latin typeface="Cambria Math" charset="0"/>
                                  </a:rPr>
                                  <m:t>𝑉</m:t>
                                </m:r>
                              </m:oMath>
                            </m:oMathPara>
                          </a14:m>
                          <a:endParaRPr lang="en-US" dirty="0">
                            <a:solidFill>
                              <a:schemeClr val="tx1"/>
                            </a:solidFill>
                          </a:endParaRPr>
                        </a:p>
                      </a:txBody>
                      <a:tcPr>
                        <a:solidFill>
                          <a:schemeClr val="accent6">
                            <a:lumMod val="60000"/>
                            <a:lumOff val="40000"/>
                          </a:schemeClr>
                        </a:solidFill>
                      </a:tcPr>
                    </a:tc>
                    <a:tc>
                      <a:txBody>
                        <a:bodyPr/>
                        <a:lstStyle/>
                        <a:p>
                          <a:r>
                            <a:rPr lang="is-IS" dirty="0"/>
                            <a:t>1</a:t>
                          </a:r>
                          <a:endParaRPr lang="en-US" dirty="0"/>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r>
                                  <a:rPr lang="hr-HR" b="0" i="1" smtClean="0">
                                    <a:latin typeface="Cambria Math" charset="0"/>
                                  </a:rPr>
                                  <m:t>𝑎𝑛𝑔𝑙𝑒</m:t>
                                </m:r>
                              </m:oMath>
                            </m:oMathPara>
                          </a14:m>
                          <a:endParaRPr lang="en-US" dirty="0"/>
                        </a:p>
                      </a:txBody>
                      <a:tcPr>
                        <a:solidFill>
                          <a:schemeClr val="accent6">
                            <a:lumMod val="60000"/>
                            <a:lumOff val="40000"/>
                          </a:schemeClr>
                        </a:solidFill>
                      </a:tcPr>
                    </a:tc>
                    <a:tc>
                      <a:txBody>
                        <a:bodyPr/>
                        <a:lstStyle/>
                        <a:p>
                          <a:r>
                            <a:rPr lang="en-US" dirty="0"/>
                            <a:t>0.4946</a:t>
                          </a:r>
                        </a:p>
                      </a:txBody>
                      <a:tcPr>
                        <a:solidFill>
                          <a:schemeClr val="accent6">
                            <a:lumMod val="20000"/>
                            <a:lumOff val="80000"/>
                          </a:schemeClr>
                        </a:solidFill>
                      </a:tcPr>
                    </a:tc>
                    <a:extLst>
                      <a:ext uri="{0D108BD9-81ED-4DB2-BD59-A6C34878D82A}">
                        <a16:rowId xmlns:a16="http://schemas.microsoft.com/office/drawing/2014/main" val="10000"/>
                      </a:ext>
                    </a:extLst>
                  </a:tr>
                  <a:tr h="386969">
                    <a:tc>
                      <a:txBody>
                        <a:bodyPr/>
                        <a:lstStyle/>
                        <a:p>
                          <a:r>
                            <a:rPr lang="en-US" dirty="0">
                              <a:solidFill>
                                <a:schemeClr val="tx1"/>
                              </a:solidFill>
                            </a:rPr>
                            <a:t>P</a:t>
                          </a:r>
                        </a:p>
                      </a:txBody>
                      <a:tcPr>
                        <a:solidFill>
                          <a:schemeClr val="accent6">
                            <a:lumMod val="60000"/>
                            <a:lumOff val="40000"/>
                          </a:schemeClr>
                        </a:solidFill>
                      </a:tcPr>
                    </a:tc>
                    <a:tc>
                      <a:txBody>
                        <a:bodyPr/>
                        <a:lstStyle/>
                        <a:p>
                          <a:r>
                            <a:rPr lang="en-US" dirty="0"/>
                            <a:t>1997.999</a:t>
                          </a:r>
                        </a:p>
                      </a:txBody>
                      <a:tcPr>
                        <a:solidFill>
                          <a:schemeClr val="accent6">
                            <a:lumMod val="20000"/>
                            <a:lumOff val="80000"/>
                          </a:schemeClr>
                        </a:solidFill>
                      </a:tcPr>
                    </a:tc>
                    <a:tc>
                      <a:txBody>
                        <a:bodyPr/>
                        <a:lstStyle/>
                        <a:p>
                          <a:r>
                            <a:rPr lang="en-US" dirty="0"/>
                            <a:t>Q</a:t>
                          </a:r>
                        </a:p>
                      </a:txBody>
                      <a:tcPr>
                        <a:solidFill>
                          <a:schemeClr val="accent6">
                            <a:lumMod val="60000"/>
                            <a:lumOff val="40000"/>
                          </a:schemeClr>
                        </a:solidFill>
                      </a:tcPr>
                    </a:tc>
                    <a:tc>
                      <a:txBody>
                        <a:bodyPr/>
                        <a:lstStyle/>
                        <a:p>
                          <a:r>
                            <a:rPr lang="en-US" dirty="0"/>
                            <a:t>967.92</a:t>
                          </a:r>
                        </a:p>
                      </a:txBody>
                      <a:tcPr>
                        <a:solidFill>
                          <a:schemeClr val="accent6">
                            <a:lumMod val="20000"/>
                            <a:lumOff val="80000"/>
                          </a:schemeClr>
                        </a:solidFill>
                      </a:tcPr>
                    </a:tc>
                    <a:extLst>
                      <a:ext uri="{0D108BD9-81ED-4DB2-BD59-A6C34878D82A}">
                        <a16:rowId xmlns:a16="http://schemas.microsoft.com/office/drawing/2014/main" val="10001"/>
                      </a:ext>
                    </a:extLst>
                  </a:tr>
                </a:tbl>
              </a:graphicData>
            </a:graphic>
          </p:graphicFrame>
        </mc:Choice>
        <mc:Fallback xmlns="">
          <p:graphicFrame>
            <p:nvGraphicFramePr>
              <p:cNvPr id="14" name="Table 13"/>
              <p:cNvGraphicFramePr>
                <a:graphicFrameLocks noGrp="1"/>
              </p:cNvGraphicFramePr>
              <p:nvPr>
                <p:extLst>
                  <p:ext uri="{D42A27DB-BD31-4B8C-83A1-F6EECF244321}">
                    <p14:modId xmlns:p14="http://schemas.microsoft.com/office/powerpoint/2010/main" val="3897184269"/>
                  </p:ext>
                </p:extLst>
              </p:nvPr>
            </p:nvGraphicFramePr>
            <p:xfrm>
              <a:off x="338964" y="3058351"/>
              <a:ext cx="4032448" cy="773938"/>
            </p:xfrm>
            <a:graphic>
              <a:graphicData uri="http://schemas.openxmlformats.org/drawingml/2006/table">
                <a:tbl>
                  <a:tblPr firstRow="1" bandRow="1">
                    <a:tableStyleId>{5940675A-B579-460E-94D1-54222C63F5DA}</a:tableStyleId>
                  </a:tblPr>
                  <a:tblGrid>
                    <a:gridCol w="754415">
                      <a:extLst>
                        <a:ext uri="{9D8B030D-6E8A-4147-A177-3AD203B41FA5}">
                          <a16:colId xmlns:a16="http://schemas.microsoft.com/office/drawing/2014/main" val="20000"/>
                        </a:ext>
                      </a:extLst>
                    </a:gridCol>
                    <a:gridCol w="1261809">
                      <a:extLst>
                        <a:ext uri="{9D8B030D-6E8A-4147-A177-3AD203B41FA5}">
                          <a16:colId xmlns:a16="http://schemas.microsoft.com/office/drawing/2014/main" val="20001"/>
                        </a:ext>
                      </a:extLst>
                    </a:gridCol>
                    <a:gridCol w="1008112">
                      <a:extLst>
                        <a:ext uri="{9D8B030D-6E8A-4147-A177-3AD203B41FA5}">
                          <a16:colId xmlns:a16="http://schemas.microsoft.com/office/drawing/2014/main" val="20002"/>
                        </a:ext>
                      </a:extLst>
                    </a:gridCol>
                    <a:gridCol w="1008112">
                      <a:extLst>
                        <a:ext uri="{9D8B030D-6E8A-4147-A177-3AD203B41FA5}">
                          <a16:colId xmlns:a16="http://schemas.microsoft.com/office/drawing/2014/main" val="20003"/>
                        </a:ext>
                      </a:extLst>
                    </a:gridCol>
                  </a:tblGrid>
                  <a:tr h="386969">
                    <a:tc>
                      <a:txBody>
                        <a:bodyPr/>
                        <a:lstStyle/>
                        <a:p>
                          <a:endParaRPr lang="en-US"/>
                        </a:p>
                      </a:txBody>
                      <a:tcPr>
                        <a:blipFill>
                          <a:blip r:embed="rId5"/>
                          <a:stretch>
                            <a:fillRect l="-806" t="-7813" r="-436290" b="-118750"/>
                          </a:stretch>
                        </a:blipFill>
                      </a:tcPr>
                    </a:tc>
                    <a:tc>
                      <a:txBody>
                        <a:bodyPr/>
                        <a:lstStyle/>
                        <a:p>
                          <a:r>
                            <a:rPr lang="is-IS" dirty="0"/>
                            <a:t>1</a:t>
                          </a:r>
                          <a:endParaRPr lang="en-US" dirty="0"/>
                        </a:p>
                      </a:txBody>
                      <a:tcPr>
                        <a:solidFill>
                          <a:schemeClr val="accent6">
                            <a:lumMod val="20000"/>
                            <a:lumOff val="80000"/>
                          </a:schemeClr>
                        </a:solidFill>
                      </a:tcPr>
                    </a:tc>
                    <a:tc>
                      <a:txBody>
                        <a:bodyPr/>
                        <a:lstStyle/>
                        <a:p>
                          <a:endParaRPr lang="en-US"/>
                        </a:p>
                      </a:txBody>
                      <a:tcPr>
                        <a:blipFill>
                          <a:blip r:embed="rId5"/>
                          <a:stretch>
                            <a:fillRect l="-201818" t="-7813" r="-101818" b="-118750"/>
                          </a:stretch>
                        </a:blipFill>
                      </a:tcPr>
                    </a:tc>
                    <a:tc>
                      <a:txBody>
                        <a:bodyPr/>
                        <a:lstStyle/>
                        <a:p>
                          <a:r>
                            <a:rPr lang="en-US" dirty="0"/>
                            <a:t>0.4946</a:t>
                          </a:r>
                        </a:p>
                      </a:txBody>
                      <a:tcPr>
                        <a:solidFill>
                          <a:schemeClr val="accent6">
                            <a:lumMod val="20000"/>
                            <a:lumOff val="80000"/>
                          </a:schemeClr>
                        </a:solidFill>
                      </a:tcPr>
                    </a:tc>
                    <a:extLst>
                      <a:ext uri="{0D108BD9-81ED-4DB2-BD59-A6C34878D82A}">
                        <a16:rowId xmlns:a16="http://schemas.microsoft.com/office/drawing/2014/main" val="10000"/>
                      </a:ext>
                    </a:extLst>
                  </a:tr>
                  <a:tr h="386969">
                    <a:tc>
                      <a:txBody>
                        <a:bodyPr/>
                        <a:lstStyle/>
                        <a:p>
                          <a:r>
                            <a:rPr lang="en-US" dirty="0">
                              <a:solidFill>
                                <a:schemeClr val="tx1"/>
                              </a:solidFill>
                            </a:rPr>
                            <a:t>P</a:t>
                          </a:r>
                        </a:p>
                      </a:txBody>
                      <a:tcPr>
                        <a:solidFill>
                          <a:schemeClr val="accent6">
                            <a:lumMod val="60000"/>
                            <a:lumOff val="40000"/>
                          </a:schemeClr>
                        </a:solidFill>
                      </a:tcPr>
                    </a:tc>
                    <a:tc>
                      <a:txBody>
                        <a:bodyPr/>
                        <a:lstStyle/>
                        <a:p>
                          <a:r>
                            <a:rPr lang="en-US" dirty="0"/>
                            <a:t>1997.999</a:t>
                          </a:r>
                        </a:p>
                      </a:txBody>
                      <a:tcPr>
                        <a:solidFill>
                          <a:schemeClr val="accent6">
                            <a:lumMod val="20000"/>
                            <a:lumOff val="80000"/>
                          </a:schemeClr>
                        </a:solidFill>
                      </a:tcPr>
                    </a:tc>
                    <a:tc>
                      <a:txBody>
                        <a:bodyPr/>
                        <a:lstStyle/>
                        <a:p>
                          <a:r>
                            <a:rPr lang="en-US" dirty="0"/>
                            <a:t>Q</a:t>
                          </a:r>
                        </a:p>
                      </a:txBody>
                      <a:tcPr>
                        <a:solidFill>
                          <a:schemeClr val="accent6">
                            <a:lumMod val="60000"/>
                            <a:lumOff val="40000"/>
                          </a:schemeClr>
                        </a:solidFill>
                      </a:tcPr>
                    </a:tc>
                    <a:tc>
                      <a:txBody>
                        <a:bodyPr/>
                        <a:lstStyle/>
                        <a:p>
                          <a:r>
                            <a:rPr lang="en-US" dirty="0"/>
                            <a:t>967.92</a:t>
                          </a:r>
                        </a:p>
                      </a:txBody>
                      <a:tcPr>
                        <a:solidFill>
                          <a:schemeClr val="accent6">
                            <a:lumMod val="20000"/>
                            <a:lumOff val="80000"/>
                          </a:schemeClr>
                        </a:solidFill>
                      </a:tcPr>
                    </a:tc>
                    <a:extLst>
                      <a:ext uri="{0D108BD9-81ED-4DB2-BD59-A6C34878D82A}">
                        <a16:rowId xmlns:a16="http://schemas.microsoft.com/office/drawing/2014/main" val="10001"/>
                      </a:ext>
                    </a:extLst>
                  </a:tr>
                </a:tbl>
              </a:graphicData>
            </a:graphic>
          </p:graphicFrame>
        </mc:Fallback>
      </mc:AlternateContent>
      <p:sp>
        <p:nvSpPr>
          <p:cNvPr id="15" name="TextBox 14"/>
          <p:cNvSpPr txBox="1"/>
          <p:nvPr/>
        </p:nvSpPr>
        <p:spPr>
          <a:xfrm>
            <a:off x="2106260" y="2672699"/>
            <a:ext cx="497856" cy="369332"/>
          </a:xfrm>
          <a:prstGeom prst="rect">
            <a:avLst/>
          </a:prstGeom>
          <a:noFill/>
        </p:spPr>
        <p:txBody>
          <a:bodyPr wrap="square" rtlCol="0">
            <a:spAutoFit/>
          </a:bodyPr>
          <a:lstStyle/>
          <a:p>
            <a:r>
              <a:rPr lang="en-US" dirty="0"/>
              <a:t>G1</a:t>
            </a:r>
          </a:p>
        </p:txBody>
      </p:sp>
    </p:spTree>
    <p:extLst>
      <p:ext uri="{BB962C8B-B14F-4D97-AF65-F5344CB8AC3E}">
        <p14:creationId xmlns:p14="http://schemas.microsoft.com/office/powerpoint/2010/main" val="80779081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6" name="Footer Placeholder 5"/>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28</a:t>
            </a:fld>
            <a:endParaRPr lang="en-US" dirty="0"/>
          </a:p>
        </p:txBody>
      </p:sp>
      <p:sp>
        <p:nvSpPr>
          <p:cNvPr id="3" name="Date Placeholder 2"/>
          <p:cNvSpPr>
            <a:spLocks noGrp="1"/>
          </p:cNvSpPr>
          <p:nvPr>
            <p:ph type="dt" sz="half" idx="12"/>
          </p:nvPr>
        </p:nvSpPr>
        <p:spPr/>
        <p:txBody>
          <a:bodyPr/>
          <a:lstStyle/>
          <a:p>
            <a:r>
              <a:rPr lang="sv-SE"/>
              <a:t>2016-11-20</a:t>
            </a:r>
          </a:p>
        </p:txBody>
      </p:sp>
      <p:sp>
        <p:nvSpPr>
          <p:cNvPr id="11" name="Content Placeholder 10"/>
          <p:cNvSpPr>
            <a:spLocks noGrp="1"/>
          </p:cNvSpPr>
          <p:nvPr>
            <p:ph idx="1"/>
          </p:nvPr>
        </p:nvSpPr>
        <p:spPr/>
        <p:txBody>
          <a:bodyPr/>
          <a:lstStyle/>
          <a:p>
            <a:r>
              <a:rPr lang="en-US" b="1" dirty="0"/>
              <a:t>Network model – Step 4 </a:t>
            </a:r>
          </a:p>
          <a:p>
            <a:pPr marL="342900" indent="-342900">
              <a:buFont typeface="Arial" panose="020B0604020202020204" pitchFamily="34" charset="0"/>
              <a:buChar char="•"/>
            </a:pPr>
            <a:r>
              <a:rPr lang="en-US" dirty="0"/>
              <a:t>3-phase-to-ground fault is added</a:t>
            </a:r>
          </a:p>
          <a:p>
            <a:endParaRPr lang="en-US" dirty="0"/>
          </a:p>
        </p:txBody>
      </p:sp>
      <mc:AlternateContent xmlns:mc="http://schemas.openxmlformats.org/markup-compatibility/2006" xmlns:a14="http://schemas.microsoft.com/office/drawing/2010/main">
        <mc:Choice Requires="a14">
          <p:graphicFrame>
            <p:nvGraphicFramePr>
              <p:cNvPr id="9" name="Table 8"/>
              <p:cNvGraphicFramePr>
                <a:graphicFrameLocks noGrp="1"/>
              </p:cNvGraphicFramePr>
              <p:nvPr>
                <p:extLst>
                  <p:ext uri="{D42A27DB-BD31-4B8C-83A1-F6EECF244321}">
                    <p14:modId xmlns:p14="http://schemas.microsoft.com/office/powerpoint/2010/main" val="681737879"/>
                  </p:ext>
                </p:extLst>
              </p:nvPr>
            </p:nvGraphicFramePr>
            <p:xfrm>
              <a:off x="5202435" y="1915691"/>
              <a:ext cx="3528392" cy="1027049"/>
            </p:xfrm>
            <a:graphic>
              <a:graphicData uri="http://schemas.openxmlformats.org/drawingml/2006/table">
                <a:tbl>
                  <a:tblPr firstRow="1" bandRow="1">
                    <a:tableStyleId>{5940675A-B579-460E-94D1-54222C63F5DA}</a:tableStyleId>
                  </a:tblPr>
                  <a:tblGrid>
                    <a:gridCol w="504056">
                      <a:extLst>
                        <a:ext uri="{9D8B030D-6E8A-4147-A177-3AD203B41FA5}">
                          <a16:colId xmlns:a16="http://schemas.microsoft.com/office/drawing/2014/main" val="20000"/>
                        </a:ext>
                      </a:extLst>
                    </a:gridCol>
                    <a:gridCol w="1656184">
                      <a:extLst>
                        <a:ext uri="{9D8B030D-6E8A-4147-A177-3AD203B41FA5}">
                          <a16:colId xmlns:a16="http://schemas.microsoft.com/office/drawing/2014/main" val="20001"/>
                        </a:ext>
                      </a:extLst>
                    </a:gridCol>
                    <a:gridCol w="486054">
                      <a:extLst>
                        <a:ext uri="{9D8B030D-6E8A-4147-A177-3AD203B41FA5}">
                          <a16:colId xmlns:a16="http://schemas.microsoft.com/office/drawing/2014/main" val="20002"/>
                        </a:ext>
                      </a:extLst>
                    </a:gridCol>
                    <a:gridCol w="882098">
                      <a:extLst>
                        <a:ext uri="{9D8B030D-6E8A-4147-A177-3AD203B41FA5}">
                          <a16:colId xmlns:a16="http://schemas.microsoft.com/office/drawing/2014/main" val="20003"/>
                        </a:ext>
                      </a:extLst>
                    </a:gridCol>
                  </a:tblGrid>
                  <a:tr h="386969">
                    <a:tc>
                      <a:txBody>
                        <a:bodyPr/>
                        <a:lstStyle/>
                        <a:p>
                          <a:pPr/>
                          <a14:m>
                            <m:oMathPara xmlns:m="http://schemas.openxmlformats.org/officeDocument/2006/math">
                              <m:oMathParaPr>
                                <m:jc m:val="centerGroup"/>
                              </m:oMathParaPr>
                              <m:oMath xmlns:m="http://schemas.openxmlformats.org/officeDocument/2006/math">
                                <m:r>
                                  <a:rPr lang="hr-HR" b="0" i="1" smtClean="0">
                                    <a:solidFill>
                                      <a:schemeClr val="tx1"/>
                                    </a:solidFill>
                                    <a:latin typeface="Cambria Math" charset="0"/>
                                  </a:rPr>
                                  <m:t>𝑅</m:t>
                                </m:r>
                              </m:oMath>
                            </m:oMathPara>
                          </a14:m>
                          <a:endParaRPr lang="en-US" dirty="0">
                            <a:solidFill>
                              <a:schemeClr val="tx1"/>
                            </a:solidFill>
                          </a:endParaRPr>
                        </a:p>
                      </a:txBody>
                      <a:tcPr>
                        <a:solidFill>
                          <a:schemeClr val="accent6">
                            <a:lumMod val="60000"/>
                            <a:lumOff val="40000"/>
                          </a:schemeClr>
                        </a:solidFill>
                      </a:tcPr>
                    </a:tc>
                    <a:tc>
                      <a:txBody>
                        <a:bodyPr/>
                        <a:lstStyle/>
                        <a:p>
                          <a:r>
                            <a:rPr lang="en-US" dirty="0"/>
                            <a:t>0</a:t>
                          </a:r>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sSub>
                                  <m:sSubPr>
                                    <m:ctrlPr>
                                      <a:rPr lang="hr-HR" b="0" i="1" smtClean="0">
                                        <a:latin typeface="Cambria Math" panose="02040503050406030204" pitchFamily="18" charset="0"/>
                                      </a:rPr>
                                    </m:ctrlPr>
                                  </m:sSubPr>
                                  <m:e>
                                    <m:r>
                                      <a:rPr lang="hr-HR" b="0" i="1" smtClean="0">
                                        <a:latin typeface="Cambria Math" charset="0"/>
                                      </a:rPr>
                                      <m:t>𝑡</m:t>
                                    </m:r>
                                  </m:e>
                                  <m:sub>
                                    <m:r>
                                      <a:rPr lang="hr-HR" b="0" i="1" smtClean="0">
                                        <a:latin typeface="Cambria Math" charset="0"/>
                                      </a:rPr>
                                      <m:t>1</m:t>
                                    </m:r>
                                  </m:sub>
                                </m:sSub>
                              </m:oMath>
                            </m:oMathPara>
                          </a14:m>
                          <a:endParaRPr lang="en-US" dirty="0"/>
                        </a:p>
                      </a:txBody>
                      <a:tcPr>
                        <a:solidFill>
                          <a:schemeClr val="accent6">
                            <a:lumMod val="60000"/>
                            <a:lumOff val="40000"/>
                          </a:schemeClr>
                        </a:solidFill>
                      </a:tcPr>
                    </a:tc>
                    <a:tc>
                      <a:txBody>
                        <a:bodyPr/>
                        <a:lstStyle/>
                        <a:p>
                          <a:r>
                            <a:rPr lang="en-US" dirty="0"/>
                            <a:t>0.5</a:t>
                          </a:r>
                        </a:p>
                      </a:txBody>
                      <a:tcPr>
                        <a:solidFill>
                          <a:schemeClr val="accent6">
                            <a:lumMod val="20000"/>
                            <a:lumOff val="80000"/>
                          </a:schemeClr>
                        </a:solidFill>
                      </a:tcPr>
                    </a:tc>
                    <a:extLst>
                      <a:ext uri="{0D108BD9-81ED-4DB2-BD59-A6C34878D82A}">
                        <a16:rowId xmlns:a16="http://schemas.microsoft.com/office/drawing/2014/main" val="10000"/>
                      </a:ext>
                    </a:extLst>
                  </a:tr>
                  <a:tr h="370840">
                    <a:tc>
                      <a:txBody>
                        <a:bodyPr/>
                        <a:lstStyle/>
                        <a:p>
                          <a:pPr/>
                          <a14:m>
                            <m:oMathPara xmlns:m="http://schemas.openxmlformats.org/officeDocument/2006/math">
                              <m:oMathParaPr>
                                <m:jc m:val="centerGroup"/>
                              </m:oMathParaPr>
                              <m:oMath xmlns:m="http://schemas.openxmlformats.org/officeDocument/2006/math">
                                <m:r>
                                  <a:rPr lang="hr-HR" b="0" i="1" smtClean="0">
                                    <a:solidFill>
                                      <a:schemeClr val="tx1"/>
                                    </a:solidFill>
                                    <a:latin typeface="Cambria Math" charset="0"/>
                                  </a:rPr>
                                  <m:t>𝑋</m:t>
                                </m:r>
                              </m:oMath>
                            </m:oMathPara>
                          </a14:m>
                          <a:endParaRPr lang="en-US" dirty="0">
                            <a:solidFill>
                              <a:schemeClr val="tx1"/>
                            </a:solidFill>
                          </a:endParaRPr>
                        </a:p>
                      </a:txBody>
                      <a:tcPr>
                        <a:solidFill>
                          <a:schemeClr val="accent6">
                            <a:lumMod val="60000"/>
                            <a:lumOff val="40000"/>
                          </a:schemeClr>
                        </a:solidFill>
                      </a:tcPr>
                    </a:tc>
                    <a:tc>
                      <a:txBody>
                        <a:bodyPr/>
                        <a:lstStyle/>
                        <a:p>
                          <a:r>
                            <a:rPr lang="cs-CZ" dirty="0"/>
                            <a:t>0.01*100/2220</a:t>
                          </a:r>
                          <a:endParaRPr lang="en-US" dirty="0"/>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sSub>
                                  <m:sSubPr>
                                    <m:ctrlPr>
                                      <a:rPr lang="hr-HR" b="0" i="1" smtClean="0">
                                        <a:latin typeface="Cambria Math" panose="02040503050406030204" pitchFamily="18" charset="0"/>
                                      </a:rPr>
                                    </m:ctrlPr>
                                  </m:sSubPr>
                                  <m:e>
                                    <m:r>
                                      <a:rPr lang="hr-HR" b="0" i="1" smtClean="0">
                                        <a:latin typeface="Cambria Math" charset="0"/>
                                      </a:rPr>
                                      <m:t>𝑡</m:t>
                                    </m:r>
                                  </m:e>
                                  <m:sub>
                                    <m:r>
                                      <a:rPr lang="hr-HR" b="0" i="1" smtClean="0">
                                        <a:latin typeface="Cambria Math" charset="0"/>
                                      </a:rPr>
                                      <m:t>2</m:t>
                                    </m:r>
                                  </m:sub>
                                </m:sSub>
                              </m:oMath>
                            </m:oMathPara>
                          </a14:m>
                          <a:endParaRPr lang="en-US" dirty="0"/>
                        </a:p>
                      </a:txBody>
                      <a:tcPr>
                        <a:solidFill>
                          <a:schemeClr val="accent6">
                            <a:lumMod val="60000"/>
                            <a:lumOff val="40000"/>
                          </a:schemeClr>
                        </a:solidFill>
                      </a:tcPr>
                    </a:tc>
                    <a:tc>
                      <a:txBody>
                        <a:bodyPr/>
                        <a:lstStyle/>
                        <a:p>
                          <a:r>
                            <a:rPr lang="en-US" dirty="0"/>
                            <a:t>0.57</a:t>
                          </a:r>
                        </a:p>
                      </a:txBody>
                      <a:tcPr>
                        <a:solidFill>
                          <a:schemeClr val="accent6">
                            <a:lumMod val="20000"/>
                            <a:lumOff val="80000"/>
                          </a:schemeClr>
                        </a:solidFill>
                      </a:tcPr>
                    </a:tc>
                    <a:extLst>
                      <a:ext uri="{0D108BD9-81ED-4DB2-BD59-A6C34878D82A}">
                        <a16:rowId xmlns:a16="http://schemas.microsoft.com/office/drawing/2014/main" val="10001"/>
                      </a:ext>
                    </a:extLst>
                  </a:tr>
                </a:tbl>
              </a:graphicData>
            </a:graphic>
          </p:graphicFrame>
        </mc:Choice>
        <mc:Fallback xmlns="">
          <p:graphicFrame>
            <p:nvGraphicFramePr>
              <p:cNvPr id="9" name="Table 8"/>
              <p:cNvGraphicFramePr>
                <a:graphicFrameLocks noGrp="1"/>
              </p:cNvGraphicFramePr>
              <p:nvPr>
                <p:extLst>
                  <p:ext uri="{D42A27DB-BD31-4B8C-83A1-F6EECF244321}">
                    <p14:modId xmlns:p14="http://schemas.microsoft.com/office/powerpoint/2010/main" val="681737879"/>
                  </p:ext>
                </p:extLst>
              </p:nvPr>
            </p:nvGraphicFramePr>
            <p:xfrm>
              <a:off x="5202435" y="1915691"/>
              <a:ext cx="3528392" cy="1027049"/>
            </p:xfrm>
            <a:graphic>
              <a:graphicData uri="http://schemas.openxmlformats.org/drawingml/2006/table">
                <a:tbl>
                  <a:tblPr firstRow="1" bandRow="1">
                    <a:tableStyleId>{5940675A-B579-460E-94D1-54222C63F5DA}</a:tableStyleId>
                  </a:tblPr>
                  <a:tblGrid>
                    <a:gridCol w="504056">
                      <a:extLst>
                        <a:ext uri="{9D8B030D-6E8A-4147-A177-3AD203B41FA5}">
                          <a16:colId xmlns:a16="http://schemas.microsoft.com/office/drawing/2014/main" val="20000"/>
                        </a:ext>
                      </a:extLst>
                    </a:gridCol>
                    <a:gridCol w="1656184">
                      <a:extLst>
                        <a:ext uri="{9D8B030D-6E8A-4147-A177-3AD203B41FA5}">
                          <a16:colId xmlns:a16="http://schemas.microsoft.com/office/drawing/2014/main" val="20001"/>
                        </a:ext>
                      </a:extLst>
                    </a:gridCol>
                    <a:gridCol w="486054">
                      <a:extLst>
                        <a:ext uri="{9D8B030D-6E8A-4147-A177-3AD203B41FA5}">
                          <a16:colId xmlns:a16="http://schemas.microsoft.com/office/drawing/2014/main" val="20002"/>
                        </a:ext>
                      </a:extLst>
                    </a:gridCol>
                    <a:gridCol w="882098">
                      <a:extLst>
                        <a:ext uri="{9D8B030D-6E8A-4147-A177-3AD203B41FA5}">
                          <a16:colId xmlns:a16="http://schemas.microsoft.com/office/drawing/2014/main" val="20003"/>
                        </a:ext>
                      </a:extLst>
                    </a:gridCol>
                  </a:tblGrid>
                  <a:tr h="386969">
                    <a:tc>
                      <a:txBody>
                        <a:bodyPr/>
                        <a:lstStyle/>
                        <a:p>
                          <a:endParaRPr lang="en-US"/>
                        </a:p>
                      </a:txBody>
                      <a:tcPr>
                        <a:blipFill>
                          <a:blip r:embed="rId3"/>
                          <a:stretch>
                            <a:fillRect l="-1205" t="-7813" r="-601205" b="-189063"/>
                          </a:stretch>
                        </a:blipFill>
                      </a:tcPr>
                    </a:tc>
                    <a:tc>
                      <a:txBody>
                        <a:bodyPr/>
                        <a:lstStyle/>
                        <a:p>
                          <a:r>
                            <a:rPr lang="en-US" dirty="0"/>
                            <a:t>0</a:t>
                          </a:r>
                        </a:p>
                      </a:txBody>
                      <a:tcPr>
                        <a:solidFill>
                          <a:schemeClr val="accent6">
                            <a:lumMod val="20000"/>
                            <a:lumOff val="80000"/>
                          </a:schemeClr>
                        </a:solidFill>
                      </a:tcPr>
                    </a:tc>
                    <a:tc>
                      <a:txBody>
                        <a:bodyPr/>
                        <a:lstStyle/>
                        <a:p>
                          <a:endParaRPr lang="en-US"/>
                        </a:p>
                      </a:txBody>
                      <a:tcPr>
                        <a:blipFill>
                          <a:blip r:embed="rId3"/>
                          <a:stretch>
                            <a:fillRect l="-445000" t="-7813" r="-183750" b="-189063"/>
                          </a:stretch>
                        </a:blipFill>
                      </a:tcPr>
                    </a:tc>
                    <a:tc>
                      <a:txBody>
                        <a:bodyPr/>
                        <a:lstStyle/>
                        <a:p>
                          <a:r>
                            <a:rPr lang="en-US" dirty="0"/>
                            <a:t>0.5</a:t>
                          </a:r>
                        </a:p>
                      </a:txBody>
                      <a:tcPr>
                        <a:solidFill>
                          <a:schemeClr val="accent6">
                            <a:lumMod val="20000"/>
                            <a:lumOff val="80000"/>
                          </a:schemeClr>
                        </a:solidFill>
                      </a:tcPr>
                    </a:tc>
                    <a:extLst>
                      <a:ext uri="{0D108BD9-81ED-4DB2-BD59-A6C34878D82A}">
                        <a16:rowId xmlns:a16="http://schemas.microsoft.com/office/drawing/2014/main" val="10000"/>
                      </a:ext>
                    </a:extLst>
                  </a:tr>
                  <a:tr h="640080">
                    <a:tc>
                      <a:txBody>
                        <a:bodyPr/>
                        <a:lstStyle/>
                        <a:p>
                          <a:endParaRPr lang="en-US"/>
                        </a:p>
                      </a:txBody>
                      <a:tcPr>
                        <a:blipFill>
                          <a:blip r:embed="rId3"/>
                          <a:stretch>
                            <a:fillRect l="-1205" t="-65714" r="-601205" b="-15238"/>
                          </a:stretch>
                        </a:blipFill>
                      </a:tcPr>
                    </a:tc>
                    <a:tc>
                      <a:txBody>
                        <a:bodyPr/>
                        <a:lstStyle/>
                        <a:p>
                          <a:r>
                            <a:rPr lang="cs-CZ" dirty="0"/>
                            <a:t>0.01*100/2220</a:t>
                          </a:r>
                          <a:endParaRPr lang="en-US" dirty="0"/>
                        </a:p>
                      </a:txBody>
                      <a:tcPr>
                        <a:solidFill>
                          <a:schemeClr val="accent6">
                            <a:lumMod val="20000"/>
                            <a:lumOff val="80000"/>
                          </a:schemeClr>
                        </a:solidFill>
                      </a:tcPr>
                    </a:tc>
                    <a:tc>
                      <a:txBody>
                        <a:bodyPr/>
                        <a:lstStyle/>
                        <a:p>
                          <a:endParaRPr lang="en-US"/>
                        </a:p>
                      </a:txBody>
                      <a:tcPr>
                        <a:blipFill>
                          <a:blip r:embed="rId3"/>
                          <a:stretch>
                            <a:fillRect l="-445000" t="-65714" r="-183750" b="-15238"/>
                          </a:stretch>
                        </a:blipFill>
                      </a:tcPr>
                    </a:tc>
                    <a:tc>
                      <a:txBody>
                        <a:bodyPr/>
                        <a:lstStyle/>
                        <a:p>
                          <a:r>
                            <a:rPr lang="en-US" dirty="0"/>
                            <a:t>0.57</a:t>
                          </a:r>
                        </a:p>
                      </a:txBody>
                      <a:tcPr>
                        <a:solidFill>
                          <a:schemeClr val="accent6">
                            <a:lumMod val="20000"/>
                            <a:lumOff val="80000"/>
                          </a:schemeClr>
                        </a:solidFill>
                      </a:tcPr>
                    </a:tc>
                    <a:extLst>
                      <a:ext uri="{0D108BD9-81ED-4DB2-BD59-A6C34878D82A}">
                        <a16:rowId xmlns:a16="http://schemas.microsoft.com/office/drawing/2014/main" val="10001"/>
                      </a:ext>
                    </a:extLst>
                  </a:tr>
                </a:tbl>
              </a:graphicData>
            </a:graphic>
          </p:graphicFrame>
        </mc:Fallback>
      </mc:AlternateContent>
      <p:sp>
        <p:nvSpPr>
          <p:cNvPr id="10" name="TextBox 9"/>
          <p:cNvSpPr txBox="1"/>
          <p:nvPr/>
        </p:nvSpPr>
        <p:spPr>
          <a:xfrm>
            <a:off x="5202435" y="1546359"/>
            <a:ext cx="2664296" cy="369332"/>
          </a:xfrm>
          <a:prstGeom prst="rect">
            <a:avLst/>
          </a:prstGeom>
          <a:noFill/>
        </p:spPr>
        <p:txBody>
          <a:bodyPr wrap="square" rtlCol="0">
            <a:spAutoFit/>
          </a:bodyPr>
          <a:lstStyle/>
          <a:p>
            <a:r>
              <a:rPr lang="en-US" dirty="0"/>
              <a:t>Fault</a:t>
            </a:r>
          </a:p>
        </p:txBody>
      </p:sp>
      <p:pic>
        <p:nvPicPr>
          <p:cNvPr id="7" name="Picture 6"/>
          <p:cNvPicPr>
            <a:picLocks noChangeAspect="1"/>
          </p:cNvPicPr>
          <p:nvPr/>
        </p:nvPicPr>
        <p:blipFill>
          <a:blip r:embed="rId4"/>
          <a:stretch>
            <a:fillRect/>
          </a:stretch>
        </p:blipFill>
        <p:spPr>
          <a:xfrm>
            <a:off x="1573876" y="3036266"/>
            <a:ext cx="5734428" cy="2841006"/>
          </a:xfrm>
          <a:prstGeom prst="rect">
            <a:avLst/>
          </a:prstGeom>
        </p:spPr>
      </p:pic>
    </p:spTree>
    <p:extLst>
      <p:ext uri="{BB962C8B-B14F-4D97-AF65-F5344CB8AC3E}">
        <p14:creationId xmlns:p14="http://schemas.microsoft.com/office/powerpoint/2010/main" val="14867859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7" name="Footer Placeholder 6"/>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29</a:t>
            </a:fld>
            <a:endParaRPr lang="en-US" dirty="0"/>
          </a:p>
        </p:txBody>
      </p:sp>
      <p:sp>
        <p:nvSpPr>
          <p:cNvPr id="6" name="Date Placeholder 5"/>
          <p:cNvSpPr>
            <a:spLocks noGrp="1"/>
          </p:cNvSpPr>
          <p:nvPr>
            <p:ph type="dt" sz="half" idx="12"/>
          </p:nvPr>
        </p:nvSpPr>
        <p:spPr/>
        <p:txBody>
          <a:bodyPr/>
          <a:lstStyle/>
          <a:p>
            <a:r>
              <a:rPr lang="sv-SE"/>
              <a:t>2016-11-20</a:t>
            </a:r>
          </a:p>
        </p:txBody>
      </p:sp>
      <p:sp>
        <p:nvSpPr>
          <p:cNvPr id="9" name="Content Placeholder 8"/>
          <p:cNvSpPr>
            <a:spLocks noGrp="1"/>
          </p:cNvSpPr>
          <p:nvPr>
            <p:ph idx="1"/>
          </p:nvPr>
        </p:nvSpPr>
        <p:spPr/>
        <p:txBody>
          <a:bodyPr/>
          <a:lstStyle/>
          <a:p>
            <a:r>
              <a:rPr lang="en-US" b="1" dirty="0"/>
              <a:t>Network model – Step 5 </a:t>
            </a:r>
          </a:p>
          <a:p>
            <a:pPr marL="285750" indent="-285750">
              <a:spcBef>
                <a:spcPts val="600"/>
              </a:spcBef>
              <a:spcAft>
                <a:spcPts val="600"/>
              </a:spcAft>
              <a:buFont typeface="Arial" charset="0"/>
              <a:buChar char="•"/>
            </a:pPr>
            <a:r>
              <a:rPr lang="en-US" dirty="0"/>
              <a:t>The network model is completed by connecting all of the components</a:t>
            </a:r>
          </a:p>
          <a:p>
            <a:pPr marL="285750" indent="-285750">
              <a:spcBef>
                <a:spcPts val="600"/>
              </a:spcBef>
              <a:spcAft>
                <a:spcPts val="600"/>
              </a:spcAft>
              <a:buFont typeface="Arial" charset="0"/>
              <a:buChar char="•"/>
            </a:pPr>
            <a:r>
              <a:rPr lang="en-US" dirty="0"/>
              <a:t>Now, the model can be simulated and linearized</a:t>
            </a:r>
          </a:p>
          <a:p>
            <a:endParaRPr lang="en-US" dirty="0"/>
          </a:p>
        </p:txBody>
      </p:sp>
      <p:pic>
        <p:nvPicPr>
          <p:cNvPr id="3" name="Picture 2"/>
          <p:cNvPicPr>
            <a:picLocks noChangeAspect="1"/>
          </p:cNvPicPr>
          <p:nvPr/>
        </p:nvPicPr>
        <p:blipFill>
          <a:blip r:embed="rId3"/>
          <a:stretch>
            <a:fillRect/>
          </a:stretch>
        </p:blipFill>
        <p:spPr>
          <a:xfrm>
            <a:off x="1179941" y="3016877"/>
            <a:ext cx="6430405" cy="2660664"/>
          </a:xfrm>
          <a:prstGeom prst="rect">
            <a:avLst/>
          </a:prstGeom>
        </p:spPr>
      </p:pic>
    </p:spTree>
    <p:extLst>
      <p:ext uri="{BB962C8B-B14F-4D97-AF65-F5344CB8AC3E}">
        <p14:creationId xmlns:p14="http://schemas.microsoft.com/office/powerpoint/2010/main" val="13177319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p>
            <a:r>
              <a:rPr lang="en-US" dirty="0"/>
              <a:t>Go to our </a:t>
            </a:r>
            <a:r>
              <a:rPr lang="en-US" dirty="0" err="1"/>
              <a:t>Github</a:t>
            </a:r>
            <a:r>
              <a:rPr lang="en-US" dirty="0"/>
              <a:t> repo:</a:t>
            </a:r>
          </a:p>
          <a:p>
            <a:r>
              <a:rPr lang="en-US" sz="1800" dirty="0">
                <a:hlinkClick r:id="rId2"/>
              </a:rPr>
              <a:t>https://github.com/SmarTS-Lab/OpenIPSL/releases/tag/Tuto_PTI_Brazil_17</a:t>
            </a:r>
            <a:endParaRPr lang="en-US" sz="1800" dirty="0"/>
          </a:p>
          <a:p>
            <a:endParaRPr lang="en-US" sz="1800" dirty="0"/>
          </a:p>
          <a:p>
            <a:endParaRPr lang="en-US" sz="1800" dirty="0"/>
          </a:p>
          <a:p>
            <a:endParaRPr lang="en-US" sz="1800" dirty="0"/>
          </a:p>
          <a:p>
            <a:endParaRPr lang="en-US" sz="1800" dirty="0"/>
          </a:p>
          <a:p>
            <a:endParaRPr lang="en-US" sz="1800" dirty="0"/>
          </a:p>
          <a:p>
            <a:endParaRPr lang="en-US" sz="1800" dirty="0"/>
          </a:p>
          <a:p>
            <a:endParaRPr lang="en-US" sz="1800" dirty="0"/>
          </a:p>
          <a:p>
            <a:r>
              <a:rPr lang="en-US" sz="1800" dirty="0"/>
              <a:t>Note: Download the dedicated package for the tutorial </a:t>
            </a:r>
            <a:r>
              <a:rPr lang="en-US" sz="1800"/>
              <a:t>(Tutorial.Kit.zip) so </a:t>
            </a:r>
            <a:r>
              <a:rPr lang="en-US" sz="1800" dirty="0"/>
              <a:t>everybody has the same files.</a:t>
            </a:r>
            <a:br>
              <a:rPr lang="en-US" sz="1800" dirty="0"/>
            </a:br>
            <a:r>
              <a:rPr lang="en-US" sz="1800" dirty="0"/>
              <a:t>The dedicated package is also available on a </a:t>
            </a:r>
            <a:r>
              <a:rPr lang="en-US" sz="1800" dirty="0" err="1"/>
              <a:t>usb</a:t>
            </a:r>
            <a:r>
              <a:rPr lang="en-US" sz="1800" dirty="0"/>
              <a:t> stick that we can circulate to the participants. </a:t>
            </a:r>
          </a:p>
          <a:p>
            <a:endParaRPr lang="en-US" dirty="0"/>
          </a:p>
        </p:txBody>
      </p:sp>
      <p:sp>
        <p:nvSpPr>
          <p:cNvPr id="2" name="Title 1"/>
          <p:cNvSpPr>
            <a:spLocks noGrp="1"/>
          </p:cNvSpPr>
          <p:nvPr>
            <p:ph type="title"/>
          </p:nvPr>
        </p:nvSpPr>
        <p:spPr/>
        <p:txBody>
          <a:bodyPr/>
          <a:lstStyle/>
          <a:p>
            <a:r>
              <a:rPr lang="en-US"/>
              <a:t>Download OpenIPSL!</a:t>
            </a:r>
            <a:endParaRPr lang="en-US" dirty="0"/>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2132578">
            <a:off x="7819260" y="260778"/>
            <a:ext cx="1066228" cy="1066228"/>
          </a:xfrm>
          <a:prstGeom prst="rect">
            <a:avLst/>
          </a:prstGeom>
        </p:spPr>
      </p:pic>
      <p:grpSp>
        <p:nvGrpSpPr>
          <p:cNvPr id="6" name="Group 5"/>
          <p:cNvGrpSpPr/>
          <p:nvPr/>
        </p:nvGrpSpPr>
        <p:grpSpPr>
          <a:xfrm>
            <a:off x="1437134" y="2618794"/>
            <a:ext cx="5209778" cy="1620412"/>
            <a:chOff x="1437134" y="2618794"/>
            <a:chExt cx="5209778" cy="1620412"/>
          </a:xfrm>
        </p:grpSpPr>
        <p:pic>
          <p:nvPicPr>
            <p:cNvPr id="4" name="Picture 3"/>
            <p:cNvPicPr>
              <a:picLocks noChangeAspect="1"/>
            </p:cNvPicPr>
            <p:nvPr/>
          </p:nvPicPr>
          <p:blipFill>
            <a:blip r:embed="rId4"/>
            <a:stretch>
              <a:fillRect/>
            </a:stretch>
          </p:blipFill>
          <p:spPr>
            <a:xfrm>
              <a:off x="1437134" y="2618794"/>
              <a:ext cx="5209778" cy="1620412"/>
            </a:xfrm>
            <a:prstGeom prst="rect">
              <a:avLst/>
            </a:prstGeom>
          </p:spPr>
        </p:pic>
        <p:grpSp>
          <p:nvGrpSpPr>
            <p:cNvPr id="16" name="Group 15"/>
            <p:cNvGrpSpPr/>
            <p:nvPr/>
          </p:nvGrpSpPr>
          <p:grpSpPr>
            <a:xfrm>
              <a:off x="1619251" y="3392860"/>
              <a:ext cx="3914986" cy="332814"/>
              <a:chOff x="2843808" y="3789040"/>
              <a:chExt cx="3914986" cy="332814"/>
            </a:xfrm>
          </p:grpSpPr>
          <p:sp>
            <p:nvSpPr>
              <p:cNvPr id="7" name="Rounded Rectangle 6"/>
              <p:cNvSpPr/>
              <p:nvPr/>
            </p:nvSpPr>
            <p:spPr>
              <a:xfrm>
                <a:off x="2843808" y="3789040"/>
                <a:ext cx="1152128" cy="332814"/>
              </a:xfrm>
              <a:prstGeom prst="roundRect">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 name="Rounded Rectangle 7"/>
              <p:cNvSpPr/>
              <p:nvPr/>
            </p:nvSpPr>
            <p:spPr>
              <a:xfrm>
                <a:off x="4131010" y="3796473"/>
                <a:ext cx="2627784" cy="288032"/>
              </a:xfrm>
              <a:prstGeom prst="round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Click Here!</a:t>
                </a:r>
              </a:p>
            </p:txBody>
          </p:sp>
        </p:grpSp>
      </p:grpSp>
      <p:sp>
        <p:nvSpPr>
          <p:cNvPr id="20" name="Date Placeholder 19"/>
          <p:cNvSpPr>
            <a:spLocks noGrp="1"/>
          </p:cNvSpPr>
          <p:nvPr>
            <p:ph type="dt" sz="half" idx="10"/>
          </p:nvPr>
        </p:nvSpPr>
        <p:spPr/>
        <p:txBody>
          <a:bodyPr/>
          <a:lstStyle/>
          <a:p>
            <a:r>
              <a:rPr lang="sv-SE"/>
              <a:t>2016-11-20</a:t>
            </a:r>
          </a:p>
        </p:txBody>
      </p:sp>
      <p:sp>
        <p:nvSpPr>
          <p:cNvPr id="21" name="Footer Placeholder 20"/>
          <p:cNvSpPr>
            <a:spLocks noGrp="1"/>
          </p:cNvSpPr>
          <p:nvPr>
            <p:ph type="ftr" sz="quarter" idx="11"/>
          </p:nvPr>
        </p:nvSpPr>
        <p:spPr/>
        <p:txBody>
          <a:bodyPr/>
          <a:lstStyle/>
          <a:p>
            <a:r>
              <a:rPr lang="sv-SE"/>
              <a:t>OpenIPSL Tutorial</a:t>
            </a:r>
            <a:endParaRPr lang="sv-SE" dirty="0"/>
          </a:p>
        </p:txBody>
      </p:sp>
      <p:sp>
        <p:nvSpPr>
          <p:cNvPr id="22" name="Slide Number Placeholder 21"/>
          <p:cNvSpPr>
            <a:spLocks noGrp="1"/>
          </p:cNvSpPr>
          <p:nvPr>
            <p:ph type="sldNum" sz="quarter" idx="12"/>
          </p:nvPr>
        </p:nvSpPr>
        <p:spPr/>
        <p:txBody>
          <a:bodyPr/>
          <a:lstStyle/>
          <a:p>
            <a:fld id="{227F0B53-9592-4779-891F-997228E46E01}" type="slidenum">
              <a:rPr lang="sv-SE" smtClean="0"/>
              <a:t>3</a:t>
            </a:fld>
            <a:endParaRPr lang="sv-SE"/>
          </a:p>
        </p:txBody>
      </p:sp>
    </p:spTree>
    <p:extLst>
      <p:ext uri="{BB962C8B-B14F-4D97-AF65-F5344CB8AC3E}">
        <p14:creationId xmlns:p14="http://schemas.microsoft.com/office/powerpoint/2010/main" val="280860770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8" name="Footer Placeholder 7"/>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30</a:t>
            </a:fld>
            <a:endParaRPr lang="en-US" dirty="0"/>
          </a:p>
        </p:txBody>
      </p:sp>
      <p:sp>
        <p:nvSpPr>
          <p:cNvPr id="7" name="Date Placeholder 6"/>
          <p:cNvSpPr>
            <a:spLocks noGrp="1"/>
          </p:cNvSpPr>
          <p:nvPr>
            <p:ph type="dt" sz="half" idx="12"/>
          </p:nvPr>
        </p:nvSpPr>
        <p:spPr/>
        <p:txBody>
          <a:bodyPr/>
          <a:lstStyle/>
          <a:p>
            <a:r>
              <a:rPr lang="sv-SE"/>
              <a:t>2016-11-20</a:t>
            </a:r>
          </a:p>
        </p:txBody>
      </p:sp>
      <p:sp>
        <p:nvSpPr>
          <p:cNvPr id="10" name="Content Placeholder 9"/>
          <p:cNvSpPr>
            <a:spLocks noGrp="1"/>
          </p:cNvSpPr>
          <p:nvPr>
            <p:ph idx="1"/>
          </p:nvPr>
        </p:nvSpPr>
        <p:spPr/>
        <p:txBody>
          <a:bodyPr/>
          <a:lstStyle/>
          <a:p>
            <a:r>
              <a:rPr lang="en-US" b="1" dirty="0"/>
              <a:t>Simulation</a:t>
            </a:r>
          </a:p>
          <a:p>
            <a:pPr marL="285750" indent="-285750">
              <a:spcBef>
                <a:spcPts val="600"/>
              </a:spcBef>
              <a:spcAft>
                <a:spcPts val="600"/>
              </a:spcAft>
              <a:buFont typeface="Arial" charset="0"/>
              <a:buChar char="•"/>
            </a:pPr>
            <a:r>
              <a:rPr lang="en-US" dirty="0"/>
              <a:t>System will be simulated with 3-phase-to-ground fault at t=0.5s with a duration of 70ms</a:t>
            </a:r>
          </a:p>
          <a:p>
            <a:pPr marL="285750" indent="-285750">
              <a:spcBef>
                <a:spcPts val="600"/>
              </a:spcBef>
              <a:spcAft>
                <a:spcPts val="600"/>
              </a:spcAft>
              <a:buFont typeface="Arial" charset="0"/>
              <a:buChar char="•"/>
            </a:pPr>
            <a:r>
              <a:rPr lang="en-US" dirty="0"/>
              <a:t>Simulation results will be compared with the reference results from the PSAT that will be loaded first</a:t>
            </a:r>
          </a:p>
          <a:p>
            <a:pPr marL="285750" indent="-285750">
              <a:spcBef>
                <a:spcPts val="600"/>
              </a:spcBef>
              <a:spcAft>
                <a:spcPts val="600"/>
              </a:spcAft>
              <a:buFont typeface="Arial" charset="0"/>
              <a:buChar char="•"/>
            </a:pPr>
            <a:r>
              <a:rPr lang="en-US" dirty="0"/>
              <a:t>PSAT results are provided in a file “PSAT_dyn.csv”</a:t>
            </a:r>
          </a:p>
          <a:p>
            <a:pPr marL="285750" indent="-285750">
              <a:spcBef>
                <a:spcPts val="600"/>
              </a:spcBef>
              <a:spcAft>
                <a:spcPts val="600"/>
              </a:spcAft>
              <a:buFont typeface="Arial" charset="0"/>
              <a:buChar char="•"/>
            </a:pPr>
            <a:r>
              <a:rPr lang="en-US" dirty="0"/>
              <a:t>To load the file, the view should be switched to “Plotting” tab </a:t>
            </a:r>
          </a:p>
          <a:p>
            <a:pPr marL="285750" indent="-285750">
              <a:buFont typeface="Arial" charset="0"/>
              <a:buChar char="•"/>
            </a:pPr>
            <a:endParaRPr lang="en-US" dirty="0"/>
          </a:p>
          <a:p>
            <a:pPr marL="285750" indent="-285750">
              <a:buFont typeface="Arial" charset="0"/>
              <a:buChar char="•"/>
            </a:pPr>
            <a:endParaRPr lang="en-US" dirty="0"/>
          </a:p>
          <a:p>
            <a:endParaRPr lang="en-US" dirty="0"/>
          </a:p>
        </p:txBody>
      </p:sp>
      <p:pic>
        <p:nvPicPr>
          <p:cNvPr id="3" name="Picture 2"/>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483768" y="4365104"/>
            <a:ext cx="3746500" cy="1066800"/>
          </a:xfrm>
          <a:prstGeom prst="rect">
            <a:avLst/>
          </a:prstGeom>
        </p:spPr>
      </p:pic>
      <p:cxnSp>
        <p:nvCxnSpPr>
          <p:cNvPr id="9" name="Straight Arrow Connector 8"/>
          <p:cNvCxnSpPr/>
          <p:nvPr/>
        </p:nvCxnSpPr>
        <p:spPr>
          <a:xfrm>
            <a:off x="5724128" y="4332551"/>
            <a:ext cx="0" cy="730021"/>
          </a:xfrm>
          <a:prstGeom prst="straightConnector1">
            <a:avLst/>
          </a:prstGeom>
          <a:ln w="31750">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2172961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8" name="Footer Placeholder 7"/>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31</a:t>
            </a:fld>
            <a:endParaRPr lang="en-US" dirty="0"/>
          </a:p>
        </p:txBody>
      </p:sp>
      <p:sp>
        <p:nvSpPr>
          <p:cNvPr id="3" name="Date Placeholder 2"/>
          <p:cNvSpPr>
            <a:spLocks noGrp="1"/>
          </p:cNvSpPr>
          <p:nvPr>
            <p:ph type="dt" sz="half" idx="12"/>
          </p:nvPr>
        </p:nvSpPr>
        <p:spPr/>
        <p:txBody>
          <a:bodyPr/>
          <a:lstStyle/>
          <a:p>
            <a:r>
              <a:rPr lang="sv-SE"/>
              <a:t>2016-11-20</a:t>
            </a:r>
          </a:p>
        </p:txBody>
      </p:sp>
      <p:sp>
        <p:nvSpPr>
          <p:cNvPr id="10" name="Content Placeholder 9"/>
          <p:cNvSpPr>
            <a:spLocks noGrp="1"/>
          </p:cNvSpPr>
          <p:nvPr>
            <p:ph idx="1"/>
          </p:nvPr>
        </p:nvSpPr>
        <p:spPr/>
        <p:txBody>
          <a:bodyPr/>
          <a:lstStyle/>
          <a:p>
            <a:r>
              <a:rPr lang="en-US" b="1" dirty="0"/>
              <a:t>Simulation</a:t>
            </a:r>
          </a:p>
          <a:p>
            <a:pPr marL="285750" indent="-285750">
              <a:buFont typeface="Arial" charset="0"/>
              <a:buChar char="•"/>
            </a:pPr>
            <a:r>
              <a:rPr lang="en-US" dirty="0"/>
              <a:t>Result file can be opened by navigating the menu to File-&gt;Open </a:t>
            </a:r>
            <a:r>
              <a:rPr lang="en-US" dirty="0" err="1"/>
              <a:t>Resut</a:t>
            </a:r>
            <a:r>
              <a:rPr lang="en-US" dirty="0"/>
              <a:t> File(s)</a:t>
            </a:r>
          </a:p>
          <a:p>
            <a:pPr marL="285750" indent="-285750">
              <a:buFont typeface="Arial" charset="0"/>
              <a:buChar char="•"/>
            </a:pPr>
            <a:r>
              <a:rPr lang="en-US" dirty="0"/>
              <a:t>In the pop-up menu, one has to select “Comma Separated Values” as a file type, navigate to the directory where the file is located and open it</a:t>
            </a:r>
          </a:p>
          <a:p>
            <a:pPr marL="285750" indent="-285750">
              <a:buFont typeface="Arial" charset="0"/>
              <a:buChar char="•"/>
            </a:pPr>
            <a:endParaRPr lang="en-US" dirty="0"/>
          </a:p>
          <a:p>
            <a:pPr marL="285750" indent="-285750">
              <a:buFont typeface="Arial" charset="0"/>
              <a:buChar char="•"/>
            </a:pPr>
            <a:endParaRPr lang="en-US" dirty="0"/>
          </a:p>
          <a:p>
            <a:endParaRPr lang="en-US" dirty="0"/>
          </a:p>
        </p:txBody>
      </p:sp>
      <p:grpSp>
        <p:nvGrpSpPr>
          <p:cNvPr id="13" name="Group 12"/>
          <p:cNvGrpSpPr/>
          <p:nvPr/>
        </p:nvGrpSpPr>
        <p:grpSpPr>
          <a:xfrm>
            <a:off x="1094555" y="3412577"/>
            <a:ext cx="6741621" cy="2608711"/>
            <a:chOff x="1094555" y="3277133"/>
            <a:chExt cx="6741621" cy="2608711"/>
          </a:xfrm>
        </p:grpSpPr>
        <p:pic>
          <p:nvPicPr>
            <p:cNvPr id="7" name="Picture 6"/>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094555" y="3277133"/>
              <a:ext cx="2312879" cy="2344389"/>
            </a:xfrm>
            <a:prstGeom prst="rect">
              <a:avLst/>
            </a:prstGeom>
          </p:spPr>
        </p:pic>
        <p:cxnSp>
          <p:nvCxnSpPr>
            <p:cNvPr id="9" name="Straight Arrow Connector 8"/>
            <p:cNvCxnSpPr/>
            <p:nvPr/>
          </p:nvCxnSpPr>
          <p:spPr>
            <a:xfrm flipH="1">
              <a:off x="3407434" y="3933056"/>
              <a:ext cx="1008112" cy="0"/>
            </a:xfrm>
            <a:prstGeom prst="straightConnector1">
              <a:avLst/>
            </a:prstGeom>
            <a:ln w="31750">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pic>
          <p:nvPicPr>
            <p:cNvPr id="11" name="Picture 10"/>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4860032" y="3320085"/>
              <a:ext cx="2976144" cy="2076831"/>
            </a:xfrm>
            <a:prstGeom prst="rect">
              <a:avLst/>
            </a:prstGeom>
          </p:spPr>
        </p:pic>
        <p:cxnSp>
          <p:nvCxnSpPr>
            <p:cNvPr id="12" name="Straight Arrow Connector 11"/>
            <p:cNvCxnSpPr/>
            <p:nvPr/>
          </p:nvCxnSpPr>
          <p:spPr>
            <a:xfrm flipV="1">
              <a:off x="7164288" y="5046726"/>
              <a:ext cx="0" cy="839118"/>
            </a:xfrm>
            <a:prstGeom prst="straightConnector1">
              <a:avLst/>
            </a:prstGeom>
            <a:ln w="31750">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150517374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9" name="Footer Placeholder 8"/>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32</a:t>
            </a:fld>
            <a:endParaRPr lang="en-US" dirty="0"/>
          </a:p>
        </p:txBody>
      </p:sp>
      <p:sp>
        <p:nvSpPr>
          <p:cNvPr id="7" name="Date Placeholder 6"/>
          <p:cNvSpPr>
            <a:spLocks noGrp="1"/>
          </p:cNvSpPr>
          <p:nvPr>
            <p:ph type="dt" sz="half" idx="12"/>
          </p:nvPr>
        </p:nvSpPr>
        <p:spPr/>
        <p:txBody>
          <a:bodyPr/>
          <a:lstStyle/>
          <a:p>
            <a:r>
              <a:rPr lang="sv-SE"/>
              <a:t>2016-11-20</a:t>
            </a:r>
          </a:p>
        </p:txBody>
      </p:sp>
      <p:sp>
        <p:nvSpPr>
          <p:cNvPr id="10" name="Content Placeholder 9"/>
          <p:cNvSpPr>
            <a:spLocks noGrp="1"/>
          </p:cNvSpPr>
          <p:nvPr>
            <p:ph idx="1"/>
          </p:nvPr>
        </p:nvSpPr>
        <p:spPr/>
        <p:txBody>
          <a:bodyPr/>
          <a:lstStyle/>
          <a:p>
            <a:r>
              <a:rPr lang="en-US" b="1" dirty="0"/>
              <a:t>Simulation</a:t>
            </a:r>
          </a:p>
          <a:p>
            <a:pPr marL="285750" indent="-285750">
              <a:spcBef>
                <a:spcPts val="600"/>
              </a:spcBef>
              <a:spcAft>
                <a:spcPts val="600"/>
              </a:spcAft>
              <a:buFont typeface="Arial" charset="0"/>
              <a:buChar char="•"/>
            </a:pPr>
            <a:r>
              <a:rPr lang="en-US" dirty="0"/>
              <a:t>In the variable browser, three waveforms from the PSAT results are loaded which can be displayed on the plot as it is shown in the figure below </a:t>
            </a:r>
          </a:p>
          <a:p>
            <a:pPr marL="285750" indent="-285750">
              <a:spcBef>
                <a:spcPts val="600"/>
              </a:spcBef>
              <a:spcAft>
                <a:spcPts val="600"/>
              </a:spcAft>
              <a:buFont typeface="Arial" charset="0"/>
              <a:buChar char="•"/>
            </a:pPr>
            <a:r>
              <a:rPr lang="en-US" dirty="0"/>
              <a:t>Loaded waveforms are generator terminal voltage, excitation field voltage and the generator speed</a:t>
            </a:r>
          </a:p>
          <a:p>
            <a:endParaRPr lang="en-US" dirty="0"/>
          </a:p>
          <a:p>
            <a:endParaRPr lang="en-US" dirty="0"/>
          </a:p>
        </p:txBody>
      </p:sp>
      <p:pic>
        <p:nvPicPr>
          <p:cNvPr id="3" name="Picture 2"/>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1140317" y="3743758"/>
            <a:ext cx="5409752" cy="2937180"/>
          </a:xfrm>
          <a:prstGeom prst="rect">
            <a:avLst/>
          </a:prstGeom>
        </p:spPr>
      </p:pic>
      <p:sp>
        <p:nvSpPr>
          <p:cNvPr id="8" name="Rectangle 7"/>
          <p:cNvSpPr/>
          <p:nvPr/>
        </p:nvSpPr>
        <p:spPr>
          <a:xfrm>
            <a:off x="5796136" y="4221088"/>
            <a:ext cx="970838" cy="648072"/>
          </a:xfrm>
          <a:prstGeom prst="rect">
            <a:avLst/>
          </a:prstGeom>
          <a:no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9780416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8" name="Footer Placeholder 7"/>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33</a:t>
            </a:fld>
            <a:endParaRPr lang="en-US" dirty="0"/>
          </a:p>
        </p:txBody>
      </p:sp>
      <p:sp>
        <p:nvSpPr>
          <p:cNvPr id="7" name="Date Placeholder 6"/>
          <p:cNvSpPr>
            <a:spLocks noGrp="1"/>
          </p:cNvSpPr>
          <p:nvPr>
            <p:ph type="dt" sz="half" idx="12"/>
          </p:nvPr>
        </p:nvSpPr>
        <p:spPr/>
        <p:txBody>
          <a:bodyPr/>
          <a:lstStyle/>
          <a:p>
            <a:r>
              <a:rPr lang="sv-SE"/>
              <a:t>2016-11-20</a:t>
            </a:r>
          </a:p>
        </p:txBody>
      </p:sp>
      <p:sp>
        <p:nvSpPr>
          <p:cNvPr id="9" name="Content Placeholder 8"/>
          <p:cNvSpPr>
            <a:spLocks noGrp="1"/>
          </p:cNvSpPr>
          <p:nvPr>
            <p:ph idx="1"/>
          </p:nvPr>
        </p:nvSpPr>
        <p:spPr/>
        <p:txBody>
          <a:bodyPr>
            <a:normAutofit/>
          </a:bodyPr>
          <a:lstStyle/>
          <a:p>
            <a:r>
              <a:rPr lang="en-US" b="1" dirty="0"/>
              <a:t>Simulation</a:t>
            </a:r>
          </a:p>
          <a:p>
            <a:pPr marL="285750" indent="-285750">
              <a:spcBef>
                <a:spcPts val="600"/>
              </a:spcBef>
              <a:spcAft>
                <a:spcPts val="600"/>
              </a:spcAft>
              <a:buFont typeface="Arial" charset="0"/>
              <a:buChar char="•"/>
            </a:pPr>
            <a:r>
              <a:rPr lang="en-US" dirty="0"/>
              <a:t>Before the simulation, solver and its parameters are set to be the same as in the PSAT</a:t>
            </a:r>
          </a:p>
          <a:p>
            <a:pPr marL="285750" indent="-285750">
              <a:spcBef>
                <a:spcPts val="600"/>
              </a:spcBef>
              <a:spcAft>
                <a:spcPts val="600"/>
              </a:spcAft>
              <a:buFont typeface="Arial" charset="0"/>
              <a:buChar char="•"/>
            </a:pPr>
            <a:r>
              <a:rPr lang="en-US" dirty="0"/>
              <a:t>Solver is chosen to be </a:t>
            </a:r>
            <a:r>
              <a:rPr lang="en-US" dirty="0" err="1"/>
              <a:t>Runge-Kutta</a:t>
            </a:r>
            <a:r>
              <a:rPr lang="en-US" dirty="0"/>
              <a:t> with a fixed step</a:t>
            </a:r>
          </a:p>
          <a:p>
            <a:pPr marL="285750" indent="-285750">
              <a:spcBef>
                <a:spcPts val="600"/>
              </a:spcBef>
              <a:spcAft>
                <a:spcPts val="600"/>
              </a:spcAft>
              <a:buFont typeface="Arial" charset="0"/>
              <a:buChar char="•"/>
            </a:pPr>
            <a:r>
              <a:rPr lang="en-US" dirty="0"/>
              <a:t>More solvers can be chosen in Modelica (depending on the tool), however, to match the model’s response with the one in PSAT choice of the solver is limited</a:t>
            </a:r>
          </a:p>
          <a:p>
            <a:endParaRPr lang="en-US" dirty="0"/>
          </a:p>
          <a:p>
            <a:endParaRPr lang="en-US" dirty="0"/>
          </a:p>
          <a:p>
            <a:endParaRPr lang="en-US" dirty="0"/>
          </a:p>
          <a:p>
            <a:endParaRPr lang="en-US" dirty="0"/>
          </a:p>
          <a:p>
            <a:endParaRPr lang="en-US" dirty="0"/>
          </a:p>
          <a:p>
            <a:endParaRPr lang="en-US" dirty="0"/>
          </a:p>
        </p:txBody>
      </p:sp>
      <p:pic>
        <p:nvPicPr>
          <p:cNvPr id="3" name="Picture 2"/>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051720" y="4149080"/>
            <a:ext cx="5067300" cy="1955800"/>
          </a:xfrm>
          <a:prstGeom prst="rect">
            <a:avLst/>
          </a:prstGeom>
        </p:spPr>
      </p:pic>
      <p:cxnSp>
        <p:nvCxnSpPr>
          <p:cNvPr id="14" name="Straight Arrow Connector 13"/>
          <p:cNvCxnSpPr/>
          <p:nvPr/>
        </p:nvCxnSpPr>
        <p:spPr>
          <a:xfrm flipH="1">
            <a:off x="5076056" y="4149080"/>
            <a:ext cx="1224136" cy="1800200"/>
          </a:xfrm>
          <a:prstGeom prst="straightConnector1">
            <a:avLst/>
          </a:prstGeom>
          <a:ln w="31750">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96967842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a:stretch>
            <a:fillRect/>
          </a:stretch>
        </p:blipFill>
        <p:spPr>
          <a:xfrm>
            <a:off x="4778662" y="1999777"/>
            <a:ext cx="4195187" cy="3429000"/>
          </a:xfrm>
          <a:prstGeom prst="rect">
            <a:avLst/>
          </a:prstGeom>
        </p:spPr>
      </p:pic>
      <p:sp>
        <p:nvSpPr>
          <p:cNvPr id="2" name="Title 1"/>
          <p:cNvSpPr>
            <a:spLocks noGrp="1"/>
          </p:cNvSpPr>
          <p:nvPr>
            <p:ph type="title"/>
          </p:nvPr>
        </p:nvSpPr>
        <p:spPr/>
        <p:txBody>
          <a:bodyPr/>
          <a:lstStyle/>
          <a:p>
            <a:r>
              <a:rPr lang="en-US" dirty="0"/>
              <a:t>Example 1</a:t>
            </a:r>
          </a:p>
        </p:txBody>
      </p:sp>
      <p:sp>
        <p:nvSpPr>
          <p:cNvPr id="8" name="Footer Placeholder 7"/>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34</a:t>
            </a:fld>
            <a:endParaRPr lang="en-US" dirty="0"/>
          </a:p>
        </p:txBody>
      </p:sp>
      <p:sp>
        <p:nvSpPr>
          <p:cNvPr id="3" name="Date Placeholder 2"/>
          <p:cNvSpPr>
            <a:spLocks noGrp="1"/>
          </p:cNvSpPr>
          <p:nvPr>
            <p:ph type="dt" sz="half" idx="12"/>
          </p:nvPr>
        </p:nvSpPr>
        <p:spPr/>
        <p:txBody>
          <a:bodyPr/>
          <a:lstStyle/>
          <a:p>
            <a:r>
              <a:rPr lang="sv-SE"/>
              <a:t>2016-11-20</a:t>
            </a:r>
          </a:p>
        </p:txBody>
      </p:sp>
      <p:sp>
        <p:nvSpPr>
          <p:cNvPr id="9" name="Content Placeholder 8"/>
          <p:cNvSpPr>
            <a:spLocks noGrp="1"/>
          </p:cNvSpPr>
          <p:nvPr>
            <p:ph idx="1"/>
          </p:nvPr>
        </p:nvSpPr>
        <p:spPr>
          <a:xfrm>
            <a:off x="338964" y="1582739"/>
            <a:ext cx="4328315" cy="4078286"/>
          </a:xfrm>
        </p:spPr>
        <p:txBody>
          <a:bodyPr/>
          <a:lstStyle/>
          <a:p>
            <a:r>
              <a:rPr lang="en-US" b="1" dirty="0"/>
              <a:t>Simulation</a:t>
            </a:r>
          </a:p>
          <a:p>
            <a:pPr marL="285750" indent="-285750">
              <a:spcBef>
                <a:spcPts val="600"/>
              </a:spcBef>
              <a:spcAft>
                <a:spcPts val="600"/>
              </a:spcAft>
              <a:buFont typeface="Arial" charset="0"/>
              <a:buChar char="•"/>
            </a:pPr>
            <a:r>
              <a:rPr lang="en-US" dirty="0"/>
              <a:t>Simulation time is set to 10s and the tolerance of the solver is set to 1e-6</a:t>
            </a:r>
          </a:p>
          <a:p>
            <a:pPr marL="285750" indent="-285750">
              <a:spcBef>
                <a:spcPts val="600"/>
              </a:spcBef>
              <a:spcAft>
                <a:spcPts val="600"/>
              </a:spcAft>
              <a:buFont typeface="Arial" charset="0"/>
              <a:buChar char="•"/>
            </a:pPr>
            <a:r>
              <a:rPr lang="en-US" dirty="0"/>
              <a:t>The time step is set to 0.0001</a:t>
            </a:r>
          </a:p>
          <a:p>
            <a:pPr>
              <a:spcBef>
                <a:spcPts val="600"/>
              </a:spcBef>
              <a:spcAft>
                <a:spcPts val="600"/>
              </a:spcAft>
            </a:pPr>
            <a:endParaRPr lang="en-US" dirty="0"/>
          </a:p>
          <a:p>
            <a:pPr marL="285750" indent="-285750">
              <a:spcBef>
                <a:spcPts val="600"/>
              </a:spcBef>
              <a:spcAft>
                <a:spcPts val="600"/>
              </a:spcAft>
              <a:buFont typeface="Arial" charset="0"/>
              <a:buChar char="•"/>
            </a:pPr>
            <a:endParaRPr lang="en-US" dirty="0"/>
          </a:p>
          <a:p>
            <a:endParaRPr lang="en-US" dirty="0"/>
          </a:p>
        </p:txBody>
      </p:sp>
      <p:sp>
        <p:nvSpPr>
          <p:cNvPr id="11" name="Rectangle 10"/>
          <p:cNvSpPr/>
          <p:nvPr/>
        </p:nvSpPr>
        <p:spPr>
          <a:xfrm>
            <a:off x="4964015" y="2573957"/>
            <a:ext cx="3807006" cy="1534827"/>
          </a:xfrm>
          <a:prstGeom prst="rect">
            <a:avLst/>
          </a:prstGeom>
          <a:no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cxnSp>
        <p:nvCxnSpPr>
          <p:cNvPr id="14" name="Straight Arrow Connector 13"/>
          <p:cNvCxnSpPr/>
          <p:nvPr/>
        </p:nvCxnSpPr>
        <p:spPr>
          <a:xfrm flipV="1">
            <a:off x="4348576" y="3368399"/>
            <a:ext cx="504056" cy="0"/>
          </a:xfrm>
          <a:prstGeom prst="straightConnector1">
            <a:avLst/>
          </a:prstGeom>
          <a:ln w="31750">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3194231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7" name="Footer Placeholder 6"/>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35</a:t>
            </a:fld>
            <a:endParaRPr lang="en-US" dirty="0"/>
          </a:p>
        </p:txBody>
      </p:sp>
      <p:sp>
        <p:nvSpPr>
          <p:cNvPr id="3" name="Date Placeholder 2"/>
          <p:cNvSpPr>
            <a:spLocks noGrp="1"/>
          </p:cNvSpPr>
          <p:nvPr>
            <p:ph type="dt" sz="half" idx="12"/>
          </p:nvPr>
        </p:nvSpPr>
        <p:spPr/>
        <p:txBody>
          <a:bodyPr/>
          <a:lstStyle/>
          <a:p>
            <a:r>
              <a:rPr lang="sv-SE"/>
              <a:t>2016-11-20</a:t>
            </a:r>
          </a:p>
        </p:txBody>
      </p:sp>
      <p:sp>
        <p:nvSpPr>
          <p:cNvPr id="10" name="Content Placeholder 9"/>
          <p:cNvSpPr>
            <a:spLocks noGrp="1"/>
          </p:cNvSpPr>
          <p:nvPr>
            <p:ph idx="1"/>
          </p:nvPr>
        </p:nvSpPr>
        <p:spPr/>
        <p:txBody>
          <a:bodyPr/>
          <a:lstStyle/>
          <a:p>
            <a:r>
              <a:rPr lang="en-US" b="1" dirty="0"/>
              <a:t>Simulation</a:t>
            </a:r>
          </a:p>
          <a:p>
            <a:pPr marL="342900" indent="-342900">
              <a:buFont typeface="Arial" panose="020B0604020202020204" pitchFamily="34" charset="0"/>
              <a:buChar char="•"/>
            </a:pPr>
            <a:r>
              <a:rPr lang="en-US" dirty="0"/>
              <a:t>By pressing the “Simulate” button on the toolbar, simulation of the model is executed</a:t>
            </a:r>
          </a:p>
          <a:p>
            <a:endParaRPr lang="en-US" dirty="0"/>
          </a:p>
          <a:p>
            <a:endParaRPr lang="en-US" dirty="0"/>
          </a:p>
          <a:p>
            <a:pPr marL="285750" indent="-285750">
              <a:spcBef>
                <a:spcPts val="600"/>
              </a:spcBef>
              <a:spcAft>
                <a:spcPts val="600"/>
              </a:spcAft>
              <a:buFont typeface="Arial" charset="0"/>
              <a:buChar char="•"/>
            </a:pPr>
            <a:r>
              <a:rPr lang="en-US" dirty="0"/>
              <a:t>Once the simulation is completed, </a:t>
            </a:r>
            <a:br>
              <a:rPr lang="en-US" dirty="0"/>
            </a:br>
            <a:r>
              <a:rPr lang="en-US" dirty="0"/>
              <a:t>the Variable Browser is populated with</a:t>
            </a:r>
            <a:br>
              <a:rPr lang="en-US" dirty="0"/>
            </a:br>
            <a:r>
              <a:rPr lang="en-US" dirty="0"/>
              <a:t>the simulation results</a:t>
            </a:r>
          </a:p>
          <a:p>
            <a:pPr marL="285750" indent="-285750">
              <a:spcBef>
                <a:spcPts val="600"/>
              </a:spcBef>
              <a:spcAft>
                <a:spcPts val="600"/>
              </a:spcAft>
              <a:buFont typeface="Arial" charset="0"/>
              <a:buChar char="•"/>
            </a:pPr>
            <a:endParaRPr lang="en-US" dirty="0"/>
          </a:p>
          <a:p>
            <a:pPr marL="285750" indent="-285750">
              <a:spcBef>
                <a:spcPts val="600"/>
              </a:spcBef>
              <a:spcAft>
                <a:spcPts val="600"/>
              </a:spcAft>
              <a:buFont typeface="Arial" charset="0"/>
              <a:buChar char="•"/>
            </a:pPr>
            <a:endParaRPr lang="en-US" dirty="0"/>
          </a:p>
          <a:p>
            <a:endParaRPr lang="en-US" dirty="0"/>
          </a:p>
        </p:txBody>
      </p:sp>
      <p:pic>
        <p:nvPicPr>
          <p:cNvPr id="8" name="Picture 7"/>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622278" y="2643259"/>
            <a:ext cx="8064896" cy="340156"/>
          </a:xfrm>
          <a:prstGeom prst="rect">
            <a:avLst/>
          </a:prstGeom>
        </p:spPr>
      </p:pic>
      <p:sp>
        <p:nvSpPr>
          <p:cNvPr id="14" name="Rectangle 13"/>
          <p:cNvSpPr/>
          <p:nvPr/>
        </p:nvSpPr>
        <p:spPr>
          <a:xfrm>
            <a:off x="6948264" y="2589362"/>
            <a:ext cx="370851" cy="479598"/>
          </a:xfrm>
          <a:prstGeom prst="rect">
            <a:avLst/>
          </a:prstGeom>
          <a:no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9" name="Picture 8"/>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5868145" y="3277699"/>
            <a:ext cx="1581166" cy="2383549"/>
          </a:xfrm>
          <a:prstGeom prst="rect">
            <a:avLst/>
          </a:prstGeom>
        </p:spPr>
      </p:pic>
    </p:spTree>
    <p:extLst>
      <p:ext uri="{BB962C8B-B14F-4D97-AF65-F5344CB8AC3E}">
        <p14:creationId xmlns:p14="http://schemas.microsoft.com/office/powerpoint/2010/main" val="135133088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36</a:t>
            </a:fld>
            <a:endParaRPr lang="en-US" dirty="0"/>
          </a:p>
        </p:txBody>
      </p:sp>
      <p:sp>
        <p:nvSpPr>
          <p:cNvPr id="5" name="TextBox 4"/>
          <p:cNvSpPr txBox="1"/>
          <p:nvPr/>
        </p:nvSpPr>
        <p:spPr>
          <a:xfrm>
            <a:off x="457200" y="1417638"/>
            <a:ext cx="5976664" cy="369332"/>
          </a:xfrm>
          <a:prstGeom prst="rect">
            <a:avLst/>
          </a:prstGeom>
          <a:noFill/>
        </p:spPr>
        <p:txBody>
          <a:bodyPr wrap="square" rtlCol="0">
            <a:spAutoFit/>
          </a:bodyPr>
          <a:lstStyle/>
          <a:p>
            <a:r>
              <a:rPr lang="en-US" b="1" dirty="0"/>
              <a:t>Simulation</a:t>
            </a:r>
          </a:p>
        </p:txBody>
      </p:sp>
      <p:sp>
        <p:nvSpPr>
          <p:cNvPr id="6" name="TextBox 5"/>
          <p:cNvSpPr txBox="1"/>
          <p:nvPr/>
        </p:nvSpPr>
        <p:spPr>
          <a:xfrm>
            <a:off x="611560" y="1786970"/>
            <a:ext cx="7704856" cy="2769989"/>
          </a:xfrm>
          <a:prstGeom prst="rect">
            <a:avLst/>
          </a:prstGeom>
          <a:noFill/>
        </p:spPr>
        <p:txBody>
          <a:bodyPr wrap="square" rtlCol="0">
            <a:spAutoFit/>
          </a:bodyPr>
          <a:lstStyle/>
          <a:p>
            <a:pPr marL="285750" indent="-285750">
              <a:spcBef>
                <a:spcPts val="600"/>
              </a:spcBef>
              <a:spcAft>
                <a:spcPts val="600"/>
              </a:spcAft>
              <a:buFont typeface="Arial" charset="0"/>
              <a:buChar char="•"/>
            </a:pPr>
            <a:r>
              <a:rPr lang="en-US" dirty="0"/>
              <a:t>To display the simulation results or compare it with the results from PSAT, one can mark the check-box next to the variable which will be shown on the plot</a:t>
            </a:r>
          </a:p>
          <a:p>
            <a:pPr marL="285750" indent="-285750">
              <a:spcBef>
                <a:spcPts val="600"/>
              </a:spcBef>
              <a:spcAft>
                <a:spcPts val="600"/>
              </a:spcAft>
              <a:buFont typeface="Arial" charset="0"/>
              <a:buChar char="•"/>
            </a:pPr>
            <a:r>
              <a:rPr lang="en-US" dirty="0"/>
              <a:t>To show the terminal voltage of the generator in PSAT and </a:t>
            </a:r>
            <a:r>
              <a:rPr lang="en-US" dirty="0" err="1"/>
              <a:t>modelica</a:t>
            </a:r>
            <a:r>
              <a:rPr lang="en-US" dirty="0"/>
              <a:t>, variables “</a:t>
            </a:r>
            <a:r>
              <a:rPr lang="en-US" dirty="0" err="1"/>
              <a:t>PSAT_dyn.v</a:t>
            </a:r>
            <a:r>
              <a:rPr lang="en-US" dirty="0"/>
              <a:t>” and “Example_1.G1.machine.v” have to be selected</a:t>
            </a:r>
          </a:p>
          <a:p>
            <a:pPr marL="285750" indent="-285750">
              <a:spcBef>
                <a:spcPts val="600"/>
              </a:spcBef>
              <a:spcAft>
                <a:spcPts val="600"/>
              </a:spcAft>
              <a:buFont typeface="Arial" charset="0"/>
              <a:buChar char="•"/>
            </a:pPr>
            <a:endParaRPr lang="en-US" dirty="0"/>
          </a:p>
          <a:p>
            <a:pPr marL="285750" indent="-285750">
              <a:spcBef>
                <a:spcPts val="600"/>
              </a:spcBef>
              <a:spcAft>
                <a:spcPts val="600"/>
              </a:spcAft>
              <a:buFont typeface="Arial" charset="0"/>
              <a:buChar char="•"/>
            </a:pPr>
            <a:endParaRPr lang="en-US" dirty="0"/>
          </a:p>
        </p:txBody>
      </p:sp>
      <p:grpSp>
        <p:nvGrpSpPr>
          <p:cNvPr id="10" name="Group 9"/>
          <p:cNvGrpSpPr/>
          <p:nvPr/>
        </p:nvGrpSpPr>
        <p:grpSpPr>
          <a:xfrm>
            <a:off x="4860031" y="3861048"/>
            <a:ext cx="1800201" cy="1991124"/>
            <a:chOff x="5364088" y="3586361"/>
            <a:chExt cx="2596852" cy="2904520"/>
          </a:xfrm>
        </p:grpSpPr>
        <p:pic>
          <p:nvPicPr>
            <p:cNvPr id="8" name="Picture 7"/>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5364088" y="3586361"/>
              <a:ext cx="2308820" cy="1435100"/>
            </a:xfrm>
            <a:prstGeom prst="rect">
              <a:avLst/>
            </a:prstGeom>
          </p:spPr>
        </p:pic>
        <p:pic>
          <p:nvPicPr>
            <p:cNvPr id="9" name="Picture 8"/>
            <p:cNvPicPr>
              <a:picLocks noChangeAspect="1"/>
            </p:cNvPicPr>
            <p:nvPr/>
          </p:nvPicPr>
          <p:blipFill rotWithShape="1">
            <a:blip r:embed="rId4" cstate="hqprint">
              <a:extLst>
                <a:ext uri="{28A0092B-C50C-407E-A947-70E740481C1C}">
                  <a14:useLocalDpi xmlns:a14="http://schemas.microsoft.com/office/drawing/2010/main"/>
                </a:ext>
              </a:extLst>
            </a:blip>
            <a:srcRect/>
            <a:stretch/>
          </p:blipFill>
          <p:spPr>
            <a:xfrm>
              <a:off x="5364088" y="5005204"/>
              <a:ext cx="2596852" cy="1485677"/>
            </a:xfrm>
            <a:prstGeom prst="rect">
              <a:avLst/>
            </a:prstGeom>
          </p:spPr>
        </p:pic>
      </p:grpSp>
      <p:pic>
        <p:nvPicPr>
          <p:cNvPr id="11" name="Picture 10"/>
          <p:cNvPicPr>
            <a:picLocks noChangeAspect="1"/>
          </p:cNvPicPr>
          <p:nvPr/>
        </p:nvPicPr>
        <p:blipFill rotWithShape="1">
          <a:blip r:embed="rId5" cstate="hqprint">
            <a:extLst>
              <a:ext uri="{28A0092B-C50C-407E-A947-70E740481C1C}">
                <a14:useLocalDpi xmlns:a14="http://schemas.microsoft.com/office/drawing/2010/main"/>
              </a:ext>
            </a:extLst>
          </a:blip>
          <a:srcRect/>
          <a:stretch/>
        </p:blipFill>
        <p:spPr>
          <a:xfrm>
            <a:off x="1205663" y="3861047"/>
            <a:ext cx="1878184" cy="1991124"/>
          </a:xfrm>
          <a:prstGeom prst="rect">
            <a:avLst/>
          </a:prstGeom>
        </p:spPr>
      </p:pic>
      <p:cxnSp>
        <p:nvCxnSpPr>
          <p:cNvPr id="16" name="Straight Arrow Connector 15"/>
          <p:cNvCxnSpPr/>
          <p:nvPr/>
        </p:nvCxnSpPr>
        <p:spPr>
          <a:xfrm flipH="1">
            <a:off x="3083847" y="4149080"/>
            <a:ext cx="1008112" cy="0"/>
          </a:xfrm>
          <a:prstGeom prst="straightConnector1">
            <a:avLst/>
          </a:prstGeom>
          <a:ln w="31750">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cxnSp>
        <p:nvCxnSpPr>
          <p:cNvPr id="17" name="Straight Arrow Connector 16"/>
          <p:cNvCxnSpPr/>
          <p:nvPr/>
        </p:nvCxnSpPr>
        <p:spPr>
          <a:xfrm flipH="1">
            <a:off x="6523699" y="5740725"/>
            <a:ext cx="1008112" cy="0"/>
          </a:xfrm>
          <a:prstGeom prst="straightConnector1">
            <a:avLst/>
          </a:prstGeom>
          <a:ln w="31750">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sp>
        <p:nvSpPr>
          <p:cNvPr id="3" name="Date Placeholder 2"/>
          <p:cNvSpPr>
            <a:spLocks noGrp="1"/>
          </p:cNvSpPr>
          <p:nvPr>
            <p:ph type="dt" sz="half" idx="12"/>
          </p:nvPr>
        </p:nvSpPr>
        <p:spPr/>
        <p:txBody>
          <a:bodyPr/>
          <a:lstStyle/>
          <a:p>
            <a:r>
              <a:rPr lang="sv-SE"/>
              <a:t>2016-11-20</a:t>
            </a:r>
          </a:p>
        </p:txBody>
      </p:sp>
      <p:sp>
        <p:nvSpPr>
          <p:cNvPr id="7" name="Footer Placeholder 6"/>
          <p:cNvSpPr>
            <a:spLocks noGrp="1"/>
          </p:cNvSpPr>
          <p:nvPr>
            <p:ph type="ftr" sz="quarter" idx="10"/>
          </p:nvPr>
        </p:nvSpPr>
        <p:spPr/>
        <p:txBody>
          <a:bodyPr/>
          <a:lstStyle/>
          <a:p>
            <a:r>
              <a:rPr lang="sv-SE"/>
              <a:t>OpenIPSL Tutorial</a:t>
            </a:r>
          </a:p>
        </p:txBody>
      </p:sp>
    </p:spTree>
    <p:extLst>
      <p:ext uri="{BB962C8B-B14F-4D97-AF65-F5344CB8AC3E}">
        <p14:creationId xmlns:p14="http://schemas.microsoft.com/office/powerpoint/2010/main" val="3116713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9" name="Footer Placeholder 8"/>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37</a:t>
            </a:fld>
            <a:endParaRPr lang="en-US" dirty="0"/>
          </a:p>
        </p:txBody>
      </p:sp>
      <p:sp>
        <p:nvSpPr>
          <p:cNvPr id="8" name="Date Placeholder 7"/>
          <p:cNvSpPr>
            <a:spLocks noGrp="1"/>
          </p:cNvSpPr>
          <p:nvPr>
            <p:ph type="dt" sz="half" idx="12"/>
          </p:nvPr>
        </p:nvSpPr>
        <p:spPr/>
        <p:txBody>
          <a:bodyPr/>
          <a:lstStyle/>
          <a:p>
            <a:r>
              <a:rPr lang="sv-SE"/>
              <a:t>2016-11-20</a:t>
            </a:r>
          </a:p>
        </p:txBody>
      </p:sp>
      <p:sp>
        <p:nvSpPr>
          <p:cNvPr id="10" name="Content Placeholder 9"/>
          <p:cNvSpPr>
            <a:spLocks noGrp="1"/>
          </p:cNvSpPr>
          <p:nvPr>
            <p:ph idx="1"/>
          </p:nvPr>
        </p:nvSpPr>
        <p:spPr/>
        <p:txBody>
          <a:bodyPr/>
          <a:lstStyle/>
          <a:p>
            <a:r>
              <a:rPr lang="en-US" b="1" dirty="0"/>
              <a:t>Simulation</a:t>
            </a:r>
          </a:p>
          <a:p>
            <a:pPr marL="285750" indent="-285750">
              <a:spcBef>
                <a:spcPts val="600"/>
              </a:spcBef>
              <a:spcAft>
                <a:spcPts val="600"/>
              </a:spcAft>
              <a:buFont typeface="Arial" charset="0"/>
              <a:buChar char="•"/>
            </a:pPr>
            <a:r>
              <a:rPr lang="en-US" dirty="0"/>
              <a:t>To display the simulation results or compare it with the results from PSAT, one can mark the check-box next to the variable which will be shown on the plot</a:t>
            </a:r>
          </a:p>
          <a:p>
            <a:pPr marL="285750" indent="-285750">
              <a:spcBef>
                <a:spcPts val="600"/>
              </a:spcBef>
              <a:spcAft>
                <a:spcPts val="600"/>
              </a:spcAft>
              <a:buFont typeface="Arial" charset="0"/>
              <a:buChar char="•"/>
            </a:pPr>
            <a:r>
              <a:rPr lang="en-US" dirty="0"/>
              <a:t>To show the terminal voltage of the generator in PSAT and </a:t>
            </a:r>
            <a:r>
              <a:rPr lang="en-US" dirty="0" err="1"/>
              <a:t>modelica</a:t>
            </a:r>
            <a:r>
              <a:rPr lang="en-US" dirty="0"/>
              <a:t>, variables “</a:t>
            </a:r>
            <a:r>
              <a:rPr lang="en-US" dirty="0" err="1"/>
              <a:t>PSAT_dyn.csv.v</a:t>
            </a:r>
            <a:r>
              <a:rPr lang="en-US" dirty="0"/>
              <a:t>” and “G1.machine.v” have to be selected</a:t>
            </a:r>
          </a:p>
          <a:p>
            <a:pPr marL="285750" indent="-285750">
              <a:spcBef>
                <a:spcPts val="600"/>
              </a:spcBef>
              <a:spcAft>
                <a:spcPts val="600"/>
              </a:spcAft>
              <a:buFont typeface="Arial" charset="0"/>
              <a:buChar char="•"/>
            </a:pPr>
            <a:endParaRPr lang="en-US" dirty="0"/>
          </a:p>
          <a:p>
            <a:pPr marL="285750" indent="-285750">
              <a:spcBef>
                <a:spcPts val="600"/>
              </a:spcBef>
              <a:spcAft>
                <a:spcPts val="600"/>
              </a:spcAft>
              <a:buFont typeface="Arial" charset="0"/>
              <a:buChar char="•"/>
            </a:pPr>
            <a:endParaRPr lang="en-US" dirty="0"/>
          </a:p>
          <a:p>
            <a:endParaRPr lang="en-US" dirty="0"/>
          </a:p>
        </p:txBody>
      </p:sp>
      <p:grpSp>
        <p:nvGrpSpPr>
          <p:cNvPr id="11" name="Group 10"/>
          <p:cNvGrpSpPr/>
          <p:nvPr/>
        </p:nvGrpSpPr>
        <p:grpSpPr>
          <a:xfrm>
            <a:off x="1410761" y="3717032"/>
            <a:ext cx="5609511" cy="2166933"/>
            <a:chOff x="1410761" y="3423841"/>
            <a:chExt cx="5609511" cy="2166933"/>
          </a:xfrm>
        </p:grpSpPr>
        <p:pic>
          <p:nvPicPr>
            <p:cNvPr id="3" name="Picture 2"/>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410761" y="3620592"/>
              <a:ext cx="2578100" cy="1028700"/>
            </a:xfrm>
            <a:prstGeom prst="rect">
              <a:avLst/>
            </a:prstGeom>
          </p:spPr>
        </p:pic>
        <p:cxnSp>
          <p:nvCxnSpPr>
            <p:cNvPr id="16" name="Straight Arrow Connector 15"/>
            <p:cNvCxnSpPr/>
            <p:nvPr/>
          </p:nvCxnSpPr>
          <p:spPr>
            <a:xfrm flipH="1">
              <a:off x="2051720" y="4134942"/>
              <a:ext cx="1008112" cy="0"/>
            </a:xfrm>
            <a:prstGeom prst="straightConnector1">
              <a:avLst/>
            </a:prstGeom>
            <a:ln w="31750">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pic>
          <p:nvPicPr>
            <p:cNvPr id="12" name="Picture 11"/>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4666149" y="4725144"/>
              <a:ext cx="2282115" cy="865630"/>
            </a:xfrm>
            <a:prstGeom prst="rect">
              <a:avLst/>
            </a:prstGeom>
          </p:spPr>
        </p:pic>
        <p:pic>
          <p:nvPicPr>
            <p:cNvPr id="7" name="Picture 6"/>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4647099" y="3423841"/>
              <a:ext cx="2373173" cy="1339404"/>
            </a:xfrm>
            <a:prstGeom prst="rect">
              <a:avLst/>
            </a:prstGeom>
          </p:spPr>
        </p:pic>
        <p:cxnSp>
          <p:nvCxnSpPr>
            <p:cNvPr id="17" name="Straight Arrow Connector 16"/>
            <p:cNvCxnSpPr/>
            <p:nvPr/>
          </p:nvCxnSpPr>
          <p:spPr>
            <a:xfrm flipH="1">
              <a:off x="5136994" y="4819764"/>
              <a:ext cx="1008112" cy="0"/>
            </a:xfrm>
            <a:prstGeom prst="straightConnector1">
              <a:avLst/>
            </a:prstGeom>
            <a:ln w="31750">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198754533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6" name="Footer Placeholder 5"/>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38</a:t>
            </a:fld>
            <a:endParaRPr lang="en-US" dirty="0"/>
          </a:p>
        </p:txBody>
      </p:sp>
      <p:sp>
        <p:nvSpPr>
          <p:cNvPr id="3" name="Date Placeholder 2"/>
          <p:cNvSpPr>
            <a:spLocks noGrp="1"/>
          </p:cNvSpPr>
          <p:nvPr>
            <p:ph type="dt" sz="half" idx="12"/>
          </p:nvPr>
        </p:nvSpPr>
        <p:spPr/>
        <p:txBody>
          <a:bodyPr/>
          <a:lstStyle/>
          <a:p>
            <a:r>
              <a:rPr lang="sv-SE"/>
              <a:t>2016-11-20</a:t>
            </a:r>
          </a:p>
        </p:txBody>
      </p:sp>
      <p:sp>
        <p:nvSpPr>
          <p:cNvPr id="7" name="Content Placeholder 6"/>
          <p:cNvSpPr>
            <a:spLocks noGrp="1"/>
          </p:cNvSpPr>
          <p:nvPr>
            <p:ph idx="1"/>
          </p:nvPr>
        </p:nvSpPr>
        <p:spPr/>
        <p:txBody>
          <a:bodyPr/>
          <a:lstStyle/>
          <a:p>
            <a:r>
              <a:rPr lang="en-US" b="1" dirty="0"/>
              <a:t>Simulation</a:t>
            </a:r>
          </a:p>
          <a:p>
            <a:pPr marL="342900" indent="-342900">
              <a:buFont typeface="Arial" panose="020B0604020202020204" pitchFamily="34" charset="0"/>
              <a:buChar char="•"/>
            </a:pPr>
            <a:r>
              <a:rPr lang="en-US" dirty="0"/>
              <a:t>To be able to distinguish different signals, let’s adjust the thickness and the pattern of the signal line</a:t>
            </a:r>
          </a:p>
          <a:p>
            <a:endParaRPr lang="en-US" dirty="0"/>
          </a:p>
        </p:txBody>
      </p:sp>
      <p:grpSp>
        <p:nvGrpSpPr>
          <p:cNvPr id="9" name="Group 8"/>
          <p:cNvGrpSpPr/>
          <p:nvPr/>
        </p:nvGrpSpPr>
        <p:grpSpPr>
          <a:xfrm>
            <a:off x="748771" y="2636912"/>
            <a:ext cx="7279791" cy="3771105"/>
            <a:chOff x="748771" y="2585245"/>
            <a:chExt cx="7279791" cy="3771105"/>
          </a:xfrm>
        </p:grpSpPr>
        <p:pic>
          <p:nvPicPr>
            <p:cNvPr id="8" name="Picture 7"/>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748771" y="2585245"/>
              <a:ext cx="3262110" cy="3737530"/>
            </a:xfrm>
            <a:prstGeom prst="rect">
              <a:avLst/>
            </a:prstGeom>
          </p:spPr>
        </p:pic>
        <p:cxnSp>
          <p:nvCxnSpPr>
            <p:cNvPr id="14" name="Straight Arrow Connector 13"/>
            <p:cNvCxnSpPr/>
            <p:nvPr/>
          </p:nvCxnSpPr>
          <p:spPr>
            <a:xfrm flipV="1">
              <a:off x="3836800" y="2936157"/>
              <a:ext cx="0" cy="792088"/>
            </a:xfrm>
            <a:prstGeom prst="straightConnector1">
              <a:avLst/>
            </a:prstGeom>
            <a:ln w="31750">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sp>
          <p:nvSpPr>
            <p:cNvPr id="15" name="Rectangle 14"/>
            <p:cNvSpPr/>
            <p:nvPr/>
          </p:nvSpPr>
          <p:spPr>
            <a:xfrm>
              <a:off x="3578833" y="2585245"/>
              <a:ext cx="482306" cy="303951"/>
            </a:xfrm>
            <a:prstGeom prst="rect">
              <a:avLst/>
            </a:prstGeom>
            <a:no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cxnSp>
          <p:nvCxnSpPr>
            <p:cNvPr id="18" name="Straight Arrow Connector 17"/>
            <p:cNvCxnSpPr/>
            <p:nvPr/>
          </p:nvCxnSpPr>
          <p:spPr>
            <a:xfrm flipH="1">
              <a:off x="2379826" y="5404450"/>
              <a:ext cx="604800" cy="0"/>
            </a:xfrm>
            <a:prstGeom prst="straightConnector1">
              <a:avLst/>
            </a:prstGeom>
            <a:ln w="31750">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cxnSp>
          <p:nvCxnSpPr>
            <p:cNvPr id="20" name="Straight Arrow Connector 19"/>
            <p:cNvCxnSpPr/>
            <p:nvPr/>
          </p:nvCxnSpPr>
          <p:spPr>
            <a:xfrm flipH="1">
              <a:off x="2379826" y="5620474"/>
              <a:ext cx="604800" cy="0"/>
            </a:xfrm>
            <a:prstGeom prst="straightConnector1">
              <a:avLst/>
            </a:prstGeom>
            <a:ln w="31750">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cxnSp>
          <p:nvCxnSpPr>
            <p:cNvPr id="21" name="Straight Arrow Connector 20"/>
            <p:cNvCxnSpPr/>
            <p:nvPr/>
          </p:nvCxnSpPr>
          <p:spPr>
            <a:xfrm flipH="1">
              <a:off x="1540859" y="3728245"/>
              <a:ext cx="604800" cy="0"/>
            </a:xfrm>
            <a:prstGeom prst="straightConnector1">
              <a:avLst/>
            </a:prstGeom>
            <a:ln w="31750">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pic>
          <p:nvPicPr>
            <p:cNvPr id="22" name="Picture 21"/>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4839166" y="2719462"/>
              <a:ext cx="3189396" cy="3636888"/>
            </a:xfrm>
            <a:prstGeom prst="rect">
              <a:avLst/>
            </a:prstGeom>
          </p:spPr>
        </p:pic>
        <p:cxnSp>
          <p:nvCxnSpPr>
            <p:cNvPr id="23" name="Straight Arrow Connector 22"/>
            <p:cNvCxnSpPr/>
            <p:nvPr/>
          </p:nvCxnSpPr>
          <p:spPr>
            <a:xfrm flipH="1">
              <a:off x="5829064" y="3604250"/>
              <a:ext cx="604800" cy="0"/>
            </a:xfrm>
            <a:prstGeom prst="straightConnector1">
              <a:avLst/>
            </a:prstGeom>
            <a:ln w="31750">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cxnSp>
          <p:nvCxnSpPr>
            <p:cNvPr id="25" name="Straight Arrow Connector 24"/>
            <p:cNvCxnSpPr/>
            <p:nvPr/>
          </p:nvCxnSpPr>
          <p:spPr>
            <a:xfrm flipH="1">
              <a:off x="6433864" y="5377737"/>
              <a:ext cx="604800" cy="0"/>
            </a:xfrm>
            <a:prstGeom prst="straightConnector1">
              <a:avLst/>
            </a:prstGeom>
            <a:ln w="31750">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cxnSp>
          <p:nvCxnSpPr>
            <p:cNvPr id="26" name="Straight Arrow Connector 25"/>
            <p:cNvCxnSpPr/>
            <p:nvPr/>
          </p:nvCxnSpPr>
          <p:spPr>
            <a:xfrm flipH="1">
              <a:off x="6433864" y="5593761"/>
              <a:ext cx="604800" cy="0"/>
            </a:xfrm>
            <a:prstGeom prst="straightConnector1">
              <a:avLst/>
            </a:prstGeom>
            <a:ln w="31750">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56636668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8" name="Footer Placeholder 7"/>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39</a:t>
            </a:fld>
            <a:endParaRPr lang="en-US" dirty="0"/>
          </a:p>
        </p:txBody>
      </p:sp>
      <p:sp>
        <p:nvSpPr>
          <p:cNvPr id="3" name="Date Placeholder 2"/>
          <p:cNvSpPr>
            <a:spLocks noGrp="1"/>
          </p:cNvSpPr>
          <p:nvPr>
            <p:ph type="dt" sz="half" idx="12"/>
          </p:nvPr>
        </p:nvSpPr>
        <p:spPr/>
        <p:txBody>
          <a:bodyPr/>
          <a:lstStyle/>
          <a:p>
            <a:r>
              <a:rPr lang="sv-SE"/>
              <a:t>2016-11-20</a:t>
            </a:r>
          </a:p>
        </p:txBody>
      </p:sp>
      <p:sp>
        <p:nvSpPr>
          <p:cNvPr id="9" name="Content Placeholder 8"/>
          <p:cNvSpPr>
            <a:spLocks noGrp="1"/>
          </p:cNvSpPr>
          <p:nvPr>
            <p:ph idx="1"/>
          </p:nvPr>
        </p:nvSpPr>
        <p:spPr/>
        <p:txBody>
          <a:bodyPr/>
          <a:lstStyle/>
          <a:p>
            <a:r>
              <a:rPr lang="en-US" b="1" dirty="0"/>
              <a:t>Simulation</a:t>
            </a:r>
          </a:p>
          <a:p>
            <a:pPr marL="342900" indent="-342900">
              <a:buFont typeface="Arial" panose="020B0604020202020204" pitchFamily="34" charset="0"/>
              <a:buChar char="•"/>
            </a:pPr>
            <a:r>
              <a:rPr lang="en-US" dirty="0"/>
              <a:t>Previous steps produce the plot shown in the figure below showing that the Modelica produces the same simulation results as the PSAT does</a:t>
            </a:r>
          </a:p>
          <a:p>
            <a:endParaRPr lang="en-US" dirty="0"/>
          </a:p>
        </p:txBody>
      </p:sp>
      <p:pic>
        <p:nvPicPr>
          <p:cNvPr id="7" name="Picture 6"/>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123728" y="2636912"/>
            <a:ext cx="4680521" cy="3254624"/>
          </a:xfrm>
          <a:prstGeom prst="rect">
            <a:avLst/>
          </a:prstGeom>
        </p:spPr>
      </p:pic>
    </p:spTree>
    <p:extLst>
      <p:ext uri="{BB962C8B-B14F-4D97-AF65-F5344CB8AC3E}">
        <p14:creationId xmlns:p14="http://schemas.microsoft.com/office/powerpoint/2010/main" val="127728406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a:srcRect b="32342"/>
          <a:stretch/>
        </p:blipFill>
        <p:spPr>
          <a:xfrm>
            <a:off x="611117" y="4064508"/>
            <a:ext cx="5320884" cy="1690536"/>
          </a:xfrm>
          <a:prstGeom prst="rect">
            <a:avLst/>
          </a:prstGeom>
        </p:spPr>
      </p:pic>
      <p:sp>
        <p:nvSpPr>
          <p:cNvPr id="3" name="Content Placeholder 2"/>
          <p:cNvSpPr>
            <a:spLocks noGrp="1"/>
          </p:cNvSpPr>
          <p:nvPr>
            <p:ph idx="1"/>
          </p:nvPr>
        </p:nvSpPr>
        <p:spPr/>
        <p:txBody>
          <a:bodyPr/>
          <a:lstStyle/>
          <a:p>
            <a:r>
              <a:rPr lang="en-US" dirty="0"/>
              <a:t>External libraries, such as </a:t>
            </a:r>
            <a:r>
              <a:rPr lang="en-US" dirty="0" err="1"/>
              <a:t>OpenIPSL</a:t>
            </a:r>
            <a:r>
              <a:rPr lang="en-US" dirty="0"/>
              <a:t>, must be loaded in </a:t>
            </a:r>
            <a:r>
              <a:rPr lang="en-US" dirty="0" err="1"/>
              <a:t>OMEdit</a:t>
            </a:r>
            <a:r>
              <a:rPr lang="en-US" dirty="0"/>
              <a:t> to be used:</a:t>
            </a:r>
          </a:p>
          <a:p>
            <a:pPr marL="342900" indent="-342900">
              <a:buFont typeface="Arial" panose="020B0604020202020204" pitchFamily="34" charset="0"/>
              <a:buChar char="•"/>
            </a:pPr>
            <a:r>
              <a:rPr lang="en-US" dirty="0"/>
              <a:t>Unzip the package downloaded at the previous step</a:t>
            </a:r>
          </a:p>
          <a:p>
            <a:pPr marL="342900" indent="-342900">
              <a:buFont typeface="Arial" panose="020B0604020202020204" pitchFamily="34" charset="0"/>
              <a:buChar char="•"/>
            </a:pPr>
            <a:r>
              <a:rPr lang="en-US" dirty="0"/>
              <a:t>Open </a:t>
            </a:r>
            <a:r>
              <a:rPr lang="en-US" dirty="0" err="1"/>
              <a:t>OpenModelica</a:t>
            </a:r>
            <a:r>
              <a:rPr lang="en-US" dirty="0"/>
              <a:t> Connection Editor (</a:t>
            </a:r>
            <a:r>
              <a:rPr lang="en-US" dirty="0" err="1"/>
              <a:t>OMEdit</a:t>
            </a:r>
            <a:r>
              <a:rPr lang="en-US" dirty="0"/>
              <a:t>) </a:t>
            </a:r>
          </a:p>
          <a:p>
            <a:pPr marL="342900" indent="-342900">
              <a:buFont typeface="Arial" panose="020B0604020202020204" pitchFamily="34" charset="0"/>
              <a:buChar char="•"/>
            </a:pPr>
            <a:r>
              <a:rPr lang="en-US" dirty="0"/>
              <a:t>Browse Windows Explorer to the location of the unzipped folder </a:t>
            </a:r>
          </a:p>
          <a:p>
            <a:pPr marL="342900" indent="-342900">
              <a:buFont typeface="Arial" panose="020B0604020202020204" pitchFamily="34" charset="0"/>
              <a:buChar char="•"/>
            </a:pPr>
            <a:r>
              <a:rPr lang="en-US" dirty="0"/>
              <a:t>Drag &amp; drop the </a:t>
            </a:r>
            <a:r>
              <a:rPr lang="en-US" b="1" dirty="0"/>
              <a:t>OpenIPSL.mo</a:t>
            </a:r>
            <a:r>
              <a:rPr lang="en-US" dirty="0"/>
              <a:t> file to the </a:t>
            </a:r>
            <a:r>
              <a:rPr lang="en-US" b="1" dirty="0"/>
              <a:t>Library Browser</a:t>
            </a:r>
            <a:r>
              <a:rPr lang="en-US" dirty="0"/>
              <a:t> in </a:t>
            </a:r>
            <a:r>
              <a:rPr lang="en-US" dirty="0" err="1"/>
              <a:t>OMEdit</a:t>
            </a:r>
            <a:r>
              <a:rPr lang="en-US" dirty="0"/>
              <a:t>.</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a:p>
        </p:txBody>
      </p:sp>
      <p:sp>
        <p:nvSpPr>
          <p:cNvPr id="2" name="Title 1"/>
          <p:cNvSpPr>
            <a:spLocks noGrp="1"/>
          </p:cNvSpPr>
          <p:nvPr>
            <p:ph type="title"/>
          </p:nvPr>
        </p:nvSpPr>
        <p:spPr/>
        <p:txBody>
          <a:bodyPr/>
          <a:lstStyle/>
          <a:p>
            <a:r>
              <a:rPr lang="en-US" dirty="0"/>
              <a:t>Load the </a:t>
            </a:r>
            <a:r>
              <a:rPr lang="en-US" dirty="0" err="1"/>
              <a:t>OpenIPSL</a:t>
            </a:r>
            <a:r>
              <a:rPr lang="en-US" dirty="0"/>
              <a:t> to </a:t>
            </a:r>
            <a:r>
              <a:rPr lang="en-US" dirty="0" err="1"/>
              <a:t>OMEdit</a:t>
            </a:r>
            <a:endParaRPr lang="en-US" dirty="0"/>
          </a:p>
        </p:txBody>
      </p:sp>
      <p:sp>
        <p:nvSpPr>
          <p:cNvPr id="9" name="Content Placeholder 2"/>
          <p:cNvSpPr txBox="1">
            <a:spLocks/>
          </p:cNvSpPr>
          <p:nvPr/>
        </p:nvSpPr>
        <p:spPr>
          <a:xfrm>
            <a:off x="467544" y="1650798"/>
            <a:ext cx="8076875" cy="3993206"/>
          </a:xfrm>
          <a:prstGeom prst="rect">
            <a:avLst/>
          </a:prstGeom>
        </p:spPr>
        <p:txBody>
          <a:bodyPr vert="horz" lIns="0" tIns="0" rIns="0" bIns="0" rtlCol="0">
            <a:normAutofit/>
          </a:bodyPr>
          <a:lstStyle>
            <a:lvl1pPr marL="0" indent="0" algn="l" defTabSz="912931" rtl="0" eaLnBrk="1" latinLnBrk="0" hangingPunct="1">
              <a:lnSpc>
                <a:spcPct val="100000"/>
              </a:lnSpc>
              <a:spcBef>
                <a:spcPct val="20000"/>
              </a:spcBef>
              <a:buFont typeface="Arial" pitchFamily="34" charset="0"/>
              <a:buNone/>
              <a:defRPr sz="2000" kern="1200">
                <a:solidFill>
                  <a:schemeClr val="tx1"/>
                </a:solidFill>
                <a:latin typeface="+mn-lt"/>
                <a:ea typeface="+mn-ea"/>
                <a:cs typeface="+mn-cs"/>
              </a:defRPr>
            </a:lvl1pPr>
            <a:lvl2pPr marL="355028" indent="-355028" algn="l" defTabSz="912931"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2pPr>
            <a:lvl3pPr marL="722737" indent="-367708" algn="l" defTabSz="912931"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3pPr>
            <a:lvl4pPr marL="1074596" indent="-351863" algn="l" defTabSz="912931"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4pPr>
            <a:lvl5pPr marL="1532646" indent="-456463" algn="l" defTabSz="912931"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5pPr>
            <a:lvl6pPr marL="2510560" indent="-228230" algn="l" defTabSz="91293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7027" indent="-228230" algn="l" defTabSz="91293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3492" indent="-228230" algn="l" defTabSz="91293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79959" indent="-228230" algn="l" defTabSz="912931"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2931" rtl="0" eaLnBrk="1" fontAlgn="auto" latinLnBrk="0" hangingPunct="1">
              <a:lnSpc>
                <a:spcPct val="100000"/>
              </a:lnSpc>
              <a:spcBef>
                <a:spcPct val="20000"/>
              </a:spcBef>
              <a:spcAft>
                <a:spcPts val="0"/>
              </a:spcAft>
              <a:buClrTx/>
              <a:buSzTx/>
              <a:buFont typeface="Arial" pitchFamily="34" charset="0"/>
              <a:buNone/>
              <a:tabLst/>
              <a:defRPr/>
            </a:pPr>
            <a:endParaRPr kumimoji="0" lang="en-US" sz="20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2931" rtl="0" eaLnBrk="1" fontAlgn="auto" latinLnBrk="0" hangingPunct="1">
              <a:lnSpc>
                <a:spcPct val="100000"/>
              </a:lnSpc>
              <a:spcBef>
                <a:spcPct val="20000"/>
              </a:spcBef>
              <a:spcAft>
                <a:spcPts val="0"/>
              </a:spcAft>
              <a:buClrTx/>
              <a:buSzTx/>
              <a:buFont typeface="Arial" pitchFamily="34" charset="0"/>
              <a:buNone/>
              <a:tabLst/>
              <a:defRPr/>
            </a:pPr>
            <a:endParaRPr kumimoji="0" lang="en-US" sz="20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2931" rtl="0" eaLnBrk="1" fontAlgn="auto" latinLnBrk="0" hangingPunct="1">
              <a:lnSpc>
                <a:spcPct val="100000"/>
              </a:lnSpc>
              <a:spcBef>
                <a:spcPct val="20000"/>
              </a:spcBef>
              <a:spcAft>
                <a:spcPts val="0"/>
              </a:spcAft>
              <a:buClrTx/>
              <a:buSzTx/>
              <a:buFont typeface="Arial" pitchFamily="34" charset="0"/>
              <a:buNone/>
              <a:tabLst/>
              <a:defRPr/>
            </a:pPr>
            <a:endParaRPr kumimoji="0" lang="en-US" sz="20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2931" rtl="0" eaLnBrk="1" fontAlgn="auto" latinLnBrk="0" hangingPunct="1">
              <a:lnSpc>
                <a:spcPct val="100000"/>
              </a:lnSpc>
              <a:spcBef>
                <a:spcPct val="20000"/>
              </a:spcBef>
              <a:spcAft>
                <a:spcPts val="0"/>
              </a:spcAft>
              <a:buClrTx/>
              <a:buSzTx/>
              <a:buFont typeface="Arial" pitchFamily="34" charset="0"/>
              <a:buNone/>
              <a:tabLst/>
              <a:defRPr/>
            </a:pPr>
            <a:endParaRPr kumimoji="0" lang="en-US" sz="20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2931" rtl="0" eaLnBrk="1" fontAlgn="auto" latinLnBrk="0" hangingPunct="1">
              <a:lnSpc>
                <a:spcPct val="100000"/>
              </a:lnSpc>
              <a:spcBef>
                <a:spcPct val="20000"/>
              </a:spcBef>
              <a:spcAft>
                <a:spcPts val="0"/>
              </a:spcAft>
              <a:buClrTx/>
              <a:buSzTx/>
              <a:buFont typeface="Arial" pitchFamily="34" charset="0"/>
              <a:buNone/>
              <a:tabLst/>
              <a:defRPr/>
            </a:pPr>
            <a:endParaRPr kumimoji="0" lang="en-US" sz="2000" b="0" i="0" u="none" strike="noStrike" kern="1200" cap="none" spc="0" normalizeH="0" baseline="0" noProof="0" dirty="0">
              <a:ln>
                <a:noFill/>
              </a:ln>
              <a:solidFill>
                <a:schemeClr val="tx1"/>
              </a:solidFill>
              <a:effectLst/>
              <a:uLnTx/>
              <a:uFillTx/>
              <a:latin typeface="+mn-lt"/>
              <a:ea typeface="+mn-ea"/>
              <a:cs typeface="+mn-cs"/>
            </a:endParaRPr>
          </a:p>
        </p:txBody>
      </p:sp>
      <p:pic>
        <p:nvPicPr>
          <p:cNvPr id="6" name="Picture 5"/>
          <p:cNvPicPr>
            <a:picLocks noChangeAspect="1"/>
          </p:cNvPicPr>
          <p:nvPr/>
        </p:nvPicPr>
        <p:blipFill>
          <a:blip r:embed="rId3"/>
          <a:stretch>
            <a:fillRect/>
          </a:stretch>
        </p:blipFill>
        <p:spPr>
          <a:xfrm>
            <a:off x="6678800" y="4064507"/>
            <a:ext cx="1565608" cy="2676861"/>
          </a:xfrm>
          <a:prstGeom prst="rect">
            <a:avLst/>
          </a:prstGeom>
        </p:spPr>
      </p:pic>
      <p:cxnSp>
        <p:nvCxnSpPr>
          <p:cNvPr id="12" name="Straight Arrow Connector 11"/>
          <p:cNvCxnSpPr/>
          <p:nvPr/>
        </p:nvCxnSpPr>
        <p:spPr>
          <a:xfrm>
            <a:off x="1979712" y="5313823"/>
            <a:ext cx="4824536" cy="347215"/>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5" name="Date Placeholder 4"/>
          <p:cNvSpPr>
            <a:spLocks noGrp="1"/>
          </p:cNvSpPr>
          <p:nvPr>
            <p:ph type="dt" sz="half" idx="10"/>
          </p:nvPr>
        </p:nvSpPr>
        <p:spPr/>
        <p:txBody>
          <a:bodyPr/>
          <a:lstStyle/>
          <a:p>
            <a:r>
              <a:rPr lang="sv-SE"/>
              <a:t>2016-11-20</a:t>
            </a:r>
          </a:p>
        </p:txBody>
      </p:sp>
      <p:sp>
        <p:nvSpPr>
          <p:cNvPr id="8" name="Footer Placeholder 7"/>
          <p:cNvSpPr>
            <a:spLocks noGrp="1"/>
          </p:cNvSpPr>
          <p:nvPr>
            <p:ph type="ftr" sz="quarter" idx="11"/>
          </p:nvPr>
        </p:nvSpPr>
        <p:spPr/>
        <p:txBody>
          <a:bodyPr/>
          <a:lstStyle/>
          <a:p>
            <a:r>
              <a:rPr lang="sv-SE"/>
              <a:t>OpenIPSL Tutorial</a:t>
            </a:r>
            <a:endParaRPr lang="sv-SE" dirty="0"/>
          </a:p>
        </p:txBody>
      </p:sp>
      <p:sp>
        <p:nvSpPr>
          <p:cNvPr id="10" name="Slide Number Placeholder 9"/>
          <p:cNvSpPr>
            <a:spLocks noGrp="1"/>
          </p:cNvSpPr>
          <p:nvPr>
            <p:ph type="sldNum" sz="quarter" idx="12"/>
          </p:nvPr>
        </p:nvSpPr>
        <p:spPr/>
        <p:txBody>
          <a:bodyPr/>
          <a:lstStyle/>
          <a:p>
            <a:fld id="{227F0B53-9592-4779-891F-997228E46E01}" type="slidenum">
              <a:rPr lang="sv-SE" smtClean="0"/>
              <a:t>4</a:t>
            </a:fld>
            <a:endParaRPr lang="sv-SE"/>
          </a:p>
        </p:txBody>
      </p:sp>
    </p:spTree>
    <p:extLst>
      <p:ext uri="{BB962C8B-B14F-4D97-AF65-F5344CB8AC3E}">
        <p14:creationId xmlns:p14="http://schemas.microsoft.com/office/powerpoint/2010/main" val="276528902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8" name="Footer Placeholder 7"/>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40</a:t>
            </a:fld>
            <a:endParaRPr lang="en-US" dirty="0"/>
          </a:p>
        </p:txBody>
      </p:sp>
      <p:sp>
        <p:nvSpPr>
          <p:cNvPr id="7" name="Date Placeholder 6"/>
          <p:cNvSpPr>
            <a:spLocks noGrp="1"/>
          </p:cNvSpPr>
          <p:nvPr>
            <p:ph type="dt" sz="half" idx="12"/>
          </p:nvPr>
        </p:nvSpPr>
        <p:spPr/>
        <p:txBody>
          <a:bodyPr/>
          <a:lstStyle/>
          <a:p>
            <a:r>
              <a:rPr lang="sv-SE"/>
              <a:t>2016-11-20</a:t>
            </a:r>
          </a:p>
        </p:txBody>
      </p:sp>
      <p:sp>
        <p:nvSpPr>
          <p:cNvPr id="10" name="Content Placeholder 9"/>
          <p:cNvSpPr>
            <a:spLocks noGrp="1"/>
          </p:cNvSpPr>
          <p:nvPr>
            <p:ph idx="1"/>
          </p:nvPr>
        </p:nvSpPr>
        <p:spPr/>
        <p:txBody>
          <a:bodyPr/>
          <a:lstStyle/>
          <a:p>
            <a:r>
              <a:rPr lang="en-US" b="1" dirty="0"/>
              <a:t>Linearization</a:t>
            </a:r>
          </a:p>
          <a:p>
            <a:pPr marL="285750" indent="-285750">
              <a:spcBef>
                <a:spcPts val="600"/>
              </a:spcBef>
              <a:spcAft>
                <a:spcPts val="600"/>
              </a:spcAft>
              <a:buFont typeface="Arial" charset="0"/>
              <a:buChar char="•"/>
            </a:pPr>
            <a:r>
              <a:rPr lang="en-US" dirty="0"/>
              <a:t>To linearize the system, </a:t>
            </a:r>
            <a:r>
              <a:rPr lang="en-US" dirty="0" err="1"/>
              <a:t>OpenModelica</a:t>
            </a:r>
            <a:r>
              <a:rPr lang="en-US" dirty="0"/>
              <a:t> scripting will be needed</a:t>
            </a:r>
          </a:p>
          <a:p>
            <a:pPr marL="285750" indent="-285750">
              <a:spcBef>
                <a:spcPts val="600"/>
              </a:spcBef>
              <a:spcAft>
                <a:spcPts val="600"/>
              </a:spcAft>
              <a:buFont typeface="Arial" charset="0"/>
              <a:buChar char="•"/>
            </a:pPr>
            <a:endParaRPr lang="en-US" dirty="0"/>
          </a:p>
          <a:p>
            <a:pPr marL="285750" indent="-285750">
              <a:spcBef>
                <a:spcPts val="600"/>
              </a:spcBef>
              <a:spcAft>
                <a:spcPts val="600"/>
              </a:spcAft>
              <a:buFont typeface="Arial" charset="0"/>
              <a:buChar char="•"/>
            </a:pPr>
            <a:endParaRPr lang="en-US" dirty="0"/>
          </a:p>
          <a:p>
            <a:pPr marL="285750" indent="-285750">
              <a:spcBef>
                <a:spcPts val="600"/>
              </a:spcBef>
              <a:spcAft>
                <a:spcPts val="600"/>
              </a:spcAft>
              <a:buFont typeface="Arial" charset="0"/>
              <a:buChar char="•"/>
            </a:pPr>
            <a:endParaRPr lang="en-US" dirty="0"/>
          </a:p>
          <a:p>
            <a:pPr marL="285750" indent="-285750">
              <a:spcBef>
                <a:spcPts val="600"/>
              </a:spcBef>
              <a:spcAft>
                <a:spcPts val="600"/>
              </a:spcAft>
              <a:buFont typeface="Arial" charset="0"/>
              <a:buChar char="•"/>
            </a:pPr>
            <a:r>
              <a:rPr lang="en-US" dirty="0"/>
              <a:t>Along with the library, a set of commands w</a:t>
            </a:r>
            <a:r>
              <a:rPr lang="en-US" dirty="0">
                <a:latin typeface="Arial" charset="0"/>
                <a:ea typeface="Arial" charset="0"/>
                <a:cs typeface="Arial" charset="0"/>
              </a:rPr>
              <a:t>as provided  (Command_List.txt) to linearize the model and extract the A matrix</a:t>
            </a:r>
          </a:p>
          <a:p>
            <a:pPr marL="285750" indent="-285750">
              <a:spcBef>
                <a:spcPts val="600"/>
              </a:spcBef>
              <a:spcAft>
                <a:spcPts val="600"/>
              </a:spcAft>
              <a:buFont typeface="Arial" charset="0"/>
              <a:buChar char="•"/>
            </a:pPr>
            <a:endParaRPr lang="en-US" dirty="0"/>
          </a:p>
          <a:p>
            <a:pPr marL="285750" indent="-285750">
              <a:spcBef>
                <a:spcPts val="600"/>
              </a:spcBef>
              <a:spcAft>
                <a:spcPts val="600"/>
              </a:spcAft>
              <a:buFont typeface="Arial" charset="0"/>
              <a:buChar char="•"/>
            </a:pPr>
            <a:endParaRPr lang="en-US" dirty="0"/>
          </a:p>
          <a:p>
            <a:pPr marL="285750" indent="-285750">
              <a:spcBef>
                <a:spcPts val="600"/>
              </a:spcBef>
              <a:spcAft>
                <a:spcPts val="600"/>
              </a:spcAft>
              <a:buFont typeface="Arial" charset="0"/>
              <a:buChar char="•"/>
            </a:pPr>
            <a:endParaRPr lang="en-US" dirty="0"/>
          </a:p>
          <a:p>
            <a:endParaRPr lang="en-US" dirty="0"/>
          </a:p>
        </p:txBody>
      </p:sp>
      <p:pic>
        <p:nvPicPr>
          <p:cNvPr id="3" name="Picture 2"/>
          <p:cNvPicPr>
            <a:picLocks noChangeAspect="1"/>
          </p:cNvPicPr>
          <p:nvPr/>
        </p:nvPicPr>
        <p:blipFill rotWithShape="1">
          <a:blip r:embed="rId3">
            <a:extLst>
              <a:ext uri="{28A0092B-C50C-407E-A947-70E740481C1C}">
                <a14:useLocalDpi xmlns:a14="http://schemas.microsoft.com/office/drawing/2010/main"/>
              </a:ext>
            </a:extLst>
          </a:blip>
          <a:srcRect b="42606"/>
          <a:stretch/>
        </p:blipFill>
        <p:spPr>
          <a:xfrm>
            <a:off x="2312876" y="4653136"/>
            <a:ext cx="4302224" cy="1104394"/>
          </a:xfrm>
          <a:prstGeom prst="rect">
            <a:avLst/>
          </a:prstGeom>
        </p:spPr>
      </p:pic>
      <p:grpSp>
        <p:nvGrpSpPr>
          <p:cNvPr id="12" name="Group 11"/>
          <p:cNvGrpSpPr/>
          <p:nvPr/>
        </p:nvGrpSpPr>
        <p:grpSpPr>
          <a:xfrm>
            <a:off x="1835696" y="2381250"/>
            <a:ext cx="5789376" cy="1047750"/>
            <a:chOff x="1835696" y="2381250"/>
            <a:chExt cx="5789376" cy="1047750"/>
          </a:xfrm>
        </p:grpSpPr>
        <p:pic>
          <p:nvPicPr>
            <p:cNvPr id="9" name="Picture 8"/>
            <p:cNvPicPr>
              <a:picLocks noChangeAspect="1"/>
            </p:cNvPicPr>
            <p:nvPr/>
          </p:nvPicPr>
          <p:blipFill>
            <a:blip r:embed="rId4"/>
            <a:stretch>
              <a:fillRect/>
            </a:stretch>
          </p:blipFill>
          <p:spPr>
            <a:xfrm>
              <a:off x="1835696" y="2381250"/>
              <a:ext cx="5657850" cy="1047750"/>
            </a:xfrm>
            <a:prstGeom prst="rect">
              <a:avLst/>
            </a:prstGeom>
          </p:spPr>
        </p:pic>
        <p:cxnSp>
          <p:nvCxnSpPr>
            <p:cNvPr id="11" name="Straight Arrow Connector 10"/>
            <p:cNvCxnSpPr/>
            <p:nvPr/>
          </p:nvCxnSpPr>
          <p:spPr>
            <a:xfrm flipH="1">
              <a:off x="7020272" y="2996952"/>
              <a:ext cx="604800" cy="0"/>
            </a:xfrm>
            <a:prstGeom prst="straightConnector1">
              <a:avLst/>
            </a:prstGeom>
            <a:ln w="31750">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106671142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9" name="Footer Placeholder 8"/>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41</a:t>
            </a:fld>
            <a:endParaRPr lang="en-US" dirty="0"/>
          </a:p>
        </p:txBody>
      </p:sp>
      <p:sp>
        <p:nvSpPr>
          <p:cNvPr id="8" name="Date Placeholder 7"/>
          <p:cNvSpPr>
            <a:spLocks noGrp="1"/>
          </p:cNvSpPr>
          <p:nvPr>
            <p:ph type="dt" sz="half" idx="12"/>
          </p:nvPr>
        </p:nvSpPr>
        <p:spPr/>
        <p:txBody>
          <a:bodyPr/>
          <a:lstStyle/>
          <a:p>
            <a:r>
              <a:rPr lang="sv-SE"/>
              <a:t>2016-11-20</a:t>
            </a:r>
          </a:p>
        </p:txBody>
      </p:sp>
      <p:sp>
        <p:nvSpPr>
          <p:cNvPr id="3" name="Content Placeholder 2"/>
          <p:cNvSpPr>
            <a:spLocks noGrp="1"/>
          </p:cNvSpPr>
          <p:nvPr>
            <p:ph idx="1"/>
          </p:nvPr>
        </p:nvSpPr>
        <p:spPr/>
        <p:txBody>
          <a:bodyPr/>
          <a:lstStyle/>
          <a:p>
            <a:r>
              <a:rPr lang="en-US" b="1" dirty="0"/>
              <a:t>Linearization</a:t>
            </a:r>
          </a:p>
          <a:p>
            <a:pPr marL="285750" indent="-285750">
              <a:spcBef>
                <a:spcPts val="600"/>
              </a:spcBef>
              <a:spcAft>
                <a:spcPts val="600"/>
              </a:spcAft>
              <a:buFont typeface="Arial" charset="0"/>
              <a:buChar char="•"/>
            </a:pPr>
            <a:r>
              <a:rPr lang="en-US" dirty="0">
                <a:latin typeface="Arial" charset="0"/>
                <a:ea typeface="Arial" charset="0"/>
                <a:cs typeface="Arial" charset="0"/>
              </a:rPr>
              <a:t>Copy and paste each line from the Command_List.txt for Example 1 to the command prompt in </a:t>
            </a:r>
            <a:r>
              <a:rPr lang="en-US" dirty="0" err="1">
                <a:latin typeface="Arial" charset="0"/>
                <a:ea typeface="Arial" charset="0"/>
                <a:cs typeface="Arial" charset="0"/>
              </a:rPr>
              <a:t>OpenModelica</a:t>
            </a:r>
            <a:endParaRPr lang="en-US" dirty="0">
              <a:latin typeface="Arial" charset="0"/>
              <a:ea typeface="Arial" charset="0"/>
              <a:cs typeface="Arial" charset="0"/>
            </a:endParaRPr>
          </a:p>
          <a:p>
            <a:pPr marL="285750" indent="-285750">
              <a:spcBef>
                <a:spcPts val="600"/>
              </a:spcBef>
              <a:spcAft>
                <a:spcPts val="600"/>
              </a:spcAft>
              <a:buFont typeface="Arial" charset="0"/>
              <a:buChar char="•"/>
            </a:pPr>
            <a:endParaRPr lang="en-US" dirty="0"/>
          </a:p>
          <a:p>
            <a:pPr marL="285750" indent="-285750">
              <a:spcBef>
                <a:spcPts val="600"/>
              </a:spcBef>
              <a:spcAft>
                <a:spcPts val="600"/>
              </a:spcAft>
              <a:buFont typeface="Arial" charset="0"/>
              <a:buChar char="•"/>
            </a:pPr>
            <a:endParaRPr lang="en-US" dirty="0"/>
          </a:p>
          <a:p>
            <a:endParaRPr lang="en-US" dirty="0"/>
          </a:p>
        </p:txBody>
      </p:sp>
      <p:grpSp>
        <p:nvGrpSpPr>
          <p:cNvPr id="7" name="Group 6"/>
          <p:cNvGrpSpPr/>
          <p:nvPr/>
        </p:nvGrpSpPr>
        <p:grpSpPr>
          <a:xfrm>
            <a:off x="683568" y="2686422"/>
            <a:ext cx="7446019" cy="1390650"/>
            <a:chOff x="683568" y="2516549"/>
            <a:chExt cx="7446019" cy="1390650"/>
          </a:xfrm>
        </p:grpSpPr>
        <p:pic>
          <p:nvPicPr>
            <p:cNvPr id="10" name="Picture 9"/>
            <p:cNvPicPr>
              <a:picLocks noChangeAspect="1"/>
            </p:cNvPicPr>
            <p:nvPr/>
          </p:nvPicPr>
          <p:blipFill>
            <a:blip r:embed="rId3"/>
            <a:stretch>
              <a:fillRect/>
            </a:stretch>
          </p:blipFill>
          <p:spPr>
            <a:xfrm>
              <a:off x="1014412" y="2516549"/>
              <a:ext cx="7115175" cy="1390650"/>
            </a:xfrm>
            <a:prstGeom prst="rect">
              <a:avLst/>
            </a:prstGeom>
          </p:spPr>
        </p:pic>
        <p:sp>
          <p:nvSpPr>
            <p:cNvPr id="12" name="Left Brace 11"/>
            <p:cNvSpPr/>
            <p:nvPr/>
          </p:nvSpPr>
          <p:spPr>
            <a:xfrm>
              <a:off x="683568" y="2852936"/>
              <a:ext cx="293204" cy="948365"/>
            </a:xfrm>
            <a:prstGeom prst="leftBrace">
              <a:avLst>
                <a:gd name="adj1" fmla="val 38081"/>
                <a:gd name="adj2" fmla="val 48091"/>
              </a:avLst>
            </a:prstGeom>
            <a:ln w="381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6" name="Group 15"/>
          <p:cNvGrpSpPr/>
          <p:nvPr/>
        </p:nvGrpSpPr>
        <p:grpSpPr>
          <a:xfrm>
            <a:off x="539552" y="3501007"/>
            <a:ext cx="7174160" cy="2077964"/>
            <a:chOff x="539552" y="3501007"/>
            <a:chExt cx="7174160" cy="2077964"/>
          </a:xfrm>
        </p:grpSpPr>
        <p:pic>
          <p:nvPicPr>
            <p:cNvPr id="11" name="Picture 10"/>
            <p:cNvPicPr>
              <a:picLocks noChangeAspect="1"/>
            </p:cNvPicPr>
            <p:nvPr/>
          </p:nvPicPr>
          <p:blipFill>
            <a:blip r:embed="rId4"/>
            <a:stretch>
              <a:fillRect/>
            </a:stretch>
          </p:blipFill>
          <p:spPr>
            <a:xfrm>
              <a:off x="1417687" y="4293096"/>
              <a:ext cx="6296025" cy="1285875"/>
            </a:xfrm>
            <a:prstGeom prst="rect">
              <a:avLst/>
            </a:prstGeom>
          </p:spPr>
        </p:pic>
        <p:cxnSp>
          <p:nvCxnSpPr>
            <p:cNvPr id="14" name="Elbow Connector 13"/>
            <p:cNvCxnSpPr/>
            <p:nvPr/>
          </p:nvCxnSpPr>
          <p:spPr>
            <a:xfrm rot="16200000" flipH="1">
              <a:off x="6512" y="4034047"/>
              <a:ext cx="1944215" cy="878135"/>
            </a:xfrm>
            <a:prstGeom prst="bentConnector3">
              <a:avLst>
                <a:gd name="adj1" fmla="val 99822"/>
              </a:avLst>
            </a:prstGeom>
            <a:ln w="28575">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02550204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8" name="Footer Placeholder 7"/>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42</a:t>
            </a:fld>
            <a:endParaRPr lang="en-US" dirty="0"/>
          </a:p>
        </p:txBody>
      </p:sp>
      <p:sp>
        <p:nvSpPr>
          <p:cNvPr id="3" name="Date Placeholder 2"/>
          <p:cNvSpPr>
            <a:spLocks noGrp="1"/>
          </p:cNvSpPr>
          <p:nvPr>
            <p:ph type="dt" sz="half" idx="12"/>
          </p:nvPr>
        </p:nvSpPr>
        <p:spPr/>
        <p:txBody>
          <a:bodyPr/>
          <a:lstStyle/>
          <a:p>
            <a:r>
              <a:rPr lang="sv-SE"/>
              <a:t>2016-11-20</a:t>
            </a:r>
          </a:p>
        </p:txBody>
      </p:sp>
      <p:sp>
        <p:nvSpPr>
          <p:cNvPr id="7" name="Content Placeholder 6"/>
          <p:cNvSpPr>
            <a:spLocks noGrp="1"/>
          </p:cNvSpPr>
          <p:nvPr>
            <p:ph idx="1"/>
          </p:nvPr>
        </p:nvSpPr>
        <p:spPr/>
        <p:txBody>
          <a:bodyPr/>
          <a:lstStyle/>
          <a:p>
            <a:r>
              <a:rPr lang="en-US" b="1" dirty="0"/>
              <a:t>Linearization</a:t>
            </a:r>
          </a:p>
          <a:p>
            <a:pPr marL="342900" indent="-342900">
              <a:buFont typeface="Arial" panose="020B0604020202020204" pitchFamily="34" charset="0"/>
              <a:buChar char="•"/>
            </a:pPr>
            <a:r>
              <a:rPr lang="en-US" dirty="0"/>
              <a:t>The third command will save the A matrix of the linearized state-space model in the variable </a:t>
            </a:r>
            <a:r>
              <a:rPr lang="en-US" dirty="0">
                <a:latin typeface="Courier" charset="0"/>
                <a:ea typeface="Courier" charset="0"/>
                <a:cs typeface="Courier" charset="0"/>
              </a:rPr>
              <a:t>a </a:t>
            </a:r>
            <a:r>
              <a:rPr lang="en-US" dirty="0">
                <a:latin typeface="Arial" charset="0"/>
                <a:ea typeface="Arial" charset="0"/>
                <a:cs typeface="Arial" charset="0"/>
              </a:rPr>
              <a:t>as a string</a:t>
            </a:r>
          </a:p>
          <a:p>
            <a:endParaRPr lang="en-US" dirty="0"/>
          </a:p>
        </p:txBody>
      </p:sp>
      <p:pic>
        <p:nvPicPr>
          <p:cNvPr id="10" name="Picture 9"/>
          <p:cNvPicPr>
            <a:picLocks noChangeAspect="1"/>
          </p:cNvPicPr>
          <p:nvPr/>
        </p:nvPicPr>
        <p:blipFill>
          <a:blip r:embed="rId3"/>
          <a:stretch>
            <a:fillRect/>
          </a:stretch>
        </p:blipFill>
        <p:spPr>
          <a:xfrm>
            <a:off x="1493887" y="2780928"/>
            <a:ext cx="6219825" cy="2857500"/>
          </a:xfrm>
          <a:prstGeom prst="rect">
            <a:avLst/>
          </a:prstGeom>
        </p:spPr>
      </p:pic>
    </p:spTree>
    <p:extLst>
      <p:ext uri="{BB962C8B-B14F-4D97-AF65-F5344CB8AC3E}">
        <p14:creationId xmlns:p14="http://schemas.microsoft.com/office/powerpoint/2010/main" val="214462601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8" name="Footer Placeholder 7"/>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43</a:t>
            </a:fld>
            <a:endParaRPr lang="en-US" dirty="0"/>
          </a:p>
        </p:txBody>
      </p:sp>
      <p:sp>
        <p:nvSpPr>
          <p:cNvPr id="7" name="Date Placeholder 6"/>
          <p:cNvSpPr>
            <a:spLocks noGrp="1"/>
          </p:cNvSpPr>
          <p:nvPr>
            <p:ph type="dt" sz="half" idx="12"/>
          </p:nvPr>
        </p:nvSpPr>
        <p:spPr/>
        <p:txBody>
          <a:bodyPr/>
          <a:lstStyle/>
          <a:p>
            <a:r>
              <a:rPr lang="sv-SE"/>
              <a:t>2016-11-20</a:t>
            </a:r>
          </a:p>
        </p:txBody>
      </p:sp>
      <p:sp>
        <p:nvSpPr>
          <p:cNvPr id="9" name="Content Placeholder 8"/>
          <p:cNvSpPr>
            <a:spLocks noGrp="1"/>
          </p:cNvSpPr>
          <p:nvPr>
            <p:ph idx="1"/>
          </p:nvPr>
        </p:nvSpPr>
        <p:spPr/>
        <p:txBody>
          <a:bodyPr/>
          <a:lstStyle/>
          <a:p>
            <a:r>
              <a:rPr lang="en-US" b="1" dirty="0"/>
              <a:t>Linearization</a:t>
            </a:r>
          </a:p>
          <a:p>
            <a:pPr marL="342900" indent="-342900">
              <a:buFont typeface="Arial" panose="020B0604020202020204" pitchFamily="34" charset="0"/>
              <a:buChar char="•"/>
            </a:pPr>
            <a:r>
              <a:rPr lang="en-US" dirty="0"/>
              <a:t>Copy the output from the previous command without the quotation marks by pressing </a:t>
            </a:r>
            <a:r>
              <a:rPr lang="en-US" dirty="0" err="1"/>
              <a:t>Ctrl+C</a:t>
            </a:r>
            <a:endParaRPr lang="en-US" dirty="0">
              <a:latin typeface="Courier" charset="0"/>
              <a:ea typeface="Courier" charset="0"/>
              <a:cs typeface="Courier" charset="0"/>
            </a:endParaRPr>
          </a:p>
          <a:p>
            <a:endParaRPr lang="en-US" dirty="0"/>
          </a:p>
        </p:txBody>
      </p:sp>
      <p:pic>
        <p:nvPicPr>
          <p:cNvPr id="3" name="Picture 2"/>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051720" y="2564904"/>
            <a:ext cx="4950420" cy="2763732"/>
          </a:xfrm>
          <a:prstGeom prst="rect">
            <a:avLst/>
          </a:prstGeom>
        </p:spPr>
      </p:pic>
    </p:spTree>
    <p:extLst>
      <p:ext uri="{BB962C8B-B14F-4D97-AF65-F5344CB8AC3E}">
        <p14:creationId xmlns:p14="http://schemas.microsoft.com/office/powerpoint/2010/main" val="136386924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8" name="Footer Placeholder 7"/>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44</a:t>
            </a:fld>
            <a:endParaRPr lang="en-US" dirty="0"/>
          </a:p>
        </p:txBody>
      </p:sp>
      <p:sp>
        <p:nvSpPr>
          <p:cNvPr id="3" name="Date Placeholder 2"/>
          <p:cNvSpPr>
            <a:spLocks noGrp="1"/>
          </p:cNvSpPr>
          <p:nvPr>
            <p:ph type="dt" sz="half" idx="12"/>
          </p:nvPr>
        </p:nvSpPr>
        <p:spPr/>
        <p:txBody>
          <a:bodyPr/>
          <a:lstStyle/>
          <a:p>
            <a:r>
              <a:rPr lang="sv-SE"/>
              <a:t>2016-11-20</a:t>
            </a:r>
          </a:p>
        </p:txBody>
      </p:sp>
      <p:sp>
        <p:nvSpPr>
          <p:cNvPr id="9" name="Content Placeholder 8"/>
          <p:cNvSpPr>
            <a:spLocks noGrp="1"/>
          </p:cNvSpPr>
          <p:nvPr>
            <p:ph idx="1"/>
          </p:nvPr>
        </p:nvSpPr>
        <p:spPr/>
        <p:txBody>
          <a:bodyPr/>
          <a:lstStyle/>
          <a:p>
            <a:r>
              <a:rPr lang="en-US" b="1" dirty="0"/>
              <a:t>Linearization</a:t>
            </a:r>
          </a:p>
          <a:p>
            <a:pPr marL="342900" indent="-342900">
              <a:buFont typeface="Arial" panose="020B0604020202020204" pitchFamily="34" charset="0"/>
              <a:buChar char="•"/>
            </a:pPr>
            <a:r>
              <a:rPr lang="en-US" dirty="0"/>
              <a:t>To save the matrix A as a matrix of Real values type </a:t>
            </a:r>
            <a:r>
              <a:rPr lang="en-US" dirty="0">
                <a:latin typeface="Courier" charset="0"/>
                <a:ea typeface="Courier" charset="0"/>
                <a:cs typeface="Courier" charset="0"/>
              </a:rPr>
              <a:t>A := </a:t>
            </a:r>
            <a:r>
              <a:rPr lang="en-US" dirty="0">
                <a:latin typeface="Arial" charset="0"/>
                <a:ea typeface="Arial" charset="0"/>
                <a:cs typeface="Arial" charset="0"/>
              </a:rPr>
              <a:t>and then press </a:t>
            </a:r>
            <a:r>
              <a:rPr lang="en-US" dirty="0" err="1">
                <a:latin typeface="Arial" charset="0"/>
                <a:ea typeface="Arial" charset="0"/>
                <a:cs typeface="Arial" charset="0"/>
              </a:rPr>
              <a:t>Ctrl+V</a:t>
            </a:r>
            <a:r>
              <a:rPr lang="en-US" dirty="0">
                <a:latin typeface="Arial" charset="0"/>
                <a:ea typeface="Arial" charset="0"/>
                <a:cs typeface="Arial" charset="0"/>
              </a:rPr>
              <a:t> to paste the copied matrix</a:t>
            </a:r>
            <a:endParaRPr lang="en-US" dirty="0">
              <a:latin typeface="Courier" charset="0"/>
              <a:ea typeface="Courier" charset="0"/>
              <a:cs typeface="Courier" charset="0"/>
            </a:endParaRPr>
          </a:p>
          <a:p>
            <a:pPr marL="342900" indent="-342900">
              <a:buFont typeface="Arial" panose="020B0604020202020204" pitchFamily="34" charset="0"/>
              <a:buChar char="•"/>
            </a:pPr>
            <a:endParaRPr lang="en-US" dirty="0"/>
          </a:p>
        </p:txBody>
      </p:sp>
      <p:pic>
        <p:nvPicPr>
          <p:cNvPr id="7" name="Picture 6"/>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051720" y="2636912"/>
            <a:ext cx="5022428" cy="2803932"/>
          </a:xfrm>
          <a:prstGeom prst="rect">
            <a:avLst/>
          </a:prstGeom>
        </p:spPr>
      </p:pic>
    </p:spTree>
    <p:extLst>
      <p:ext uri="{BB962C8B-B14F-4D97-AF65-F5344CB8AC3E}">
        <p14:creationId xmlns:p14="http://schemas.microsoft.com/office/powerpoint/2010/main" val="30991902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9" name="Footer Placeholder 8"/>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45</a:t>
            </a:fld>
            <a:endParaRPr lang="en-US" dirty="0"/>
          </a:p>
        </p:txBody>
      </p:sp>
      <p:sp>
        <p:nvSpPr>
          <p:cNvPr id="7" name="Date Placeholder 6"/>
          <p:cNvSpPr>
            <a:spLocks noGrp="1"/>
          </p:cNvSpPr>
          <p:nvPr>
            <p:ph type="dt" sz="half" idx="12"/>
          </p:nvPr>
        </p:nvSpPr>
        <p:spPr/>
        <p:txBody>
          <a:bodyPr/>
          <a:lstStyle/>
          <a:p>
            <a:r>
              <a:rPr lang="sv-SE"/>
              <a:t>2016-11-20</a:t>
            </a:r>
          </a:p>
        </p:txBody>
      </p:sp>
      <p:sp>
        <p:nvSpPr>
          <p:cNvPr id="10" name="Content Placeholder 9"/>
          <p:cNvSpPr>
            <a:spLocks noGrp="1"/>
          </p:cNvSpPr>
          <p:nvPr>
            <p:ph idx="1"/>
          </p:nvPr>
        </p:nvSpPr>
        <p:spPr/>
        <p:txBody>
          <a:bodyPr/>
          <a:lstStyle/>
          <a:p>
            <a:r>
              <a:rPr lang="en-US" b="1" dirty="0"/>
              <a:t>Linearization</a:t>
            </a:r>
          </a:p>
          <a:p>
            <a:pPr marL="285750" indent="-285750">
              <a:spcBef>
                <a:spcPts val="600"/>
              </a:spcBef>
              <a:spcAft>
                <a:spcPts val="600"/>
              </a:spcAft>
              <a:buFont typeface="Arial" charset="0"/>
              <a:buChar char="•"/>
            </a:pPr>
            <a:r>
              <a:rPr lang="en-US" dirty="0"/>
              <a:t>It is known that the eigenvalues of the linearized system can be found by solving the following equation:</a:t>
            </a:r>
          </a:p>
          <a:p>
            <a:pPr marL="285750" indent="-285750">
              <a:spcBef>
                <a:spcPts val="600"/>
              </a:spcBef>
              <a:spcAft>
                <a:spcPts val="600"/>
              </a:spcAft>
              <a:buFont typeface="Arial" charset="0"/>
              <a:buChar char="•"/>
            </a:pPr>
            <a:endParaRPr lang="en-US" dirty="0">
              <a:latin typeface="Courier" charset="0"/>
              <a:ea typeface="Courier" charset="0"/>
              <a:cs typeface="Courier" charset="0"/>
            </a:endParaRPr>
          </a:p>
          <a:p>
            <a:pPr marL="285750" indent="-285750">
              <a:spcBef>
                <a:spcPts val="600"/>
              </a:spcBef>
              <a:spcAft>
                <a:spcPts val="600"/>
              </a:spcAft>
              <a:buFont typeface="Arial" charset="0"/>
              <a:buChar char="•"/>
            </a:pPr>
            <a:r>
              <a:rPr lang="en-US" dirty="0">
                <a:latin typeface="Arial" charset="0"/>
                <a:ea typeface="Arial" charset="0"/>
                <a:cs typeface="Arial" charset="0"/>
              </a:rPr>
              <a:t>This can be done by executing the last command </a:t>
            </a:r>
            <a:br>
              <a:rPr lang="en-US" dirty="0">
                <a:latin typeface="Arial" charset="0"/>
                <a:ea typeface="Arial" charset="0"/>
                <a:cs typeface="Arial" charset="0"/>
              </a:rPr>
            </a:br>
            <a:r>
              <a:rPr lang="en-US" dirty="0">
                <a:latin typeface="Courier" charset="0"/>
                <a:ea typeface="Courier" charset="0"/>
                <a:cs typeface="Courier" charset="0"/>
              </a:rPr>
              <a:t>(</a:t>
            </a:r>
            <a:r>
              <a:rPr lang="en-US" dirty="0" err="1">
                <a:latin typeface="Courier" charset="0"/>
                <a:ea typeface="Courier" charset="0"/>
                <a:cs typeface="Courier" charset="0"/>
              </a:rPr>
              <a:t>eval,evec</a:t>
            </a:r>
            <a:r>
              <a:rPr lang="en-US" dirty="0">
                <a:latin typeface="Courier" charset="0"/>
                <a:ea typeface="Courier" charset="0"/>
                <a:cs typeface="Courier" charset="0"/>
              </a:rPr>
              <a:t>) := </a:t>
            </a:r>
            <a:r>
              <a:rPr lang="en-US" dirty="0" err="1">
                <a:latin typeface="Courier" charset="0"/>
                <a:ea typeface="Courier" charset="0"/>
                <a:cs typeface="Courier" charset="0"/>
              </a:rPr>
              <a:t>Modelica.Math.Matrices.eigenValues</a:t>
            </a:r>
            <a:r>
              <a:rPr lang="en-US" dirty="0">
                <a:latin typeface="Courier" charset="0"/>
                <a:ea typeface="Courier" charset="0"/>
                <a:cs typeface="Courier" charset="0"/>
              </a:rPr>
              <a:t>(A);</a:t>
            </a:r>
          </a:p>
          <a:p>
            <a:pPr marL="285750" indent="-285750">
              <a:spcBef>
                <a:spcPts val="600"/>
              </a:spcBef>
              <a:spcAft>
                <a:spcPts val="600"/>
              </a:spcAft>
              <a:buFont typeface="Arial" charset="0"/>
              <a:buChar char="•"/>
            </a:pPr>
            <a:endParaRPr lang="en-US" dirty="0"/>
          </a:p>
          <a:p>
            <a:endParaRPr lang="en-US" dirty="0"/>
          </a:p>
        </p:txBody>
      </p:sp>
      <mc:AlternateContent xmlns:mc="http://schemas.openxmlformats.org/markup-compatibility/2006" xmlns:a14="http://schemas.microsoft.com/office/drawing/2010/main">
        <mc:Choice Requires="a14">
          <p:sp>
            <p:nvSpPr>
              <p:cNvPr id="3" name="TextBox 2"/>
              <p:cNvSpPr txBox="1"/>
              <p:nvPr/>
            </p:nvSpPr>
            <p:spPr>
              <a:xfrm>
                <a:off x="3347137" y="2754336"/>
                <a:ext cx="1716047"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charset="0"/>
                        </a:rPr>
                        <m:t>𝑑𝑒𝑡</m:t>
                      </m:r>
                      <m:d>
                        <m:dPr>
                          <m:ctrlPr>
                            <a:rPr lang="en-US" b="1" i="1" smtClean="0">
                              <a:latin typeface="Cambria Math" panose="02040503050406030204" pitchFamily="18" charset="0"/>
                            </a:rPr>
                          </m:ctrlPr>
                        </m:dPr>
                        <m:e>
                          <m:r>
                            <a:rPr lang="en-US" b="1" i="1" smtClean="0">
                              <a:latin typeface="Cambria Math" charset="0"/>
                            </a:rPr>
                            <m:t>𝑨</m:t>
                          </m:r>
                          <m:r>
                            <a:rPr lang="en-US" b="1" i="1" smtClean="0">
                              <a:latin typeface="Cambria Math" charset="0"/>
                            </a:rPr>
                            <m:t>−</m:t>
                          </m:r>
                          <m:r>
                            <a:rPr lang="en-US" b="0" i="1" smtClean="0">
                              <a:latin typeface="Cambria Math" charset="0"/>
                              <a:ea typeface="Cambria Math" charset="0"/>
                              <a:cs typeface="Cambria Math" charset="0"/>
                            </a:rPr>
                            <m:t>𝜆</m:t>
                          </m:r>
                          <m:r>
                            <a:rPr lang="en-US" b="1" i="1" smtClean="0">
                              <a:latin typeface="Cambria Math" charset="0"/>
                              <a:ea typeface="Cambria Math" charset="0"/>
                              <a:cs typeface="Cambria Math" charset="0"/>
                            </a:rPr>
                            <m:t>𝑰</m:t>
                          </m:r>
                        </m:e>
                      </m:d>
                      <m:r>
                        <a:rPr lang="en-US" b="1" i="1" smtClean="0">
                          <a:latin typeface="Cambria Math" charset="0"/>
                          <a:ea typeface="Cambria Math" charset="0"/>
                          <a:cs typeface="Cambria Math" charset="0"/>
                        </a:rPr>
                        <m:t>=</m:t>
                      </m:r>
                      <m:r>
                        <a:rPr lang="en-US" b="1" i="1" smtClean="0">
                          <a:latin typeface="Cambria Math" charset="0"/>
                          <a:ea typeface="Cambria Math" charset="0"/>
                          <a:cs typeface="Cambria Math" charset="0"/>
                        </a:rPr>
                        <m:t>𝟎</m:t>
                      </m:r>
                    </m:oMath>
                  </m:oMathPara>
                </a14:m>
                <a:endParaRPr lang="en-US" b="1" dirty="0"/>
              </a:p>
            </p:txBody>
          </p:sp>
        </mc:Choice>
        <mc:Fallback xmlns="">
          <p:sp>
            <p:nvSpPr>
              <p:cNvPr id="3" name="TextBox 2"/>
              <p:cNvSpPr txBox="1">
                <a:spLocks noRot="1" noChangeAspect="1" noMove="1" noResize="1" noEditPoints="1" noAdjustHandles="1" noChangeArrowheads="1" noChangeShapeType="1" noTextEdit="1"/>
              </p:cNvSpPr>
              <p:nvPr/>
            </p:nvSpPr>
            <p:spPr>
              <a:xfrm>
                <a:off x="3347137" y="2754336"/>
                <a:ext cx="1716047" cy="276999"/>
              </a:xfrm>
              <a:prstGeom prst="rect">
                <a:avLst/>
              </a:prstGeom>
              <a:blipFill>
                <a:blip r:embed="rId3"/>
                <a:stretch>
                  <a:fillRect l="-1773" r="-1773" b="-11111"/>
                </a:stretch>
              </a:blipFill>
            </p:spPr>
            <p:txBody>
              <a:bodyPr/>
              <a:lstStyle/>
              <a:p>
                <a:r>
                  <a:rPr lang="en-US">
                    <a:noFill/>
                  </a:rPr>
                  <a:t> </a:t>
                </a:r>
              </a:p>
            </p:txBody>
          </p:sp>
        </mc:Fallback>
      </mc:AlternateContent>
      <p:pic>
        <p:nvPicPr>
          <p:cNvPr id="8" name="Picture 7"/>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2587149" y="3803997"/>
            <a:ext cx="3846715" cy="2156045"/>
          </a:xfrm>
          <a:prstGeom prst="rect">
            <a:avLst/>
          </a:prstGeom>
        </p:spPr>
      </p:pic>
    </p:spTree>
    <p:extLst>
      <p:ext uri="{BB962C8B-B14F-4D97-AF65-F5344CB8AC3E}">
        <p14:creationId xmlns:p14="http://schemas.microsoft.com/office/powerpoint/2010/main" val="116117558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8" name="Footer Placeholder 7"/>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46</a:t>
            </a:fld>
            <a:endParaRPr lang="en-US" dirty="0"/>
          </a:p>
        </p:txBody>
      </p:sp>
      <p:sp>
        <p:nvSpPr>
          <p:cNvPr id="3" name="Date Placeholder 2"/>
          <p:cNvSpPr>
            <a:spLocks noGrp="1"/>
          </p:cNvSpPr>
          <p:nvPr>
            <p:ph type="dt" sz="half" idx="12"/>
          </p:nvPr>
        </p:nvSpPr>
        <p:spPr/>
        <p:txBody>
          <a:bodyPr/>
          <a:lstStyle/>
          <a:p>
            <a:r>
              <a:rPr lang="sv-SE"/>
              <a:t>2016-11-20</a:t>
            </a:r>
          </a:p>
        </p:txBody>
      </p:sp>
      <p:sp>
        <p:nvSpPr>
          <p:cNvPr id="11" name="Content Placeholder 10"/>
          <p:cNvSpPr>
            <a:spLocks noGrp="1"/>
          </p:cNvSpPr>
          <p:nvPr>
            <p:ph idx="1"/>
          </p:nvPr>
        </p:nvSpPr>
        <p:spPr/>
        <p:txBody>
          <a:bodyPr/>
          <a:lstStyle/>
          <a:p>
            <a:r>
              <a:rPr lang="en-US" b="1" dirty="0"/>
              <a:t>Linearization</a:t>
            </a:r>
          </a:p>
          <a:p>
            <a:pPr marL="285750" indent="-285750">
              <a:spcBef>
                <a:spcPts val="600"/>
              </a:spcBef>
              <a:spcAft>
                <a:spcPts val="600"/>
              </a:spcAft>
              <a:buFont typeface="Arial" charset="0"/>
              <a:buChar char="•"/>
            </a:pPr>
            <a:r>
              <a:rPr lang="en-US" dirty="0"/>
              <a:t>The eigenvalues are now stored in the </a:t>
            </a:r>
            <a:r>
              <a:rPr lang="en-US" dirty="0" err="1"/>
              <a:t>eval</a:t>
            </a:r>
            <a:r>
              <a:rPr lang="en-US" dirty="0"/>
              <a:t> variable and they can be listed by executing </a:t>
            </a:r>
            <a:r>
              <a:rPr lang="en-US" dirty="0" err="1">
                <a:latin typeface="Courier" charset="0"/>
                <a:ea typeface="Courier" charset="0"/>
                <a:cs typeface="Courier" charset="0"/>
              </a:rPr>
              <a:t>eval</a:t>
            </a:r>
            <a:r>
              <a:rPr lang="en-US" dirty="0">
                <a:latin typeface="Courier" charset="0"/>
                <a:ea typeface="Courier" charset="0"/>
                <a:cs typeface="Courier" charset="0"/>
              </a:rPr>
              <a:t> </a:t>
            </a:r>
          </a:p>
          <a:p>
            <a:pPr marL="285750" indent="-285750">
              <a:spcBef>
                <a:spcPts val="600"/>
              </a:spcBef>
              <a:spcAft>
                <a:spcPts val="600"/>
              </a:spcAft>
              <a:buFont typeface="Arial" charset="0"/>
              <a:buChar char="•"/>
            </a:pPr>
            <a:r>
              <a:rPr lang="en-US" dirty="0"/>
              <a:t>Groups of numbers are listed where the first number is real part of the system’s pole and the second one is the imaginary part</a:t>
            </a:r>
          </a:p>
          <a:p>
            <a:endParaRPr lang="en-US" dirty="0"/>
          </a:p>
        </p:txBody>
      </p:sp>
      <p:pic>
        <p:nvPicPr>
          <p:cNvPr id="7" name="Picture 6"/>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411760" y="3457723"/>
            <a:ext cx="4452126" cy="2491557"/>
          </a:xfrm>
          <a:prstGeom prst="rect">
            <a:avLst/>
          </a:prstGeom>
        </p:spPr>
      </p:pic>
    </p:spTree>
    <p:extLst>
      <p:ext uri="{BB962C8B-B14F-4D97-AF65-F5344CB8AC3E}">
        <p14:creationId xmlns:p14="http://schemas.microsoft.com/office/powerpoint/2010/main" val="169417361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8" name="Footer Placeholder 7"/>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47</a:t>
            </a:fld>
            <a:endParaRPr lang="en-US" dirty="0"/>
          </a:p>
        </p:txBody>
      </p:sp>
      <p:sp>
        <p:nvSpPr>
          <p:cNvPr id="6" name="Date Placeholder 5"/>
          <p:cNvSpPr>
            <a:spLocks noGrp="1"/>
          </p:cNvSpPr>
          <p:nvPr>
            <p:ph type="dt" sz="half" idx="12"/>
          </p:nvPr>
        </p:nvSpPr>
        <p:spPr/>
        <p:txBody>
          <a:bodyPr/>
          <a:lstStyle/>
          <a:p>
            <a:r>
              <a:rPr lang="sv-SE"/>
              <a:t>2016-11-20</a:t>
            </a:r>
          </a:p>
        </p:txBody>
      </p:sp>
      <p:sp>
        <p:nvSpPr>
          <p:cNvPr id="10" name="Content Placeholder 9"/>
          <p:cNvSpPr>
            <a:spLocks noGrp="1"/>
          </p:cNvSpPr>
          <p:nvPr>
            <p:ph idx="1"/>
          </p:nvPr>
        </p:nvSpPr>
        <p:spPr/>
        <p:txBody>
          <a:bodyPr/>
          <a:lstStyle/>
          <a:p>
            <a:r>
              <a:rPr lang="en-US" b="1" dirty="0"/>
              <a:t>Linearization</a:t>
            </a:r>
          </a:p>
          <a:p>
            <a:pPr marL="342900" indent="-342900">
              <a:buFont typeface="Arial" panose="020B0604020202020204" pitchFamily="34" charset="0"/>
              <a:buChar char="•"/>
            </a:pPr>
            <a:r>
              <a:rPr lang="en-US" dirty="0"/>
              <a:t>It can be seen that the pair of conjugate poles exists on the right side of the stability plane and thus, the behavior of the system is unstable</a:t>
            </a:r>
          </a:p>
          <a:p>
            <a:endParaRPr lang="en-US" dirty="0"/>
          </a:p>
        </p:txBody>
      </p:sp>
      <p:pic>
        <p:nvPicPr>
          <p:cNvPr id="7" name="Picture 6"/>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742151" y="2636912"/>
            <a:ext cx="5443673" cy="3046459"/>
          </a:xfrm>
          <a:prstGeom prst="rect">
            <a:avLst/>
          </a:prstGeom>
        </p:spPr>
      </p:pic>
      <p:sp>
        <p:nvSpPr>
          <p:cNvPr id="3" name="Rectangle 2"/>
          <p:cNvSpPr/>
          <p:nvPr/>
        </p:nvSpPr>
        <p:spPr>
          <a:xfrm>
            <a:off x="1835696" y="4653136"/>
            <a:ext cx="2808493" cy="291843"/>
          </a:xfrm>
          <a:prstGeom prst="rect">
            <a:avLst/>
          </a:prstGeom>
          <a:solidFill>
            <a:srgbClr val="FF0000">
              <a:alpha val="17000"/>
            </a:srgbClr>
          </a:solid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9023811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2</a:t>
            </a:r>
          </a:p>
        </p:txBody>
      </p:sp>
      <p:sp>
        <p:nvSpPr>
          <p:cNvPr id="5" name="Footer Placeholder 4"/>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48</a:t>
            </a:fld>
            <a:endParaRPr lang="en-US" dirty="0"/>
          </a:p>
        </p:txBody>
      </p:sp>
      <p:sp>
        <p:nvSpPr>
          <p:cNvPr id="3" name="Date Placeholder 2"/>
          <p:cNvSpPr>
            <a:spLocks noGrp="1"/>
          </p:cNvSpPr>
          <p:nvPr>
            <p:ph type="dt" sz="half" idx="12"/>
          </p:nvPr>
        </p:nvSpPr>
        <p:spPr/>
        <p:txBody>
          <a:bodyPr/>
          <a:lstStyle/>
          <a:p>
            <a:r>
              <a:rPr lang="sv-SE"/>
              <a:t>2016-11-20</a:t>
            </a:r>
          </a:p>
        </p:txBody>
      </p:sp>
      <p:sp>
        <p:nvSpPr>
          <p:cNvPr id="6" name="Content Placeholder 5"/>
          <p:cNvSpPr>
            <a:spLocks noGrp="1"/>
          </p:cNvSpPr>
          <p:nvPr>
            <p:ph idx="1"/>
          </p:nvPr>
        </p:nvSpPr>
        <p:spPr/>
        <p:txBody>
          <a:bodyPr>
            <a:normAutofit lnSpcReduction="10000"/>
          </a:bodyPr>
          <a:lstStyle/>
          <a:p>
            <a:endParaRPr lang="en-US" dirty="0"/>
          </a:p>
          <a:p>
            <a:endParaRPr lang="en-US" dirty="0"/>
          </a:p>
          <a:p>
            <a:endParaRPr lang="en-US" dirty="0"/>
          </a:p>
          <a:p>
            <a:endParaRPr lang="en-US" dirty="0"/>
          </a:p>
          <a:p>
            <a:endParaRPr lang="en-US" dirty="0"/>
          </a:p>
          <a:p>
            <a:endParaRPr lang="en-US" dirty="0"/>
          </a:p>
          <a:p>
            <a:endParaRPr lang="en-US" dirty="0"/>
          </a:p>
          <a:p>
            <a:pPr marL="285750" indent="-285750">
              <a:spcBef>
                <a:spcPts val="600"/>
              </a:spcBef>
              <a:spcAft>
                <a:spcPts val="1200"/>
              </a:spcAft>
              <a:buFont typeface="Arial" charset="0"/>
              <a:buChar char="•"/>
            </a:pPr>
            <a:r>
              <a:rPr lang="en-US" dirty="0"/>
              <a:t>In the Example 1, it was shown that the system was unstable with a pair of poles on the right side of the stability plane</a:t>
            </a:r>
          </a:p>
          <a:p>
            <a:pPr marL="285750" indent="-285750">
              <a:spcBef>
                <a:spcPts val="600"/>
              </a:spcBef>
              <a:spcAft>
                <a:spcPts val="1200"/>
              </a:spcAft>
              <a:buFont typeface="Arial" charset="0"/>
              <a:buChar char="•"/>
            </a:pPr>
            <a:r>
              <a:rPr lang="en-US" dirty="0"/>
              <a:t>In the Example 2, Power System Stabilizer (PSS) will be added to the generator in order to stabilize the system </a:t>
            </a:r>
          </a:p>
          <a:p>
            <a:pPr marL="285750" indent="-285750">
              <a:buFont typeface="Arial" charset="0"/>
              <a:buChar char="•"/>
            </a:pPr>
            <a:endParaRPr lang="en-US" dirty="0"/>
          </a:p>
          <a:p>
            <a:endParaRPr lang="en-US" dirty="0"/>
          </a:p>
        </p:txBody>
      </p:sp>
      <p:pic>
        <p:nvPicPr>
          <p:cNvPr id="7" name="Picture 6"/>
          <p:cNvPicPr>
            <a:picLocks noChangeAspect="1"/>
          </p:cNvPicPr>
          <p:nvPr/>
        </p:nvPicPr>
        <p:blipFill>
          <a:blip r:embed="rId3"/>
          <a:stretch>
            <a:fillRect/>
          </a:stretch>
        </p:blipFill>
        <p:spPr>
          <a:xfrm>
            <a:off x="1313893" y="1437297"/>
            <a:ext cx="5724128" cy="2282814"/>
          </a:xfrm>
          <a:prstGeom prst="rect">
            <a:avLst/>
          </a:prstGeom>
        </p:spPr>
      </p:pic>
    </p:spTree>
    <p:extLst>
      <p:ext uri="{BB962C8B-B14F-4D97-AF65-F5344CB8AC3E}">
        <p14:creationId xmlns:p14="http://schemas.microsoft.com/office/powerpoint/2010/main" val="168477933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2</a:t>
            </a:r>
          </a:p>
        </p:txBody>
      </p:sp>
      <p:sp>
        <p:nvSpPr>
          <p:cNvPr id="6" name="Footer Placeholder 5"/>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49</a:t>
            </a:fld>
            <a:endParaRPr lang="en-US" dirty="0"/>
          </a:p>
        </p:txBody>
      </p:sp>
      <p:sp>
        <p:nvSpPr>
          <p:cNvPr id="3" name="Date Placeholder 2"/>
          <p:cNvSpPr>
            <a:spLocks noGrp="1"/>
          </p:cNvSpPr>
          <p:nvPr>
            <p:ph type="dt" sz="half" idx="12"/>
          </p:nvPr>
        </p:nvSpPr>
        <p:spPr/>
        <p:txBody>
          <a:bodyPr/>
          <a:lstStyle/>
          <a:p>
            <a:r>
              <a:rPr lang="sv-SE"/>
              <a:t>2016-11-20</a:t>
            </a:r>
          </a:p>
        </p:txBody>
      </p:sp>
      <p:sp>
        <p:nvSpPr>
          <p:cNvPr id="7" name="Content Placeholder 6"/>
          <p:cNvSpPr>
            <a:spLocks noGrp="1"/>
          </p:cNvSpPr>
          <p:nvPr>
            <p:ph idx="1"/>
          </p:nvPr>
        </p:nvSpPr>
        <p:spPr/>
        <p:txBody>
          <a:bodyPr/>
          <a:lstStyle/>
          <a:p>
            <a:pPr marL="342900" indent="-342900">
              <a:buFont typeface="Arial" panose="020B0604020202020204" pitchFamily="34" charset="0"/>
              <a:buChar char="•"/>
            </a:pPr>
            <a:r>
              <a:rPr lang="en-US" dirty="0"/>
              <a:t>The work on Example 2 should continue with the files prepared in a package Tutorial.Working_Examples.Example_2</a:t>
            </a:r>
          </a:p>
          <a:p>
            <a:endParaRPr lang="en-US" dirty="0"/>
          </a:p>
        </p:txBody>
      </p:sp>
      <p:pic>
        <p:nvPicPr>
          <p:cNvPr id="5" name="Picture 4"/>
          <p:cNvPicPr>
            <a:picLocks noChangeAspect="1"/>
          </p:cNvPicPr>
          <p:nvPr/>
        </p:nvPicPr>
        <p:blipFill>
          <a:blip r:embed="rId3"/>
          <a:stretch>
            <a:fillRect/>
          </a:stretch>
        </p:blipFill>
        <p:spPr>
          <a:xfrm>
            <a:off x="3924012" y="2420888"/>
            <a:ext cx="1275287" cy="3274566"/>
          </a:xfrm>
          <a:prstGeom prst="rect">
            <a:avLst/>
          </a:prstGeom>
        </p:spPr>
      </p:pic>
    </p:spTree>
    <p:extLst>
      <p:ext uri="{BB962C8B-B14F-4D97-AF65-F5344CB8AC3E}">
        <p14:creationId xmlns:p14="http://schemas.microsoft.com/office/powerpoint/2010/main" val="151438084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rotWithShape="1">
          <a:blip r:embed="rId2"/>
          <a:srcRect b="32342"/>
          <a:stretch/>
        </p:blipFill>
        <p:spPr>
          <a:xfrm>
            <a:off x="759430" y="3296590"/>
            <a:ext cx="5320884" cy="1690536"/>
          </a:xfrm>
          <a:prstGeom prst="rect">
            <a:avLst/>
          </a:prstGeom>
        </p:spPr>
      </p:pic>
      <p:sp>
        <p:nvSpPr>
          <p:cNvPr id="3" name="Content Placeholder 2"/>
          <p:cNvSpPr>
            <a:spLocks noGrp="1"/>
          </p:cNvSpPr>
          <p:nvPr>
            <p:ph idx="1"/>
          </p:nvPr>
        </p:nvSpPr>
        <p:spPr/>
        <p:txBody>
          <a:bodyPr/>
          <a:lstStyle/>
          <a:p>
            <a:r>
              <a:rPr lang="en-US" b="1" dirty="0"/>
              <a:t>Once the </a:t>
            </a:r>
            <a:r>
              <a:rPr lang="en-US" b="1" dirty="0" err="1"/>
              <a:t>OpenIPSL</a:t>
            </a:r>
            <a:r>
              <a:rPr lang="en-US" b="1" dirty="0"/>
              <a:t> is loaded </a:t>
            </a:r>
            <a:r>
              <a:rPr lang="en-US" dirty="0"/>
              <a:t>(see previous slide) in </a:t>
            </a:r>
            <a:r>
              <a:rPr lang="en-US" dirty="0" err="1"/>
              <a:t>OMEdit</a:t>
            </a:r>
            <a:r>
              <a:rPr lang="en-US" dirty="0"/>
              <a:t>, you can load the Tutorial package:</a:t>
            </a:r>
          </a:p>
          <a:p>
            <a:pPr marL="342900" indent="-342900">
              <a:buFont typeface="Arial" panose="020B0604020202020204" pitchFamily="34" charset="0"/>
              <a:buChar char="•"/>
            </a:pPr>
            <a:r>
              <a:rPr lang="en-US" dirty="0"/>
              <a:t>Browse Windows Explorer to the location of the unzipped folder </a:t>
            </a:r>
          </a:p>
          <a:p>
            <a:pPr marL="342900" indent="-342900">
              <a:buFont typeface="Arial" panose="020B0604020202020204" pitchFamily="34" charset="0"/>
              <a:buChar char="•"/>
            </a:pPr>
            <a:r>
              <a:rPr lang="en-US" dirty="0"/>
              <a:t>Drag &amp; drop the </a:t>
            </a:r>
            <a:r>
              <a:rPr lang="en-US" b="1" dirty="0"/>
              <a:t>Tutorial.mo</a:t>
            </a:r>
            <a:r>
              <a:rPr lang="en-US" dirty="0"/>
              <a:t> file to the </a:t>
            </a:r>
            <a:r>
              <a:rPr lang="en-US" b="1" dirty="0"/>
              <a:t>Library Browser</a:t>
            </a:r>
            <a:r>
              <a:rPr lang="en-US" dirty="0"/>
              <a:t> in </a:t>
            </a:r>
            <a:r>
              <a:rPr lang="en-US" dirty="0" err="1"/>
              <a:t>OMEdit</a:t>
            </a:r>
            <a:r>
              <a:rPr lang="en-US" dirty="0"/>
              <a:t>.</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a:p>
        </p:txBody>
      </p:sp>
      <p:sp>
        <p:nvSpPr>
          <p:cNvPr id="2" name="Title 1"/>
          <p:cNvSpPr>
            <a:spLocks noGrp="1"/>
          </p:cNvSpPr>
          <p:nvPr>
            <p:ph type="title"/>
          </p:nvPr>
        </p:nvSpPr>
        <p:spPr/>
        <p:txBody>
          <a:bodyPr/>
          <a:lstStyle/>
          <a:p>
            <a:r>
              <a:rPr lang="en-US" dirty="0"/>
              <a:t>Load an Application Example to </a:t>
            </a:r>
            <a:r>
              <a:rPr lang="en-US" dirty="0" err="1"/>
              <a:t>OMEdit</a:t>
            </a:r>
            <a:endParaRPr lang="en-US" dirty="0"/>
          </a:p>
        </p:txBody>
      </p:sp>
      <p:sp>
        <p:nvSpPr>
          <p:cNvPr id="9" name="Content Placeholder 2"/>
          <p:cNvSpPr txBox="1">
            <a:spLocks/>
          </p:cNvSpPr>
          <p:nvPr/>
        </p:nvSpPr>
        <p:spPr>
          <a:xfrm>
            <a:off x="467544" y="1650798"/>
            <a:ext cx="8076875" cy="3993206"/>
          </a:xfrm>
          <a:prstGeom prst="rect">
            <a:avLst/>
          </a:prstGeom>
        </p:spPr>
        <p:txBody>
          <a:bodyPr vert="horz" lIns="0" tIns="0" rIns="0" bIns="0" rtlCol="0">
            <a:normAutofit/>
          </a:bodyPr>
          <a:lstStyle>
            <a:lvl1pPr marL="0" indent="0" algn="l" defTabSz="912931" rtl="0" eaLnBrk="1" latinLnBrk="0" hangingPunct="1">
              <a:lnSpc>
                <a:spcPct val="100000"/>
              </a:lnSpc>
              <a:spcBef>
                <a:spcPct val="20000"/>
              </a:spcBef>
              <a:buFont typeface="Arial" pitchFamily="34" charset="0"/>
              <a:buNone/>
              <a:defRPr sz="2000" kern="1200">
                <a:solidFill>
                  <a:schemeClr val="tx1"/>
                </a:solidFill>
                <a:latin typeface="+mn-lt"/>
                <a:ea typeface="+mn-ea"/>
                <a:cs typeface="+mn-cs"/>
              </a:defRPr>
            </a:lvl1pPr>
            <a:lvl2pPr marL="355028" indent="-355028" algn="l" defTabSz="912931"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2pPr>
            <a:lvl3pPr marL="722737" indent="-367708" algn="l" defTabSz="912931"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3pPr>
            <a:lvl4pPr marL="1074596" indent="-351863" algn="l" defTabSz="912931"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4pPr>
            <a:lvl5pPr marL="1532646" indent="-456463" algn="l" defTabSz="912931"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5pPr>
            <a:lvl6pPr marL="2510560" indent="-228230" algn="l" defTabSz="91293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7027" indent="-228230" algn="l" defTabSz="91293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3492" indent="-228230" algn="l" defTabSz="91293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79959" indent="-228230" algn="l" defTabSz="912931"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2931" rtl="0" eaLnBrk="1" fontAlgn="auto" latinLnBrk="0" hangingPunct="1">
              <a:lnSpc>
                <a:spcPct val="100000"/>
              </a:lnSpc>
              <a:spcBef>
                <a:spcPct val="20000"/>
              </a:spcBef>
              <a:spcAft>
                <a:spcPts val="0"/>
              </a:spcAft>
              <a:buClrTx/>
              <a:buSzTx/>
              <a:buFont typeface="Arial" pitchFamily="34" charset="0"/>
              <a:buNone/>
              <a:tabLst/>
              <a:defRPr/>
            </a:pPr>
            <a:endParaRPr kumimoji="0" lang="en-US" sz="20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2931" rtl="0" eaLnBrk="1" fontAlgn="auto" latinLnBrk="0" hangingPunct="1">
              <a:lnSpc>
                <a:spcPct val="100000"/>
              </a:lnSpc>
              <a:spcBef>
                <a:spcPct val="20000"/>
              </a:spcBef>
              <a:spcAft>
                <a:spcPts val="0"/>
              </a:spcAft>
              <a:buClrTx/>
              <a:buSzTx/>
              <a:buFont typeface="Arial" pitchFamily="34" charset="0"/>
              <a:buNone/>
              <a:tabLst/>
              <a:defRPr/>
            </a:pPr>
            <a:endParaRPr kumimoji="0" lang="en-US" sz="20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2931" rtl="0" eaLnBrk="1" fontAlgn="auto" latinLnBrk="0" hangingPunct="1">
              <a:lnSpc>
                <a:spcPct val="100000"/>
              </a:lnSpc>
              <a:spcBef>
                <a:spcPct val="20000"/>
              </a:spcBef>
              <a:spcAft>
                <a:spcPts val="0"/>
              </a:spcAft>
              <a:buClrTx/>
              <a:buSzTx/>
              <a:buFont typeface="Arial" pitchFamily="34" charset="0"/>
              <a:buNone/>
              <a:tabLst/>
              <a:defRPr/>
            </a:pPr>
            <a:endParaRPr kumimoji="0" lang="en-US" sz="20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2931" rtl="0" eaLnBrk="1" fontAlgn="auto" latinLnBrk="0" hangingPunct="1">
              <a:lnSpc>
                <a:spcPct val="100000"/>
              </a:lnSpc>
              <a:spcBef>
                <a:spcPct val="20000"/>
              </a:spcBef>
              <a:spcAft>
                <a:spcPts val="0"/>
              </a:spcAft>
              <a:buClrTx/>
              <a:buSzTx/>
              <a:buFont typeface="Arial" pitchFamily="34" charset="0"/>
              <a:buNone/>
              <a:tabLst/>
              <a:defRPr/>
            </a:pPr>
            <a:endParaRPr kumimoji="0" lang="en-US" sz="20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2931" rtl="0" eaLnBrk="1" fontAlgn="auto" latinLnBrk="0" hangingPunct="1">
              <a:lnSpc>
                <a:spcPct val="100000"/>
              </a:lnSpc>
              <a:spcBef>
                <a:spcPct val="20000"/>
              </a:spcBef>
              <a:spcAft>
                <a:spcPts val="0"/>
              </a:spcAft>
              <a:buClrTx/>
              <a:buSzTx/>
              <a:buFont typeface="Arial" pitchFamily="34" charset="0"/>
              <a:buNone/>
              <a:tabLst/>
              <a:defRPr/>
            </a:pPr>
            <a:endParaRPr kumimoji="0" lang="en-US" sz="2000" b="0" i="0" u="none" strike="noStrike" kern="1200" cap="none" spc="0" normalizeH="0" baseline="0" noProof="0" dirty="0">
              <a:ln>
                <a:noFill/>
              </a:ln>
              <a:solidFill>
                <a:schemeClr val="tx1"/>
              </a:solidFill>
              <a:effectLst/>
              <a:uLnTx/>
              <a:uFillTx/>
              <a:latin typeface="+mn-lt"/>
              <a:ea typeface="+mn-ea"/>
              <a:cs typeface="+mn-cs"/>
            </a:endParaRPr>
          </a:p>
        </p:txBody>
      </p:sp>
      <p:pic>
        <p:nvPicPr>
          <p:cNvPr id="8" name="Picture 7"/>
          <p:cNvPicPr>
            <a:picLocks noChangeAspect="1"/>
          </p:cNvPicPr>
          <p:nvPr/>
        </p:nvPicPr>
        <p:blipFill>
          <a:blip r:embed="rId3"/>
          <a:stretch>
            <a:fillRect/>
          </a:stretch>
        </p:blipFill>
        <p:spPr>
          <a:xfrm>
            <a:off x="6516216" y="3296590"/>
            <a:ext cx="1785646" cy="3174481"/>
          </a:xfrm>
          <a:prstGeom prst="rect">
            <a:avLst/>
          </a:prstGeom>
        </p:spPr>
      </p:pic>
      <p:cxnSp>
        <p:nvCxnSpPr>
          <p:cNvPr id="12" name="Straight Arrow Connector 11"/>
          <p:cNvCxnSpPr/>
          <p:nvPr/>
        </p:nvCxnSpPr>
        <p:spPr>
          <a:xfrm>
            <a:off x="2051720" y="4725144"/>
            <a:ext cx="4570308" cy="576064"/>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6" name="Date Placeholder 5"/>
          <p:cNvSpPr>
            <a:spLocks noGrp="1"/>
          </p:cNvSpPr>
          <p:nvPr>
            <p:ph type="dt" sz="half" idx="10"/>
          </p:nvPr>
        </p:nvSpPr>
        <p:spPr/>
        <p:txBody>
          <a:bodyPr/>
          <a:lstStyle/>
          <a:p>
            <a:r>
              <a:rPr lang="sv-SE"/>
              <a:t>2016-11-20</a:t>
            </a:r>
          </a:p>
        </p:txBody>
      </p:sp>
      <p:sp>
        <p:nvSpPr>
          <p:cNvPr id="7" name="Footer Placeholder 6"/>
          <p:cNvSpPr>
            <a:spLocks noGrp="1"/>
          </p:cNvSpPr>
          <p:nvPr>
            <p:ph type="ftr" sz="quarter" idx="11"/>
          </p:nvPr>
        </p:nvSpPr>
        <p:spPr/>
        <p:txBody>
          <a:bodyPr/>
          <a:lstStyle/>
          <a:p>
            <a:r>
              <a:rPr lang="sv-SE"/>
              <a:t>OpenIPSL Tutorial</a:t>
            </a:r>
            <a:endParaRPr lang="sv-SE" dirty="0"/>
          </a:p>
        </p:txBody>
      </p:sp>
      <p:sp>
        <p:nvSpPr>
          <p:cNvPr id="10" name="Slide Number Placeholder 9"/>
          <p:cNvSpPr>
            <a:spLocks noGrp="1"/>
          </p:cNvSpPr>
          <p:nvPr>
            <p:ph type="sldNum" sz="quarter" idx="12"/>
          </p:nvPr>
        </p:nvSpPr>
        <p:spPr/>
        <p:txBody>
          <a:bodyPr/>
          <a:lstStyle/>
          <a:p>
            <a:fld id="{227F0B53-9592-4779-891F-997228E46E01}" type="slidenum">
              <a:rPr lang="sv-SE" smtClean="0"/>
              <a:t>5</a:t>
            </a:fld>
            <a:endParaRPr lang="sv-SE"/>
          </a:p>
        </p:txBody>
      </p:sp>
    </p:spTree>
    <p:extLst>
      <p:ext uri="{BB962C8B-B14F-4D97-AF65-F5344CB8AC3E}">
        <p14:creationId xmlns:p14="http://schemas.microsoft.com/office/powerpoint/2010/main" val="134827994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2</a:t>
            </a:r>
          </a:p>
        </p:txBody>
      </p:sp>
      <p:sp>
        <p:nvSpPr>
          <p:cNvPr id="7" name="Footer Placeholder 6"/>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50</a:t>
            </a:fld>
            <a:endParaRPr lang="en-US" dirty="0"/>
          </a:p>
        </p:txBody>
      </p:sp>
      <p:sp>
        <p:nvSpPr>
          <p:cNvPr id="3" name="Date Placeholder 2"/>
          <p:cNvSpPr>
            <a:spLocks noGrp="1"/>
          </p:cNvSpPr>
          <p:nvPr>
            <p:ph type="dt" sz="half" idx="12"/>
          </p:nvPr>
        </p:nvSpPr>
        <p:spPr/>
        <p:txBody>
          <a:bodyPr/>
          <a:lstStyle/>
          <a:p>
            <a:r>
              <a:rPr lang="sv-SE"/>
              <a:t>2016-11-20</a:t>
            </a:r>
          </a:p>
        </p:txBody>
      </p:sp>
      <p:sp>
        <p:nvSpPr>
          <p:cNvPr id="8" name="Content Placeholder 7"/>
          <p:cNvSpPr>
            <a:spLocks noGrp="1"/>
          </p:cNvSpPr>
          <p:nvPr>
            <p:ph idx="1"/>
          </p:nvPr>
        </p:nvSpPr>
        <p:spPr/>
        <p:txBody>
          <a:bodyPr/>
          <a:lstStyle/>
          <a:p>
            <a:r>
              <a:rPr lang="en-US" b="1" dirty="0"/>
              <a:t>Generator model – Step 1</a:t>
            </a:r>
          </a:p>
          <a:p>
            <a:pPr marL="342900" indent="-342900">
              <a:buFont typeface="Arial" panose="020B0604020202020204" pitchFamily="34" charset="0"/>
              <a:buChar char="•"/>
            </a:pPr>
            <a:r>
              <a:rPr lang="en-US" dirty="0"/>
              <a:t>The first step is to add the model of the PSS Type II and the summation block to the model of the generator</a:t>
            </a:r>
          </a:p>
          <a:p>
            <a:endParaRPr lang="en-US" dirty="0"/>
          </a:p>
        </p:txBody>
      </p:sp>
      <p:pic>
        <p:nvPicPr>
          <p:cNvPr id="5" name="Picture 4"/>
          <p:cNvPicPr>
            <a:picLocks noChangeAspect="1"/>
          </p:cNvPicPr>
          <p:nvPr/>
        </p:nvPicPr>
        <p:blipFill>
          <a:blip r:embed="rId3"/>
          <a:stretch>
            <a:fillRect/>
          </a:stretch>
        </p:blipFill>
        <p:spPr>
          <a:xfrm>
            <a:off x="1979712" y="2825244"/>
            <a:ext cx="5364088" cy="2131793"/>
          </a:xfrm>
          <a:prstGeom prst="rect">
            <a:avLst/>
          </a:prstGeom>
        </p:spPr>
      </p:pic>
    </p:spTree>
    <p:extLst>
      <p:ext uri="{BB962C8B-B14F-4D97-AF65-F5344CB8AC3E}">
        <p14:creationId xmlns:p14="http://schemas.microsoft.com/office/powerpoint/2010/main" val="22264405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2</a:t>
            </a:r>
          </a:p>
        </p:txBody>
      </p:sp>
      <p:sp>
        <p:nvSpPr>
          <p:cNvPr id="7" name="Footer Placeholder 6"/>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51</a:t>
            </a:fld>
            <a:endParaRPr lang="en-US" dirty="0"/>
          </a:p>
        </p:txBody>
      </p:sp>
      <p:sp>
        <p:nvSpPr>
          <p:cNvPr id="3" name="Date Placeholder 2"/>
          <p:cNvSpPr>
            <a:spLocks noGrp="1"/>
          </p:cNvSpPr>
          <p:nvPr>
            <p:ph type="dt" sz="half" idx="12"/>
          </p:nvPr>
        </p:nvSpPr>
        <p:spPr/>
        <p:txBody>
          <a:bodyPr/>
          <a:lstStyle/>
          <a:p>
            <a:r>
              <a:rPr lang="sv-SE"/>
              <a:t>2016-11-20</a:t>
            </a:r>
          </a:p>
        </p:txBody>
      </p:sp>
      <p:sp>
        <p:nvSpPr>
          <p:cNvPr id="8" name="Content Placeholder 7"/>
          <p:cNvSpPr>
            <a:spLocks noGrp="1"/>
          </p:cNvSpPr>
          <p:nvPr>
            <p:ph idx="1"/>
          </p:nvPr>
        </p:nvSpPr>
        <p:spPr/>
        <p:txBody>
          <a:bodyPr/>
          <a:lstStyle/>
          <a:p>
            <a:r>
              <a:rPr lang="en-US" b="1" dirty="0"/>
              <a:t>Generator model – Step 1</a:t>
            </a:r>
          </a:p>
          <a:p>
            <a:pPr marL="342900" indent="-342900">
              <a:buFont typeface="Arial" panose="020B0604020202020204" pitchFamily="34" charset="0"/>
              <a:buChar char="•"/>
            </a:pPr>
            <a:r>
              <a:rPr lang="en-US" dirty="0"/>
              <a:t>The internal control structure of the PSS can be accessed by right-clicking on the PSS block and selecting </a:t>
            </a:r>
            <a:r>
              <a:rPr lang="en-US" i="1" dirty="0"/>
              <a:t>“View Class”</a:t>
            </a:r>
            <a:endParaRPr lang="en-US" dirty="0"/>
          </a:p>
          <a:p>
            <a:endParaRPr lang="en-US" dirty="0"/>
          </a:p>
        </p:txBody>
      </p:sp>
      <p:pic>
        <p:nvPicPr>
          <p:cNvPr id="5" name="Picture 4"/>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003300" y="3074194"/>
            <a:ext cx="7137400" cy="1625600"/>
          </a:xfrm>
          <a:prstGeom prst="rect">
            <a:avLst/>
          </a:prstGeom>
        </p:spPr>
      </p:pic>
    </p:spTree>
    <p:extLst>
      <p:ext uri="{BB962C8B-B14F-4D97-AF65-F5344CB8AC3E}">
        <p14:creationId xmlns:p14="http://schemas.microsoft.com/office/powerpoint/2010/main" val="106215292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2</a:t>
            </a:r>
          </a:p>
        </p:txBody>
      </p:sp>
      <p:sp>
        <p:nvSpPr>
          <p:cNvPr id="5" name="Footer Placeholder 4"/>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52</a:t>
            </a:fld>
            <a:endParaRPr lang="en-US" dirty="0"/>
          </a:p>
        </p:txBody>
      </p:sp>
      <p:sp>
        <p:nvSpPr>
          <p:cNvPr id="3" name="Date Placeholder 2"/>
          <p:cNvSpPr>
            <a:spLocks noGrp="1"/>
          </p:cNvSpPr>
          <p:nvPr>
            <p:ph type="dt" sz="half" idx="12"/>
          </p:nvPr>
        </p:nvSpPr>
        <p:spPr/>
        <p:txBody>
          <a:bodyPr/>
          <a:lstStyle/>
          <a:p>
            <a:r>
              <a:rPr lang="sv-SE"/>
              <a:t>2016-11-20</a:t>
            </a:r>
          </a:p>
        </p:txBody>
      </p:sp>
      <p:sp>
        <p:nvSpPr>
          <p:cNvPr id="8" name="Content Placeholder 7"/>
          <p:cNvSpPr>
            <a:spLocks noGrp="1"/>
          </p:cNvSpPr>
          <p:nvPr>
            <p:ph idx="1"/>
          </p:nvPr>
        </p:nvSpPr>
        <p:spPr/>
        <p:txBody>
          <a:bodyPr/>
          <a:lstStyle/>
          <a:p>
            <a:r>
              <a:rPr lang="en-US" b="1" dirty="0"/>
              <a:t>Generator – Step 1</a:t>
            </a:r>
          </a:p>
          <a:p>
            <a:pPr marL="342900" indent="-342900">
              <a:buFont typeface="Arial" panose="020B0604020202020204" pitchFamily="34" charset="0"/>
              <a:buChar char="•"/>
            </a:pPr>
            <a:r>
              <a:rPr lang="en-US" dirty="0"/>
              <a:t>PSS should be parameterized as shown in the table</a:t>
            </a:r>
          </a:p>
          <a:p>
            <a:endParaRPr lang="en-US" dirty="0"/>
          </a:p>
        </p:txBody>
      </p:sp>
      <mc:AlternateContent xmlns:mc="http://schemas.openxmlformats.org/markup-compatibility/2006" xmlns:a14="http://schemas.microsoft.com/office/drawing/2010/main">
        <mc:Choice Requires="a14">
          <p:graphicFrame>
            <p:nvGraphicFramePr>
              <p:cNvPr id="7" name="Table 6"/>
              <p:cNvGraphicFramePr>
                <a:graphicFrameLocks noGrp="1"/>
              </p:cNvGraphicFramePr>
              <p:nvPr>
                <p:extLst/>
              </p:nvPr>
            </p:nvGraphicFramePr>
            <p:xfrm>
              <a:off x="755576" y="3037662"/>
              <a:ext cx="2952328" cy="2291080"/>
            </p:xfrm>
            <a:graphic>
              <a:graphicData uri="http://schemas.openxmlformats.org/drawingml/2006/table">
                <a:tbl>
                  <a:tblPr firstRow="1" bandRow="1">
                    <a:tableStyleId>{5940675A-B579-460E-94D1-54222C63F5DA}</a:tableStyleId>
                  </a:tblPr>
                  <a:tblGrid>
                    <a:gridCol w="738082">
                      <a:extLst>
                        <a:ext uri="{9D8B030D-6E8A-4147-A177-3AD203B41FA5}">
                          <a16:colId xmlns:a16="http://schemas.microsoft.com/office/drawing/2014/main" val="20000"/>
                        </a:ext>
                      </a:extLst>
                    </a:gridCol>
                    <a:gridCol w="738082">
                      <a:extLst>
                        <a:ext uri="{9D8B030D-6E8A-4147-A177-3AD203B41FA5}">
                          <a16:colId xmlns:a16="http://schemas.microsoft.com/office/drawing/2014/main" val="20001"/>
                        </a:ext>
                      </a:extLst>
                    </a:gridCol>
                    <a:gridCol w="738082">
                      <a:extLst>
                        <a:ext uri="{9D8B030D-6E8A-4147-A177-3AD203B41FA5}">
                          <a16:colId xmlns:a16="http://schemas.microsoft.com/office/drawing/2014/main" val="20002"/>
                        </a:ext>
                      </a:extLst>
                    </a:gridCol>
                    <a:gridCol w="738082">
                      <a:extLst>
                        <a:ext uri="{9D8B030D-6E8A-4147-A177-3AD203B41FA5}">
                          <a16:colId xmlns:a16="http://schemas.microsoft.com/office/drawing/2014/main" val="20003"/>
                        </a:ext>
                      </a:extLst>
                    </a:gridCol>
                  </a:tblGrid>
                  <a:tr h="386969">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𝑣</m:t>
                                    </m:r>
                                  </m:e>
                                  <m:sub>
                                    <m:r>
                                      <a:rPr lang="hr-HR" b="0" i="1" smtClean="0">
                                        <a:solidFill>
                                          <a:schemeClr val="tx1"/>
                                        </a:solidFill>
                                        <a:latin typeface="Cambria Math" charset="0"/>
                                      </a:rPr>
                                      <m:t>𝑠</m:t>
                                    </m:r>
                                    <m:r>
                                      <a:rPr lang="hr-HR" b="0" i="1" smtClean="0">
                                        <a:solidFill>
                                          <a:schemeClr val="tx1"/>
                                        </a:solidFill>
                                        <a:latin typeface="Cambria Math" charset="0"/>
                                      </a:rPr>
                                      <m:t>,</m:t>
                                    </m:r>
                                    <m:r>
                                      <a:rPr lang="hr-HR" b="0" i="1" smtClean="0">
                                        <a:solidFill>
                                          <a:schemeClr val="tx1"/>
                                        </a:solidFill>
                                        <a:latin typeface="Cambria Math" charset="0"/>
                                      </a:rPr>
                                      <m:t>𝑚𝑎𝑥</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0.2</a:t>
                          </a:r>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sSub>
                                  <m:sSubPr>
                                    <m:ctrlPr>
                                      <a:rPr lang="hr-HR" b="0" i="1" smtClean="0">
                                        <a:latin typeface="Cambria Math" panose="02040503050406030204" pitchFamily="18" charset="0"/>
                                      </a:rPr>
                                    </m:ctrlPr>
                                  </m:sSubPr>
                                  <m:e>
                                    <m:r>
                                      <a:rPr lang="hr-HR" b="0" i="1" smtClean="0">
                                        <a:latin typeface="Cambria Math" charset="0"/>
                                      </a:rPr>
                                      <m:t>𝑇</m:t>
                                    </m:r>
                                  </m:e>
                                  <m:sub>
                                    <m:r>
                                      <a:rPr lang="hr-HR" b="0" i="1" smtClean="0">
                                        <a:latin typeface="Cambria Math" charset="0"/>
                                      </a:rPr>
                                      <m:t>1</m:t>
                                    </m:r>
                                  </m:sub>
                                </m:sSub>
                              </m:oMath>
                            </m:oMathPara>
                          </a14:m>
                          <a:endParaRPr lang="en-US" dirty="0"/>
                        </a:p>
                      </a:txBody>
                      <a:tcPr>
                        <a:solidFill>
                          <a:schemeClr val="accent6">
                            <a:lumMod val="60000"/>
                            <a:lumOff val="40000"/>
                          </a:schemeClr>
                        </a:solidFill>
                      </a:tcPr>
                    </a:tc>
                    <a:tc>
                      <a:txBody>
                        <a:bodyPr/>
                        <a:lstStyle/>
                        <a:p>
                          <a:r>
                            <a:rPr lang="en-US" dirty="0"/>
                            <a:t>0.154</a:t>
                          </a:r>
                        </a:p>
                      </a:txBody>
                      <a:tcPr>
                        <a:solidFill>
                          <a:schemeClr val="accent6">
                            <a:lumMod val="20000"/>
                            <a:lumOff val="80000"/>
                          </a:schemeClr>
                        </a:solidFill>
                      </a:tcPr>
                    </a:tc>
                    <a:extLst>
                      <a:ext uri="{0D108BD9-81ED-4DB2-BD59-A6C34878D82A}">
                        <a16:rowId xmlns:a16="http://schemas.microsoft.com/office/drawing/2014/main" val="10000"/>
                      </a:ext>
                    </a:extLst>
                  </a:tr>
                  <a:tr h="370840">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𝑣</m:t>
                                    </m:r>
                                  </m:e>
                                  <m:sub>
                                    <m:r>
                                      <a:rPr lang="hr-HR" b="0" i="1" smtClean="0">
                                        <a:solidFill>
                                          <a:schemeClr val="tx1"/>
                                        </a:solidFill>
                                        <a:latin typeface="Cambria Math" charset="0"/>
                                      </a:rPr>
                                      <m:t>𝑠</m:t>
                                    </m:r>
                                    <m:r>
                                      <a:rPr lang="hr-HR" b="0" i="1" smtClean="0">
                                        <a:solidFill>
                                          <a:schemeClr val="tx1"/>
                                        </a:solidFill>
                                        <a:latin typeface="Cambria Math" charset="0"/>
                                      </a:rPr>
                                      <m:t>,</m:t>
                                    </m:r>
                                    <m:r>
                                      <a:rPr lang="hr-HR" b="0" i="1" smtClean="0">
                                        <a:solidFill>
                                          <a:schemeClr val="tx1"/>
                                        </a:solidFill>
                                        <a:latin typeface="Cambria Math" charset="0"/>
                                      </a:rPr>
                                      <m:t>𝑚𝑖𝑛</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0.2</a:t>
                          </a:r>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sSub>
                                  <m:sSubPr>
                                    <m:ctrlPr>
                                      <a:rPr lang="hr-HR" b="0" i="1" smtClean="0">
                                        <a:latin typeface="Cambria Math" panose="02040503050406030204" pitchFamily="18" charset="0"/>
                                      </a:rPr>
                                    </m:ctrlPr>
                                  </m:sSubPr>
                                  <m:e>
                                    <m:r>
                                      <a:rPr lang="hr-HR" b="0" i="1" smtClean="0">
                                        <a:latin typeface="Cambria Math" charset="0"/>
                                      </a:rPr>
                                      <m:t>𝑇</m:t>
                                    </m:r>
                                  </m:e>
                                  <m:sub>
                                    <m:r>
                                      <a:rPr lang="hr-HR" b="0" i="1" smtClean="0">
                                        <a:latin typeface="Cambria Math" charset="0"/>
                                      </a:rPr>
                                      <m:t>2</m:t>
                                    </m:r>
                                  </m:sub>
                                </m:sSub>
                              </m:oMath>
                            </m:oMathPara>
                          </a14:m>
                          <a:endParaRPr lang="en-US" dirty="0"/>
                        </a:p>
                      </a:txBody>
                      <a:tcPr>
                        <a:solidFill>
                          <a:schemeClr val="accent6">
                            <a:lumMod val="60000"/>
                            <a:lumOff val="40000"/>
                          </a:schemeClr>
                        </a:solidFill>
                      </a:tcPr>
                    </a:tc>
                    <a:tc>
                      <a:txBody>
                        <a:bodyPr/>
                        <a:lstStyle/>
                        <a:p>
                          <a:r>
                            <a:rPr lang="en-US" dirty="0"/>
                            <a:t>0.033</a:t>
                          </a:r>
                        </a:p>
                      </a:txBody>
                      <a:tcPr>
                        <a:solidFill>
                          <a:schemeClr val="accent6">
                            <a:lumMod val="20000"/>
                            <a:lumOff val="80000"/>
                          </a:schemeClr>
                        </a:solidFill>
                      </a:tcPr>
                    </a:tc>
                    <a:extLst>
                      <a:ext uri="{0D108BD9-81ED-4DB2-BD59-A6C34878D82A}">
                        <a16:rowId xmlns:a16="http://schemas.microsoft.com/office/drawing/2014/main" val="10001"/>
                      </a:ext>
                    </a:extLst>
                  </a:tr>
                  <a:tr h="370840">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𝐾</m:t>
                                    </m:r>
                                  </m:e>
                                  <m:sub>
                                    <m:r>
                                      <a:rPr lang="hr-HR" b="0" i="1" smtClean="0">
                                        <a:solidFill>
                                          <a:schemeClr val="tx1"/>
                                        </a:solidFill>
                                        <a:latin typeface="Cambria Math" charset="0"/>
                                      </a:rPr>
                                      <m:t>𝑤</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nb-NO" dirty="0"/>
                            <a:t>1.41</a:t>
                          </a:r>
                          <a:endParaRPr lang="en-US" dirty="0"/>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sSub>
                                  <m:sSubPr>
                                    <m:ctrlPr>
                                      <a:rPr lang="hr-HR" b="0" i="1" smtClean="0">
                                        <a:latin typeface="Cambria Math" panose="02040503050406030204" pitchFamily="18" charset="0"/>
                                      </a:rPr>
                                    </m:ctrlPr>
                                  </m:sSubPr>
                                  <m:e>
                                    <m:r>
                                      <a:rPr lang="hr-HR" b="0" i="1" smtClean="0">
                                        <a:latin typeface="Cambria Math" charset="0"/>
                                      </a:rPr>
                                      <m:t>𝑇</m:t>
                                    </m:r>
                                  </m:e>
                                  <m:sub>
                                    <m:r>
                                      <a:rPr lang="hr-HR" b="0" i="1" smtClean="0">
                                        <a:latin typeface="Cambria Math" charset="0"/>
                                      </a:rPr>
                                      <m:t>3</m:t>
                                    </m:r>
                                  </m:sub>
                                </m:sSub>
                              </m:oMath>
                            </m:oMathPara>
                          </a14:m>
                          <a:endParaRPr lang="en-US" dirty="0"/>
                        </a:p>
                      </a:txBody>
                      <a:tcPr>
                        <a:solidFill>
                          <a:schemeClr val="accent6">
                            <a:lumMod val="60000"/>
                            <a:lumOff val="40000"/>
                          </a:schemeClr>
                        </a:solidFill>
                      </a:tcPr>
                    </a:tc>
                    <a:tc>
                      <a:txBody>
                        <a:bodyPr/>
                        <a:lstStyle/>
                        <a:p>
                          <a:r>
                            <a:rPr lang="en-US" dirty="0"/>
                            <a:t>1</a:t>
                          </a:r>
                        </a:p>
                      </a:txBody>
                      <a:tcPr>
                        <a:solidFill>
                          <a:schemeClr val="accent6">
                            <a:lumMod val="20000"/>
                            <a:lumOff val="80000"/>
                          </a:schemeClr>
                        </a:solidFill>
                      </a:tcPr>
                    </a:tc>
                    <a:extLst>
                      <a:ext uri="{0D108BD9-81ED-4DB2-BD59-A6C34878D82A}">
                        <a16:rowId xmlns:a16="http://schemas.microsoft.com/office/drawing/2014/main" val="10002"/>
                      </a:ext>
                    </a:extLst>
                  </a:tr>
                  <a:tr h="370840">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𝑇</m:t>
                                    </m:r>
                                  </m:e>
                                  <m:sub>
                                    <m:r>
                                      <a:rPr lang="hr-HR" b="0" i="1" smtClean="0">
                                        <a:solidFill>
                                          <a:schemeClr val="tx1"/>
                                        </a:solidFill>
                                        <a:latin typeface="Cambria Math" charset="0"/>
                                      </a:rPr>
                                      <m:t>𝑤</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0.001</a:t>
                          </a:r>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sSub>
                                  <m:sSubPr>
                                    <m:ctrlPr>
                                      <a:rPr lang="hr-HR" b="0" i="1" smtClean="0">
                                        <a:latin typeface="Cambria Math" panose="02040503050406030204" pitchFamily="18" charset="0"/>
                                      </a:rPr>
                                    </m:ctrlPr>
                                  </m:sSubPr>
                                  <m:e>
                                    <m:r>
                                      <a:rPr lang="hr-HR" b="0" i="1" smtClean="0">
                                        <a:latin typeface="Cambria Math" charset="0"/>
                                      </a:rPr>
                                      <m:t>𝑇</m:t>
                                    </m:r>
                                  </m:e>
                                  <m:sub>
                                    <m:r>
                                      <a:rPr lang="hr-HR" b="0" i="1" smtClean="0">
                                        <a:latin typeface="Cambria Math" charset="0"/>
                                      </a:rPr>
                                      <m:t>4</m:t>
                                    </m:r>
                                  </m:sub>
                                </m:sSub>
                              </m:oMath>
                            </m:oMathPara>
                          </a14:m>
                          <a:endParaRPr lang="en-US" dirty="0"/>
                        </a:p>
                      </a:txBody>
                      <a:tcPr>
                        <a:solidFill>
                          <a:schemeClr val="accent6">
                            <a:lumMod val="60000"/>
                            <a:lumOff val="40000"/>
                          </a:schemeClr>
                        </a:solidFill>
                      </a:tcPr>
                    </a:tc>
                    <a:tc>
                      <a:txBody>
                        <a:bodyPr/>
                        <a:lstStyle/>
                        <a:p>
                          <a:r>
                            <a:rPr lang="en-US" dirty="0"/>
                            <a:t>1</a:t>
                          </a:r>
                        </a:p>
                      </a:txBody>
                      <a:tcPr>
                        <a:solidFill>
                          <a:schemeClr val="accent6">
                            <a:lumMod val="20000"/>
                            <a:lumOff val="80000"/>
                          </a:schemeClr>
                        </a:solidFill>
                      </a:tcPr>
                    </a:tc>
                    <a:extLst>
                      <a:ext uri="{0D108BD9-81ED-4DB2-BD59-A6C34878D82A}">
                        <a16:rowId xmlns:a16="http://schemas.microsoft.com/office/drawing/2014/main" val="10003"/>
                      </a:ext>
                    </a:extLst>
                  </a:tr>
                </a:tbl>
              </a:graphicData>
            </a:graphic>
          </p:graphicFrame>
        </mc:Choice>
        <mc:Fallback xmlns="">
          <p:graphicFrame>
            <p:nvGraphicFramePr>
              <p:cNvPr id="7" name="Table 6"/>
              <p:cNvGraphicFramePr>
                <a:graphicFrameLocks noGrp="1"/>
              </p:cNvGraphicFramePr>
              <p:nvPr>
                <p:extLst>
                  <p:ext uri="{D42A27DB-BD31-4B8C-83A1-F6EECF244321}">
                    <p14:modId xmlns:p14="http://schemas.microsoft.com/office/powerpoint/2010/main" val="1193995817"/>
                  </p:ext>
                </p:extLst>
              </p:nvPr>
            </p:nvGraphicFramePr>
            <p:xfrm>
              <a:off x="755576" y="3037662"/>
              <a:ext cx="2952328" cy="1506474"/>
            </p:xfrm>
            <a:graphic>
              <a:graphicData uri="http://schemas.openxmlformats.org/drawingml/2006/table">
                <a:tbl>
                  <a:tblPr firstRow="1" bandRow="1">
                    <a:tableStyleId>{5940675A-B579-460E-94D1-54222C63F5DA}</a:tableStyleId>
                  </a:tblPr>
                  <a:tblGrid>
                    <a:gridCol w="738082"/>
                    <a:gridCol w="738082"/>
                    <a:gridCol w="738082"/>
                    <a:gridCol w="738082"/>
                  </a:tblGrid>
                  <a:tr h="386969">
                    <a:tc>
                      <a:txBody>
                        <a:bodyPr/>
                        <a:lstStyle/>
                        <a:p>
                          <a:endParaRPr lang="en-US"/>
                        </a:p>
                      </a:txBody>
                      <a:tcPr>
                        <a:blipFill rotWithShape="0">
                          <a:blip r:embed="rId3"/>
                          <a:stretch>
                            <a:fillRect l="-820" t="-7813" r="-300000" b="-310938"/>
                          </a:stretch>
                        </a:blipFill>
                      </a:tcPr>
                    </a:tc>
                    <a:tc>
                      <a:txBody>
                        <a:bodyPr/>
                        <a:lstStyle/>
                        <a:p>
                          <a:r>
                            <a:rPr lang="en-US" dirty="0" smtClean="0"/>
                            <a:t>0.2</a:t>
                          </a:r>
                          <a:endParaRPr lang="en-US" dirty="0"/>
                        </a:p>
                      </a:txBody>
                      <a:tcPr>
                        <a:solidFill>
                          <a:schemeClr val="accent6">
                            <a:lumMod val="20000"/>
                            <a:lumOff val="80000"/>
                          </a:schemeClr>
                        </a:solidFill>
                      </a:tcPr>
                    </a:tc>
                    <a:tc>
                      <a:txBody>
                        <a:bodyPr/>
                        <a:lstStyle/>
                        <a:p>
                          <a:endParaRPr lang="en-US"/>
                        </a:p>
                      </a:txBody>
                      <a:tcPr>
                        <a:blipFill rotWithShape="0">
                          <a:blip r:embed="rId3"/>
                          <a:stretch>
                            <a:fillRect l="-200000" t="-7813" r="-100820" b="-310938"/>
                          </a:stretch>
                        </a:blipFill>
                      </a:tcPr>
                    </a:tc>
                    <a:tc>
                      <a:txBody>
                        <a:bodyPr/>
                        <a:lstStyle/>
                        <a:p>
                          <a:r>
                            <a:rPr lang="en-US" dirty="0" smtClean="0"/>
                            <a:t>0.154</a:t>
                          </a:r>
                          <a:endParaRPr lang="en-US" dirty="0"/>
                        </a:p>
                      </a:txBody>
                      <a:tcPr>
                        <a:solidFill>
                          <a:schemeClr val="accent6">
                            <a:lumMod val="20000"/>
                            <a:lumOff val="80000"/>
                          </a:schemeClr>
                        </a:solidFill>
                      </a:tcPr>
                    </a:tc>
                  </a:tr>
                  <a:tr h="377825">
                    <a:tc>
                      <a:txBody>
                        <a:bodyPr/>
                        <a:lstStyle/>
                        <a:p>
                          <a:endParaRPr lang="en-US"/>
                        </a:p>
                      </a:txBody>
                      <a:tcPr>
                        <a:blipFill rotWithShape="0">
                          <a:blip r:embed="rId3"/>
                          <a:stretch>
                            <a:fillRect l="-820" t="-111290" r="-300000" b="-220968"/>
                          </a:stretch>
                        </a:blipFill>
                      </a:tcPr>
                    </a:tc>
                    <a:tc>
                      <a:txBody>
                        <a:bodyPr/>
                        <a:lstStyle/>
                        <a:p>
                          <a:r>
                            <a:rPr lang="en-US" dirty="0" smtClean="0"/>
                            <a:t>-0.2</a:t>
                          </a:r>
                          <a:endParaRPr lang="en-US" dirty="0"/>
                        </a:p>
                      </a:txBody>
                      <a:tcPr>
                        <a:solidFill>
                          <a:schemeClr val="accent6">
                            <a:lumMod val="20000"/>
                            <a:lumOff val="80000"/>
                          </a:schemeClr>
                        </a:solidFill>
                      </a:tcPr>
                    </a:tc>
                    <a:tc>
                      <a:txBody>
                        <a:bodyPr/>
                        <a:lstStyle/>
                        <a:p>
                          <a:endParaRPr lang="en-US"/>
                        </a:p>
                      </a:txBody>
                      <a:tcPr>
                        <a:blipFill rotWithShape="0">
                          <a:blip r:embed="rId3"/>
                          <a:stretch>
                            <a:fillRect l="-200000" t="-111290" r="-100820" b="-220968"/>
                          </a:stretch>
                        </a:blipFill>
                      </a:tcPr>
                    </a:tc>
                    <a:tc>
                      <a:txBody>
                        <a:bodyPr/>
                        <a:lstStyle/>
                        <a:p>
                          <a:r>
                            <a:rPr lang="en-US" dirty="0" smtClean="0"/>
                            <a:t>0.033</a:t>
                          </a:r>
                          <a:endParaRPr lang="en-US" dirty="0"/>
                        </a:p>
                      </a:txBody>
                      <a:tcPr>
                        <a:solidFill>
                          <a:schemeClr val="accent6">
                            <a:lumMod val="20000"/>
                            <a:lumOff val="80000"/>
                          </a:schemeClr>
                        </a:solidFill>
                      </a:tcPr>
                    </a:tc>
                  </a:tr>
                  <a:tr h="370840">
                    <a:tc>
                      <a:txBody>
                        <a:bodyPr/>
                        <a:lstStyle/>
                        <a:p>
                          <a:endParaRPr lang="en-US"/>
                        </a:p>
                      </a:txBody>
                      <a:tcPr>
                        <a:blipFill rotWithShape="0">
                          <a:blip r:embed="rId3"/>
                          <a:stretch>
                            <a:fillRect l="-820" t="-214754" r="-300000" b="-124590"/>
                          </a:stretch>
                        </a:blipFill>
                      </a:tcPr>
                    </a:tc>
                    <a:tc>
                      <a:txBody>
                        <a:bodyPr/>
                        <a:lstStyle/>
                        <a:p>
                          <a:r>
                            <a:rPr lang="nb-NO" dirty="0" smtClean="0"/>
                            <a:t>1.41</a:t>
                          </a:r>
                          <a:endParaRPr lang="en-US" dirty="0"/>
                        </a:p>
                      </a:txBody>
                      <a:tcPr>
                        <a:solidFill>
                          <a:schemeClr val="accent6">
                            <a:lumMod val="20000"/>
                            <a:lumOff val="80000"/>
                          </a:schemeClr>
                        </a:solidFill>
                      </a:tcPr>
                    </a:tc>
                    <a:tc>
                      <a:txBody>
                        <a:bodyPr/>
                        <a:lstStyle/>
                        <a:p>
                          <a:endParaRPr lang="en-US"/>
                        </a:p>
                      </a:txBody>
                      <a:tcPr>
                        <a:blipFill rotWithShape="0">
                          <a:blip r:embed="rId3"/>
                          <a:stretch>
                            <a:fillRect l="-200000" t="-214754" r="-100820" b="-124590"/>
                          </a:stretch>
                        </a:blipFill>
                      </a:tcPr>
                    </a:tc>
                    <a:tc>
                      <a:txBody>
                        <a:bodyPr/>
                        <a:lstStyle/>
                        <a:p>
                          <a:r>
                            <a:rPr lang="en-US" dirty="0" smtClean="0"/>
                            <a:t>1</a:t>
                          </a:r>
                          <a:endParaRPr lang="en-US" dirty="0"/>
                        </a:p>
                      </a:txBody>
                      <a:tcPr>
                        <a:solidFill>
                          <a:schemeClr val="accent6">
                            <a:lumMod val="20000"/>
                            <a:lumOff val="80000"/>
                          </a:schemeClr>
                        </a:solidFill>
                      </a:tcPr>
                    </a:tc>
                  </a:tr>
                  <a:tr h="370840">
                    <a:tc>
                      <a:txBody>
                        <a:bodyPr/>
                        <a:lstStyle/>
                        <a:p>
                          <a:endParaRPr lang="en-US"/>
                        </a:p>
                      </a:txBody>
                      <a:tcPr>
                        <a:blipFill rotWithShape="0">
                          <a:blip r:embed="rId3"/>
                          <a:stretch>
                            <a:fillRect l="-820" t="-314754" r="-300000" b="-24590"/>
                          </a:stretch>
                        </a:blipFill>
                      </a:tcPr>
                    </a:tc>
                    <a:tc>
                      <a:txBody>
                        <a:bodyPr/>
                        <a:lstStyle/>
                        <a:p>
                          <a:r>
                            <a:rPr lang="en-US" dirty="0" smtClean="0"/>
                            <a:t>0.001</a:t>
                          </a:r>
                          <a:endParaRPr lang="en-US" dirty="0"/>
                        </a:p>
                      </a:txBody>
                      <a:tcPr>
                        <a:solidFill>
                          <a:schemeClr val="accent6">
                            <a:lumMod val="20000"/>
                            <a:lumOff val="80000"/>
                          </a:schemeClr>
                        </a:solidFill>
                      </a:tcPr>
                    </a:tc>
                    <a:tc>
                      <a:txBody>
                        <a:bodyPr/>
                        <a:lstStyle/>
                        <a:p>
                          <a:endParaRPr lang="en-US"/>
                        </a:p>
                      </a:txBody>
                      <a:tcPr>
                        <a:blipFill rotWithShape="0">
                          <a:blip r:embed="rId3"/>
                          <a:stretch>
                            <a:fillRect l="-200000" t="-314754" r="-100820" b="-24590"/>
                          </a:stretch>
                        </a:blipFill>
                      </a:tcPr>
                    </a:tc>
                    <a:tc>
                      <a:txBody>
                        <a:bodyPr/>
                        <a:lstStyle/>
                        <a:p>
                          <a:r>
                            <a:rPr lang="en-US" dirty="0" smtClean="0"/>
                            <a:t>1</a:t>
                          </a:r>
                          <a:endParaRPr lang="en-US" dirty="0"/>
                        </a:p>
                      </a:txBody>
                      <a:tcPr>
                        <a:solidFill>
                          <a:schemeClr val="accent6">
                            <a:lumMod val="20000"/>
                            <a:lumOff val="80000"/>
                          </a:schemeClr>
                        </a:solidFill>
                      </a:tcPr>
                    </a:tc>
                  </a:tr>
                </a:tbl>
              </a:graphicData>
            </a:graphic>
          </p:graphicFrame>
        </mc:Fallback>
      </mc:AlternateContent>
      <p:sp>
        <p:nvSpPr>
          <p:cNvPr id="10" name="TextBox 9"/>
          <p:cNvSpPr txBox="1"/>
          <p:nvPr/>
        </p:nvSpPr>
        <p:spPr>
          <a:xfrm>
            <a:off x="755576" y="2668330"/>
            <a:ext cx="2664296" cy="369332"/>
          </a:xfrm>
          <a:prstGeom prst="rect">
            <a:avLst/>
          </a:prstGeom>
          <a:noFill/>
        </p:spPr>
        <p:txBody>
          <a:bodyPr wrap="square" rtlCol="0">
            <a:spAutoFit/>
          </a:bodyPr>
          <a:lstStyle/>
          <a:p>
            <a:r>
              <a:rPr lang="en-US" dirty="0"/>
              <a:t>PSS</a:t>
            </a:r>
          </a:p>
        </p:txBody>
      </p:sp>
      <p:pic>
        <p:nvPicPr>
          <p:cNvPr id="12" name="Picture 11"/>
          <p:cNvPicPr>
            <a:picLocks noChangeAspect="1"/>
          </p:cNvPicPr>
          <p:nvPr/>
        </p:nvPicPr>
        <p:blipFill>
          <a:blip r:embed="rId4"/>
          <a:stretch>
            <a:fillRect/>
          </a:stretch>
        </p:blipFill>
        <p:spPr>
          <a:xfrm>
            <a:off x="3923928" y="3295631"/>
            <a:ext cx="4464496" cy="1774278"/>
          </a:xfrm>
          <a:prstGeom prst="rect">
            <a:avLst/>
          </a:prstGeom>
        </p:spPr>
      </p:pic>
    </p:spTree>
    <p:extLst>
      <p:ext uri="{BB962C8B-B14F-4D97-AF65-F5344CB8AC3E}">
        <p14:creationId xmlns:p14="http://schemas.microsoft.com/office/powerpoint/2010/main" val="172013661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2</a:t>
            </a:r>
          </a:p>
        </p:txBody>
      </p:sp>
      <p:sp>
        <p:nvSpPr>
          <p:cNvPr id="8" name="Footer Placeholder 7"/>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53</a:t>
            </a:fld>
            <a:endParaRPr lang="en-US" dirty="0"/>
          </a:p>
        </p:txBody>
      </p:sp>
      <p:sp>
        <p:nvSpPr>
          <p:cNvPr id="3" name="Date Placeholder 2"/>
          <p:cNvSpPr>
            <a:spLocks noGrp="1"/>
          </p:cNvSpPr>
          <p:nvPr>
            <p:ph type="dt" sz="half" idx="12"/>
          </p:nvPr>
        </p:nvSpPr>
        <p:spPr/>
        <p:txBody>
          <a:bodyPr/>
          <a:lstStyle/>
          <a:p>
            <a:r>
              <a:rPr lang="sv-SE"/>
              <a:t>2016-11-20</a:t>
            </a:r>
          </a:p>
        </p:txBody>
      </p:sp>
      <p:sp>
        <p:nvSpPr>
          <p:cNvPr id="11" name="Content Placeholder 10"/>
          <p:cNvSpPr>
            <a:spLocks noGrp="1"/>
          </p:cNvSpPr>
          <p:nvPr>
            <p:ph idx="1"/>
          </p:nvPr>
        </p:nvSpPr>
        <p:spPr/>
        <p:txBody>
          <a:bodyPr/>
          <a:lstStyle/>
          <a:p>
            <a:r>
              <a:rPr lang="en-US" b="1" dirty="0"/>
              <a:t>Generator – Step 2</a:t>
            </a:r>
          </a:p>
          <a:p>
            <a:pPr marL="342900" indent="-342900">
              <a:buFont typeface="Arial" panose="020B0604020202020204" pitchFamily="34" charset="0"/>
              <a:buChar char="•"/>
            </a:pPr>
            <a:r>
              <a:rPr lang="en-US" dirty="0"/>
              <a:t>When the signals of the generator  model are connected as shown, model of the generator is completed</a:t>
            </a:r>
          </a:p>
          <a:p>
            <a:endParaRPr lang="en-US" b="1" dirty="0"/>
          </a:p>
          <a:p>
            <a:endParaRPr lang="en-US" dirty="0"/>
          </a:p>
        </p:txBody>
      </p:sp>
      <p:pic>
        <p:nvPicPr>
          <p:cNvPr id="7" name="Picture 6"/>
          <p:cNvPicPr>
            <a:picLocks noChangeAspect="1"/>
          </p:cNvPicPr>
          <p:nvPr/>
        </p:nvPicPr>
        <p:blipFill>
          <a:blip r:embed="rId3"/>
          <a:stretch>
            <a:fillRect/>
          </a:stretch>
        </p:blipFill>
        <p:spPr>
          <a:xfrm>
            <a:off x="1475656" y="2708920"/>
            <a:ext cx="5868144" cy="2810302"/>
          </a:xfrm>
          <a:prstGeom prst="rect">
            <a:avLst/>
          </a:prstGeom>
        </p:spPr>
      </p:pic>
    </p:spTree>
    <p:extLst>
      <p:ext uri="{BB962C8B-B14F-4D97-AF65-F5344CB8AC3E}">
        <p14:creationId xmlns:p14="http://schemas.microsoft.com/office/powerpoint/2010/main" val="91116516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2</a:t>
            </a:r>
          </a:p>
        </p:txBody>
      </p:sp>
      <p:sp>
        <p:nvSpPr>
          <p:cNvPr id="10" name="Footer Placeholder 9"/>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54</a:t>
            </a:fld>
            <a:endParaRPr lang="en-US" dirty="0"/>
          </a:p>
        </p:txBody>
      </p:sp>
      <p:sp>
        <p:nvSpPr>
          <p:cNvPr id="7" name="Date Placeholder 6"/>
          <p:cNvSpPr>
            <a:spLocks noGrp="1"/>
          </p:cNvSpPr>
          <p:nvPr>
            <p:ph type="dt" sz="half" idx="12"/>
          </p:nvPr>
        </p:nvSpPr>
        <p:spPr/>
        <p:txBody>
          <a:bodyPr/>
          <a:lstStyle/>
          <a:p>
            <a:r>
              <a:rPr lang="sv-SE"/>
              <a:t>2016-11-20</a:t>
            </a:r>
          </a:p>
        </p:txBody>
      </p:sp>
      <p:sp>
        <p:nvSpPr>
          <p:cNvPr id="11" name="Content Placeholder 10"/>
          <p:cNvSpPr>
            <a:spLocks noGrp="1"/>
          </p:cNvSpPr>
          <p:nvPr>
            <p:ph idx="1"/>
          </p:nvPr>
        </p:nvSpPr>
        <p:spPr/>
        <p:txBody>
          <a:bodyPr/>
          <a:lstStyle/>
          <a:p>
            <a:r>
              <a:rPr lang="en-US" b="1" dirty="0"/>
              <a:t>Simulation</a:t>
            </a:r>
          </a:p>
          <a:p>
            <a:pPr marL="285750" indent="-285750">
              <a:buFont typeface="Arial" charset="0"/>
              <a:buChar char="•"/>
            </a:pPr>
            <a:r>
              <a:rPr lang="en-US" dirty="0"/>
              <a:t>Simulation steps can be repeated as it was shown in the Example 1</a:t>
            </a:r>
          </a:p>
          <a:p>
            <a:pPr marL="285750" indent="-285750">
              <a:buFont typeface="Arial" charset="0"/>
              <a:buChar char="•"/>
            </a:pPr>
            <a:r>
              <a:rPr lang="en-US" dirty="0"/>
              <a:t>This time, reference simulation results from the PSAT can be found in the file “PSAT_dyn_PSS.csv”</a:t>
            </a:r>
          </a:p>
          <a:p>
            <a:pPr marL="285750" indent="-285750">
              <a:buFont typeface="Arial" charset="0"/>
              <a:buChar char="•"/>
            </a:pPr>
            <a:r>
              <a:rPr lang="en-US" dirty="0"/>
              <a:t>After the simulation is executed, variable browser should look as it is shown below</a:t>
            </a:r>
          </a:p>
          <a:p>
            <a:pPr marL="285750" indent="-285750">
              <a:buFont typeface="Arial" charset="0"/>
              <a:buChar char="•"/>
            </a:pPr>
            <a:endParaRPr lang="en-US" dirty="0"/>
          </a:p>
          <a:p>
            <a:endParaRPr lang="en-US" dirty="0"/>
          </a:p>
          <a:p>
            <a:endParaRPr lang="en-US" dirty="0"/>
          </a:p>
        </p:txBody>
      </p:sp>
      <p:grpSp>
        <p:nvGrpSpPr>
          <p:cNvPr id="12" name="Group 11"/>
          <p:cNvGrpSpPr/>
          <p:nvPr/>
        </p:nvGrpSpPr>
        <p:grpSpPr>
          <a:xfrm>
            <a:off x="2485244" y="3495783"/>
            <a:ext cx="4060056" cy="2381489"/>
            <a:chOff x="2096120" y="3208626"/>
            <a:chExt cx="4060056" cy="2381489"/>
          </a:xfrm>
        </p:grpSpPr>
        <p:pic>
          <p:nvPicPr>
            <p:cNvPr id="3" name="Picture 2"/>
            <p:cNvPicPr>
              <a:picLocks noChangeAspect="1"/>
            </p:cNvPicPr>
            <p:nvPr/>
          </p:nvPicPr>
          <p:blipFill rotWithShape="1">
            <a:blip r:embed="rId3">
              <a:extLst>
                <a:ext uri="{28A0092B-C50C-407E-A947-70E740481C1C}">
                  <a14:useLocalDpi xmlns:a14="http://schemas.microsoft.com/office/drawing/2010/main"/>
                </a:ext>
              </a:extLst>
            </a:blip>
            <a:srcRect b="13378"/>
            <a:stretch/>
          </p:blipFill>
          <p:spPr>
            <a:xfrm>
              <a:off x="2096120" y="3208626"/>
              <a:ext cx="3556000" cy="2381489"/>
            </a:xfrm>
            <a:prstGeom prst="rect">
              <a:avLst/>
            </a:prstGeom>
          </p:spPr>
        </p:pic>
        <p:cxnSp>
          <p:nvCxnSpPr>
            <p:cNvPr id="8" name="Straight Arrow Connector 7"/>
            <p:cNvCxnSpPr/>
            <p:nvPr/>
          </p:nvCxnSpPr>
          <p:spPr>
            <a:xfrm flipH="1">
              <a:off x="3760211" y="5013176"/>
              <a:ext cx="1008112" cy="0"/>
            </a:xfrm>
            <a:prstGeom prst="straightConnector1">
              <a:avLst/>
            </a:prstGeom>
            <a:ln w="31750">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cxnSp>
          <p:nvCxnSpPr>
            <p:cNvPr id="9" name="Straight Arrow Connector 8"/>
            <p:cNvCxnSpPr/>
            <p:nvPr/>
          </p:nvCxnSpPr>
          <p:spPr>
            <a:xfrm flipH="1">
              <a:off x="5148064" y="5445224"/>
              <a:ext cx="1008112" cy="0"/>
            </a:xfrm>
            <a:prstGeom prst="straightConnector1">
              <a:avLst/>
            </a:prstGeom>
            <a:ln w="31750">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24700778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2</a:t>
            </a:r>
          </a:p>
        </p:txBody>
      </p:sp>
      <p:sp>
        <p:nvSpPr>
          <p:cNvPr id="8" name="Footer Placeholder 7"/>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55</a:t>
            </a:fld>
            <a:endParaRPr lang="en-US" dirty="0"/>
          </a:p>
        </p:txBody>
      </p:sp>
      <p:sp>
        <p:nvSpPr>
          <p:cNvPr id="3" name="Date Placeholder 2"/>
          <p:cNvSpPr>
            <a:spLocks noGrp="1"/>
          </p:cNvSpPr>
          <p:nvPr>
            <p:ph type="dt" sz="half" idx="12"/>
          </p:nvPr>
        </p:nvSpPr>
        <p:spPr/>
        <p:txBody>
          <a:bodyPr/>
          <a:lstStyle/>
          <a:p>
            <a:r>
              <a:rPr lang="sv-SE"/>
              <a:t>2016-11-20</a:t>
            </a:r>
          </a:p>
        </p:txBody>
      </p:sp>
      <p:sp>
        <p:nvSpPr>
          <p:cNvPr id="9" name="Content Placeholder 8"/>
          <p:cNvSpPr>
            <a:spLocks noGrp="1"/>
          </p:cNvSpPr>
          <p:nvPr>
            <p:ph idx="1"/>
          </p:nvPr>
        </p:nvSpPr>
        <p:spPr/>
        <p:txBody>
          <a:bodyPr/>
          <a:lstStyle/>
          <a:p>
            <a:r>
              <a:rPr lang="en-US" b="1" dirty="0"/>
              <a:t>Simulation</a:t>
            </a:r>
          </a:p>
          <a:p>
            <a:pPr marL="285750" indent="-285750">
              <a:buFont typeface="Arial" charset="0"/>
              <a:buChar char="•"/>
            </a:pPr>
            <a:r>
              <a:rPr lang="en-US" dirty="0"/>
              <a:t>Simulation results can be plotted again</a:t>
            </a:r>
          </a:p>
          <a:p>
            <a:pPr marL="285750" indent="-285750">
              <a:buFont typeface="Arial" charset="0"/>
              <a:buChar char="•"/>
            </a:pPr>
            <a:r>
              <a:rPr lang="en-US" dirty="0"/>
              <a:t>Comparison of the PSAT and Modelica simulation results of the PSS signal is shown on the figure below</a:t>
            </a:r>
          </a:p>
          <a:p>
            <a:pPr marL="285750" indent="-285750">
              <a:buFont typeface="Arial" charset="0"/>
              <a:buChar char="•"/>
            </a:pPr>
            <a:endParaRPr lang="en-US" dirty="0"/>
          </a:p>
          <a:p>
            <a:endParaRPr lang="en-US" dirty="0"/>
          </a:p>
          <a:p>
            <a:endParaRPr lang="en-US" dirty="0"/>
          </a:p>
        </p:txBody>
      </p:sp>
      <p:pic>
        <p:nvPicPr>
          <p:cNvPr id="7" name="Picture 6"/>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2843808" y="3122504"/>
            <a:ext cx="3745861" cy="2610752"/>
          </a:xfrm>
          <a:prstGeom prst="rect">
            <a:avLst/>
          </a:prstGeom>
        </p:spPr>
      </p:pic>
    </p:spTree>
    <p:extLst>
      <p:ext uri="{BB962C8B-B14F-4D97-AF65-F5344CB8AC3E}">
        <p14:creationId xmlns:p14="http://schemas.microsoft.com/office/powerpoint/2010/main" val="37393603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2</a:t>
            </a:r>
          </a:p>
        </p:txBody>
      </p:sp>
      <p:sp>
        <p:nvSpPr>
          <p:cNvPr id="8" name="Footer Placeholder 7"/>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56</a:t>
            </a:fld>
            <a:endParaRPr lang="en-US" dirty="0"/>
          </a:p>
        </p:txBody>
      </p:sp>
      <p:sp>
        <p:nvSpPr>
          <p:cNvPr id="7" name="Date Placeholder 6"/>
          <p:cNvSpPr>
            <a:spLocks noGrp="1"/>
          </p:cNvSpPr>
          <p:nvPr>
            <p:ph type="dt" sz="half" idx="12"/>
          </p:nvPr>
        </p:nvSpPr>
        <p:spPr/>
        <p:txBody>
          <a:bodyPr/>
          <a:lstStyle/>
          <a:p>
            <a:r>
              <a:rPr lang="sv-SE"/>
              <a:t>2016-11-20</a:t>
            </a:r>
          </a:p>
        </p:txBody>
      </p:sp>
      <p:sp>
        <p:nvSpPr>
          <p:cNvPr id="10" name="Content Placeholder 9"/>
          <p:cNvSpPr>
            <a:spLocks noGrp="1"/>
          </p:cNvSpPr>
          <p:nvPr>
            <p:ph idx="1"/>
          </p:nvPr>
        </p:nvSpPr>
        <p:spPr/>
        <p:txBody>
          <a:bodyPr/>
          <a:lstStyle/>
          <a:p>
            <a:r>
              <a:rPr lang="en-US" b="1" dirty="0"/>
              <a:t>Linearization</a:t>
            </a:r>
          </a:p>
          <a:p>
            <a:pPr marL="285750" indent="-285750">
              <a:spcBef>
                <a:spcPts val="600"/>
              </a:spcBef>
              <a:spcAft>
                <a:spcPts val="600"/>
              </a:spcAft>
              <a:buFont typeface="Arial" charset="0"/>
              <a:buChar char="•"/>
            </a:pPr>
            <a:r>
              <a:rPr lang="en-US" dirty="0"/>
              <a:t>To linearize the system, </a:t>
            </a:r>
            <a:r>
              <a:rPr lang="en-US" dirty="0" err="1"/>
              <a:t>OpenModelica</a:t>
            </a:r>
            <a:r>
              <a:rPr lang="en-US" dirty="0"/>
              <a:t> scripting will be needed</a:t>
            </a:r>
          </a:p>
          <a:p>
            <a:pPr marL="285750" indent="-285750">
              <a:spcBef>
                <a:spcPts val="600"/>
              </a:spcBef>
              <a:spcAft>
                <a:spcPts val="600"/>
              </a:spcAft>
              <a:buFont typeface="Arial" charset="0"/>
              <a:buChar char="•"/>
            </a:pPr>
            <a:endParaRPr lang="en-US" dirty="0"/>
          </a:p>
          <a:p>
            <a:pPr marL="285750" indent="-285750">
              <a:spcBef>
                <a:spcPts val="600"/>
              </a:spcBef>
              <a:spcAft>
                <a:spcPts val="600"/>
              </a:spcAft>
              <a:buFont typeface="Arial" charset="0"/>
              <a:buChar char="•"/>
            </a:pPr>
            <a:endParaRPr lang="en-US" dirty="0"/>
          </a:p>
          <a:p>
            <a:pPr marL="285750" indent="-285750">
              <a:spcBef>
                <a:spcPts val="600"/>
              </a:spcBef>
              <a:spcAft>
                <a:spcPts val="600"/>
              </a:spcAft>
              <a:buFont typeface="Arial" charset="0"/>
              <a:buChar char="•"/>
            </a:pPr>
            <a:endParaRPr lang="en-US" dirty="0"/>
          </a:p>
          <a:p>
            <a:pPr marL="285750" indent="-285750">
              <a:spcBef>
                <a:spcPts val="600"/>
              </a:spcBef>
              <a:spcAft>
                <a:spcPts val="600"/>
              </a:spcAft>
              <a:buFont typeface="Arial" charset="0"/>
              <a:buChar char="•"/>
            </a:pPr>
            <a:r>
              <a:rPr lang="en-US" dirty="0"/>
              <a:t>Along with the library, a set of commands w</a:t>
            </a:r>
            <a:r>
              <a:rPr lang="en-US" dirty="0">
                <a:latin typeface="Arial" charset="0"/>
                <a:ea typeface="Arial" charset="0"/>
                <a:cs typeface="Arial" charset="0"/>
              </a:rPr>
              <a:t>as provided  (Command_List.txt) to linearize the model and extract the A matrix</a:t>
            </a:r>
          </a:p>
          <a:p>
            <a:pPr marL="285750" indent="-285750">
              <a:spcBef>
                <a:spcPts val="600"/>
              </a:spcBef>
              <a:spcAft>
                <a:spcPts val="600"/>
              </a:spcAft>
              <a:buFont typeface="Arial" charset="0"/>
              <a:buChar char="•"/>
            </a:pPr>
            <a:endParaRPr lang="en-US" dirty="0"/>
          </a:p>
          <a:p>
            <a:pPr marL="285750" indent="-285750">
              <a:spcBef>
                <a:spcPts val="600"/>
              </a:spcBef>
              <a:spcAft>
                <a:spcPts val="600"/>
              </a:spcAft>
              <a:buFont typeface="Arial" charset="0"/>
              <a:buChar char="•"/>
            </a:pPr>
            <a:endParaRPr lang="en-US" dirty="0"/>
          </a:p>
          <a:p>
            <a:pPr marL="285750" indent="-285750">
              <a:spcBef>
                <a:spcPts val="600"/>
              </a:spcBef>
              <a:spcAft>
                <a:spcPts val="600"/>
              </a:spcAft>
              <a:buFont typeface="Arial" charset="0"/>
              <a:buChar char="•"/>
            </a:pPr>
            <a:endParaRPr lang="en-US" dirty="0"/>
          </a:p>
          <a:p>
            <a:endParaRPr lang="en-US" dirty="0"/>
          </a:p>
        </p:txBody>
      </p:sp>
      <p:pic>
        <p:nvPicPr>
          <p:cNvPr id="3" name="Picture 2"/>
          <p:cNvPicPr>
            <a:picLocks noChangeAspect="1"/>
          </p:cNvPicPr>
          <p:nvPr/>
        </p:nvPicPr>
        <p:blipFill rotWithShape="1">
          <a:blip r:embed="rId3">
            <a:extLst>
              <a:ext uri="{28A0092B-C50C-407E-A947-70E740481C1C}">
                <a14:useLocalDpi xmlns:a14="http://schemas.microsoft.com/office/drawing/2010/main"/>
              </a:ext>
            </a:extLst>
          </a:blip>
          <a:srcRect b="42606"/>
          <a:stretch/>
        </p:blipFill>
        <p:spPr>
          <a:xfrm>
            <a:off x="2312876" y="4653136"/>
            <a:ext cx="4302224" cy="1104394"/>
          </a:xfrm>
          <a:prstGeom prst="rect">
            <a:avLst/>
          </a:prstGeom>
        </p:spPr>
      </p:pic>
      <p:grpSp>
        <p:nvGrpSpPr>
          <p:cNvPr id="12" name="Group 11"/>
          <p:cNvGrpSpPr/>
          <p:nvPr/>
        </p:nvGrpSpPr>
        <p:grpSpPr>
          <a:xfrm>
            <a:off x="1835696" y="2381250"/>
            <a:ext cx="5789376" cy="1047750"/>
            <a:chOff x="1835696" y="2381250"/>
            <a:chExt cx="5789376" cy="1047750"/>
          </a:xfrm>
        </p:grpSpPr>
        <p:pic>
          <p:nvPicPr>
            <p:cNvPr id="9" name="Picture 8"/>
            <p:cNvPicPr>
              <a:picLocks noChangeAspect="1"/>
            </p:cNvPicPr>
            <p:nvPr/>
          </p:nvPicPr>
          <p:blipFill>
            <a:blip r:embed="rId4"/>
            <a:stretch>
              <a:fillRect/>
            </a:stretch>
          </p:blipFill>
          <p:spPr>
            <a:xfrm>
              <a:off x="1835696" y="2381250"/>
              <a:ext cx="5657850" cy="1047750"/>
            </a:xfrm>
            <a:prstGeom prst="rect">
              <a:avLst/>
            </a:prstGeom>
          </p:spPr>
        </p:pic>
        <p:cxnSp>
          <p:nvCxnSpPr>
            <p:cNvPr id="11" name="Straight Arrow Connector 10"/>
            <p:cNvCxnSpPr/>
            <p:nvPr/>
          </p:nvCxnSpPr>
          <p:spPr>
            <a:xfrm flipH="1">
              <a:off x="7020272" y="2996952"/>
              <a:ext cx="604800" cy="0"/>
            </a:xfrm>
            <a:prstGeom prst="straightConnector1">
              <a:avLst/>
            </a:prstGeom>
            <a:ln w="31750">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326931476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9" name="Footer Placeholder 8"/>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57</a:t>
            </a:fld>
            <a:endParaRPr lang="en-US" dirty="0"/>
          </a:p>
        </p:txBody>
      </p:sp>
      <p:sp>
        <p:nvSpPr>
          <p:cNvPr id="8" name="Date Placeholder 7"/>
          <p:cNvSpPr>
            <a:spLocks noGrp="1"/>
          </p:cNvSpPr>
          <p:nvPr>
            <p:ph type="dt" sz="half" idx="12"/>
          </p:nvPr>
        </p:nvSpPr>
        <p:spPr/>
        <p:txBody>
          <a:bodyPr/>
          <a:lstStyle/>
          <a:p>
            <a:r>
              <a:rPr lang="sv-SE"/>
              <a:t>2016-11-20</a:t>
            </a:r>
          </a:p>
        </p:txBody>
      </p:sp>
      <p:sp>
        <p:nvSpPr>
          <p:cNvPr id="3" name="Content Placeholder 2"/>
          <p:cNvSpPr>
            <a:spLocks noGrp="1"/>
          </p:cNvSpPr>
          <p:nvPr>
            <p:ph idx="1"/>
          </p:nvPr>
        </p:nvSpPr>
        <p:spPr/>
        <p:txBody>
          <a:bodyPr/>
          <a:lstStyle/>
          <a:p>
            <a:r>
              <a:rPr lang="en-US" b="1" dirty="0"/>
              <a:t>Linearization</a:t>
            </a:r>
          </a:p>
          <a:p>
            <a:pPr marL="285750" indent="-285750">
              <a:spcBef>
                <a:spcPts val="600"/>
              </a:spcBef>
              <a:spcAft>
                <a:spcPts val="600"/>
              </a:spcAft>
              <a:buFont typeface="Arial" charset="0"/>
              <a:buChar char="•"/>
            </a:pPr>
            <a:r>
              <a:rPr lang="en-US" dirty="0">
                <a:latin typeface="Arial" charset="0"/>
                <a:ea typeface="Arial" charset="0"/>
                <a:cs typeface="Arial" charset="0"/>
              </a:rPr>
              <a:t>Copy and paste each line from the Command_List.txt for Example 1 to the command prompt in </a:t>
            </a:r>
            <a:r>
              <a:rPr lang="en-US" dirty="0" err="1">
                <a:latin typeface="Arial" charset="0"/>
                <a:ea typeface="Arial" charset="0"/>
                <a:cs typeface="Arial" charset="0"/>
              </a:rPr>
              <a:t>OpenModelica</a:t>
            </a:r>
            <a:endParaRPr lang="en-US" dirty="0">
              <a:latin typeface="Arial" charset="0"/>
              <a:ea typeface="Arial" charset="0"/>
              <a:cs typeface="Arial" charset="0"/>
            </a:endParaRPr>
          </a:p>
          <a:p>
            <a:pPr marL="285750" indent="-285750">
              <a:spcBef>
                <a:spcPts val="600"/>
              </a:spcBef>
              <a:spcAft>
                <a:spcPts val="600"/>
              </a:spcAft>
              <a:buFont typeface="Arial" charset="0"/>
              <a:buChar char="•"/>
            </a:pPr>
            <a:endParaRPr lang="en-US" dirty="0"/>
          </a:p>
          <a:p>
            <a:pPr marL="285750" indent="-285750">
              <a:spcBef>
                <a:spcPts val="600"/>
              </a:spcBef>
              <a:spcAft>
                <a:spcPts val="600"/>
              </a:spcAft>
              <a:buFont typeface="Arial" charset="0"/>
              <a:buChar char="•"/>
            </a:pPr>
            <a:endParaRPr lang="en-US" dirty="0"/>
          </a:p>
          <a:p>
            <a:endParaRPr lang="en-US" dirty="0"/>
          </a:p>
        </p:txBody>
      </p:sp>
      <p:grpSp>
        <p:nvGrpSpPr>
          <p:cNvPr id="16" name="Group 15"/>
          <p:cNvGrpSpPr/>
          <p:nvPr/>
        </p:nvGrpSpPr>
        <p:grpSpPr>
          <a:xfrm>
            <a:off x="539552" y="3501007"/>
            <a:ext cx="7174160" cy="2077964"/>
            <a:chOff x="539552" y="3501007"/>
            <a:chExt cx="7174160" cy="2077964"/>
          </a:xfrm>
        </p:grpSpPr>
        <p:pic>
          <p:nvPicPr>
            <p:cNvPr id="11" name="Picture 10"/>
            <p:cNvPicPr>
              <a:picLocks noChangeAspect="1"/>
            </p:cNvPicPr>
            <p:nvPr/>
          </p:nvPicPr>
          <p:blipFill>
            <a:blip r:embed="rId3"/>
            <a:stretch>
              <a:fillRect/>
            </a:stretch>
          </p:blipFill>
          <p:spPr>
            <a:xfrm>
              <a:off x="1417687" y="4293096"/>
              <a:ext cx="6296025" cy="1285875"/>
            </a:xfrm>
            <a:prstGeom prst="rect">
              <a:avLst/>
            </a:prstGeom>
          </p:spPr>
        </p:pic>
        <p:cxnSp>
          <p:nvCxnSpPr>
            <p:cNvPr id="14" name="Elbow Connector 13"/>
            <p:cNvCxnSpPr/>
            <p:nvPr/>
          </p:nvCxnSpPr>
          <p:spPr>
            <a:xfrm rot="16200000" flipH="1">
              <a:off x="6512" y="4034047"/>
              <a:ext cx="1944215" cy="878135"/>
            </a:xfrm>
            <a:prstGeom prst="bentConnector3">
              <a:avLst>
                <a:gd name="adj1" fmla="val 99822"/>
              </a:avLst>
            </a:prstGeom>
            <a:ln w="28575">
              <a:tailEnd type="triangle"/>
            </a:ln>
          </p:spPr>
          <p:style>
            <a:lnRef idx="1">
              <a:schemeClr val="accent1"/>
            </a:lnRef>
            <a:fillRef idx="0">
              <a:schemeClr val="accent1"/>
            </a:fillRef>
            <a:effectRef idx="0">
              <a:schemeClr val="accent1"/>
            </a:effectRef>
            <a:fontRef idx="minor">
              <a:schemeClr val="tx1"/>
            </a:fontRef>
          </p:style>
        </p:cxnSp>
      </p:grpSp>
      <p:grpSp>
        <p:nvGrpSpPr>
          <p:cNvPr id="5" name="Group 4"/>
          <p:cNvGrpSpPr/>
          <p:nvPr/>
        </p:nvGrpSpPr>
        <p:grpSpPr>
          <a:xfrm>
            <a:off x="683568" y="2643400"/>
            <a:ext cx="7520289" cy="1381125"/>
            <a:chOff x="683568" y="2643400"/>
            <a:chExt cx="7520289" cy="1381125"/>
          </a:xfrm>
        </p:grpSpPr>
        <p:sp>
          <p:nvSpPr>
            <p:cNvPr id="12" name="Left Brace 11"/>
            <p:cNvSpPr/>
            <p:nvPr/>
          </p:nvSpPr>
          <p:spPr>
            <a:xfrm>
              <a:off x="683568" y="3022809"/>
              <a:ext cx="293204" cy="948365"/>
            </a:xfrm>
            <a:prstGeom prst="leftBrace">
              <a:avLst>
                <a:gd name="adj1" fmla="val 38081"/>
                <a:gd name="adj2" fmla="val 48091"/>
              </a:avLst>
            </a:prstGeom>
            <a:ln w="381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pic>
          <p:nvPicPr>
            <p:cNvPr id="13" name="Picture 12"/>
            <p:cNvPicPr>
              <a:picLocks noChangeAspect="1"/>
            </p:cNvPicPr>
            <p:nvPr/>
          </p:nvPicPr>
          <p:blipFill>
            <a:blip r:embed="rId4"/>
            <a:stretch>
              <a:fillRect/>
            </a:stretch>
          </p:blipFill>
          <p:spPr>
            <a:xfrm>
              <a:off x="1041057" y="2643400"/>
              <a:ext cx="7162800" cy="1381125"/>
            </a:xfrm>
            <a:prstGeom prst="rect">
              <a:avLst/>
            </a:prstGeom>
          </p:spPr>
        </p:pic>
      </p:grpSp>
    </p:spTree>
    <p:extLst>
      <p:ext uri="{BB962C8B-B14F-4D97-AF65-F5344CB8AC3E}">
        <p14:creationId xmlns:p14="http://schemas.microsoft.com/office/powerpoint/2010/main" val="216701978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2</a:t>
            </a:r>
          </a:p>
        </p:txBody>
      </p:sp>
      <p:sp>
        <p:nvSpPr>
          <p:cNvPr id="8" name="Footer Placeholder 7"/>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58</a:t>
            </a:fld>
            <a:endParaRPr lang="en-US" dirty="0"/>
          </a:p>
        </p:txBody>
      </p:sp>
      <p:sp>
        <p:nvSpPr>
          <p:cNvPr id="3" name="Date Placeholder 2"/>
          <p:cNvSpPr>
            <a:spLocks noGrp="1"/>
          </p:cNvSpPr>
          <p:nvPr>
            <p:ph type="dt" sz="half" idx="12"/>
          </p:nvPr>
        </p:nvSpPr>
        <p:spPr/>
        <p:txBody>
          <a:bodyPr/>
          <a:lstStyle/>
          <a:p>
            <a:r>
              <a:rPr lang="sv-SE"/>
              <a:t>2016-11-20</a:t>
            </a:r>
          </a:p>
        </p:txBody>
      </p:sp>
      <p:sp>
        <p:nvSpPr>
          <p:cNvPr id="9" name="Content Placeholder 8"/>
          <p:cNvSpPr>
            <a:spLocks noGrp="1"/>
          </p:cNvSpPr>
          <p:nvPr>
            <p:ph idx="1"/>
          </p:nvPr>
        </p:nvSpPr>
        <p:spPr/>
        <p:txBody>
          <a:bodyPr/>
          <a:lstStyle/>
          <a:p>
            <a:r>
              <a:rPr lang="en-US" b="1" dirty="0"/>
              <a:t>Linearization</a:t>
            </a:r>
          </a:p>
          <a:p>
            <a:pPr marL="285750" indent="-285750">
              <a:spcBef>
                <a:spcPts val="600"/>
              </a:spcBef>
              <a:spcAft>
                <a:spcPts val="600"/>
              </a:spcAft>
              <a:buFont typeface="Arial" charset="0"/>
              <a:buChar char="•"/>
            </a:pPr>
            <a:r>
              <a:rPr lang="en-US" dirty="0"/>
              <a:t>The rest of the steps shall be repeated as it was shown in Example 1</a:t>
            </a:r>
          </a:p>
          <a:p>
            <a:pPr marL="285750" indent="-285750">
              <a:spcBef>
                <a:spcPts val="600"/>
              </a:spcBef>
              <a:spcAft>
                <a:spcPts val="600"/>
              </a:spcAft>
              <a:buFont typeface="Arial" charset="0"/>
              <a:buChar char="•"/>
            </a:pPr>
            <a:r>
              <a:rPr lang="en-US" dirty="0"/>
              <a:t>The same procedure with a linearized system from Example 2 results in the new set of eigenvalues</a:t>
            </a:r>
          </a:p>
        </p:txBody>
      </p:sp>
      <p:pic>
        <p:nvPicPr>
          <p:cNvPr id="7" name="Picture 6"/>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364630" y="3085650"/>
            <a:ext cx="6414740" cy="2863630"/>
          </a:xfrm>
          <a:prstGeom prst="rect">
            <a:avLst/>
          </a:prstGeom>
        </p:spPr>
      </p:pic>
    </p:spTree>
    <p:extLst>
      <p:ext uri="{BB962C8B-B14F-4D97-AF65-F5344CB8AC3E}">
        <p14:creationId xmlns:p14="http://schemas.microsoft.com/office/powerpoint/2010/main" val="45956402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2</a:t>
            </a:r>
          </a:p>
        </p:txBody>
      </p:sp>
      <p:sp>
        <p:nvSpPr>
          <p:cNvPr id="9" name="Footer Placeholder 8"/>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59</a:t>
            </a:fld>
            <a:endParaRPr lang="en-US" dirty="0"/>
          </a:p>
        </p:txBody>
      </p:sp>
      <p:sp>
        <p:nvSpPr>
          <p:cNvPr id="3" name="Date Placeholder 2"/>
          <p:cNvSpPr>
            <a:spLocks noGrp="1"/>
          </p:cNvSpPr>
          <p:nvPr>
            <p:ph type="dt" sz="half" idx="12"/>
          </p:nvPr>
        </p:nvSpPr>
        <p:spPr/>
        <p:txBody>
          <a:bodyPr/>
          <a:lstStyle/>
          <a:p>
            <a:r>
              <a:rPr lang="sv-SE"/>
              <a:t>2016-11-20</a:t>
            </a:r>
          </a:p>
        </p:txBody>
      </p:sp>
      <p:sp>
        <p:nvSpPr>
          <p:cNvPr id="10" name="Content Placeholder 9"/>
          <p:cNvSpPr>
            <a:spLocks noGrp="1"/>
          </p:cNvSpPr>
          <p:nvPr>
            <p:ph idx="1"/>
          </p:nvPr>
        </p:nvSpPr>
        <p:spPr/>
        <p:txBody>
          <a:bodyPr/>
          <a:lstStyle/>
          <a:p>
            <a:r>
              <a:rPr lang="en-US" b="1" dirty="0"/>
              <a:t>Linearization</a:t>
            </a:r>
          </a:p>
          <a:p>
            <a:pPr marL="342900" indent="-342900">
              <a:buFont typeface="Arial" panose="020B0604020202020204" pitchFamily="34" charset="0"/>
              <a:buChar char="•"/>
            </a:pPr>
            <a:r>
              <a:rPr lang="en-US" dirty="0"/>
              <a:t>The conjugate pair of poles that was on the right side of the plane in Example 1 was, by introducing the PSS, moved to the left side of the stability plane and, thus, the system is now stable</a:t>
            </a:r>
          </a:p>
          <a:p>
            <a:endParaRPr lang="en-US" dirty="0"/>
          </a:p>
        </p:txBody>
      </p:sp>
      <p:pic>
        <p:nvPicPr>
          <p:cNvPr id="7" name="Picture 6"/>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364630" y="2962496"/>
            <a:ext cx="6414740" cy="3068336"/>
          </a:xfrm>
          <a:prstGeom prst="rect">
            <a:avLst/>
          </a:prstGeom>
        </p:spPr>
      </p:pic>
      <p:sp>
        <p:nvSpPr>
          <p:cNvPr id="8" name="Rectangle 7"/>
          <p:cNvSpPr/>
          <p:nvPr/>
        </p:nvSpPr>
        <p:spPr>
          <a:xfrm>
            <a:off x="1475656" y="4797152"/>
            <a:ext cx="3096344" cy="360040"/>
          </a:xfrm>
          <a:prstGeom prst="rect">
            <a:avLst/>
          </a:prstGeom>
          <a:solidFill>
            <a:srgbClr val="FF0000">
              <a:alpha val="17000"/>
            </a:srgbClr>
          </a:solid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54128952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ibrary introduction</a:t>
            </a:r>
          </a:p>
        </p:txBody>
      </p:sp>
      <p:sp>
        <p:nvSpPr>
          <p:cNvPr id="6" name="Footer Placeholder 5"/>
          <p:cNvSpPr>
            <a:spLocks noGrp="1"/>
          </p:cNvSpPr>
          <p:nvPr>
            <p:ph type="ftr" sz="quarter" idx="10"/>
          </p:nvPr>
        </p:nvSpPr>
        <p:spPr/>
        <p:txBody>
          <a:bodyPr/>
          <a:lstStyle/>
          <a:p>
            <a:r>
              <a:rPr lang="sv-SE"/>
              <a:t>OpenIPSL Tutorial</a:t>
            </a:r>
            <a:endParaRPr lang="sv-SE" dirty="0"/>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6</a:t>
            </a:fld>
            <a:endParaRPr lang="en-US" dirty="0"/>
          </a:p>
        </p:txBody>
      </p:sp>
      <p:sp>
        <p:nvSpPr>
          <p:cNvPr id="3" name="Date Placeholder 2"/>
          <p:cNvSpPr>
            <a:spLocks noGrp="1"/>
          </p:cNvSpPr>
          <p:nvPr>
            <p:ph type="dt" sz="half" idx="12"/>
          </p:nvPr>
        </p:nvSpPr>
        <p:spPr/>
        <p:txBody>
          <a:bodyPr/>
          <a:lstStyle/>
          <a:p>
            <a:r>
              <a:rPr lang="sv-SE"/>
              <a:t>2016-11-20</a:t>
            </a:r>
          </a:p>
        </p:txBody>
      </p:sp>
      <p:sp>
        <p:nvSpPr>
          <p:cNvPr id="12" name="Content Placeholder 11"/>
          <p:cNvSpPr>
            <a:spLocks noGrp="1"/>
          </p:cNvSpPr>
          <p:nvPr>
            <p:ph idx="1"/>
          </p:nvPr>
        </p:nvSpPr>
        <p:spPr/>
        <p:txBody>
          <a:bodyPr/>
          <a:lstStyle/>
          <a:p>
            <a:pPr>
              <a:spcAft>
                <a:spcPts val="1200"/>
              </a:spcAft>
            </a:pPr>
            <a:r>
              <a:rPr lang="en-US" dirty="0" err="1"/>
              <a:t>OpenIPSL</a:t>
            </a:r>
            <a:r>
              <a:rPr lang="en-US" dirty="0"/>
              <a:t> is divided in four main categories:</a:t>
            </a:r>
          </a:p>
          <a:p>
            <a:pPr marL="285750" indent="-285750">
              <a:spcAft>
                <a:spcPts val="600"/>
              </a:spcAft>
              <a:buFont typeface="Arial" charset="0"/>
              <a:buChar char="•"/>
            </a:pPr>
            <a:r>
              <a:rPr lang="en-US" dirty="0"/>
              <a:t>Examples</a:t>
            </a:r>
          </a:p>
          <a:p>
            <a:pPr marL="285750" indent="-285750">
              <a:spcAft>
                <a:spcPts val="600"/>
              </a:spcAft>
              <a:buFont typeface="Arial" charset="0"/>
              <a:buChar char="•"/>
            </a:pPr>
            <a:r>
              <a:rPr lang="en-US" dirty="0"/>
              <a:t>Electrical</a:t>
            </a:r>
          </a:p>
          <a:p>
            <a:pPr marL="285750" indent="-285750">
              <a:spcAft>
                <a:spcPts val="600"/>
              </a:spcAft>
              <a:buFont typeface="Arial" charset="0"/>
              <a:buChar char="•"/>
            </a:pPr>
            <a:r>
              <a:rPr lang="en-US" dirty="0" err="1"/>
              <a:t>NonElectrical</a:t>
            </a:r>
            <a:endParaRPr lang="en-US" dirty="0"/>
          </a:p>
          <a:p>
            <a:pPr marL="285750" indent="-285750">
              <a:spcAft>
                <a:spcPts val="600"/>
              </a:spcAft>
              <a:buFont typeface="Arial" charset="0"/>
              <a:buChar char="•"/>
            </a:pPr>
            <a:r>
              <a:rPr lang="en-US" dirty="0"/>
              <a:t>Connectors</a:t>
            </a:r>
          </a:p>
          <a:p>
            <a:endParaRPr lang="en-US" dirty="0"/>
          </a:p>
        </p:txBody>
      </p:sp>
      <p:grpSp>
        <p:nvGrpSpPr>
          <p:cNvPr id="7" name="Group 6"/>
          <p:cNvGrpSpPr>
            <a:grpSpLocks noChangeAspect="1"/>
          </p:cNvGrpSpPr>
          <p:nvPr/>
        </p:nvGrpSpPr>
        <p:grpSpPr>
          <a:xfrm>
            <a:off x="3603907" y="2442597"/>
            <a:ext cx="5100357" cy="3074967"/>
            <a:chOff x="0" y="10943"/>
            <a:chExt cx="4922172" cy="3075900"/>
          </a:xfrm>
        </p:grpSpPr>
        <p:sp>
          <p:nvSpPr>
            <p:cNvPr id="8" name="Rounded Rectangle 7"/>
            <p:cNvSpPr/>
            <p:nvPr/>
          </p:nvSpPr>
          <p:spPr>
            <a:xfrm>
              <a:off x="1267478" y="1249707"/>
              <a:ext cx="1149008" cy="1146175"/>
            </a:xfrm>
            <a:prstGeom prst="roundRect">
              <a:avLst/>
            </a:prstGeom>
            <a:solidFill>
              <a:srgbClr val="92D050">
                <a:alpha val="12000"/>
              </a:srgb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l">
                <a:lnSpc>
                  <a:spcPct val="110000"/>
                </a:lnSpc>
                <a:spcAft>
                  <a:spcPts val="0"/>
                </a:spcAft>
              </a:pPr>
              <a:r>
                <a:rPr lang="en-GB" sz="800" b="1" dirty="0">
                  <a:solidFill>
                    <a:srgbClr val="666660"/>
                  </a:solidFill>
                  <a:effectLst/>
                  <a:ea typeface="Arial" charset="0"/>
                  <a:cs typeface="Cordia New" charset="0"/>
                </a:rPr>
                <a:t> </a:t>
              </a:r>
              <a:endParaRPr lang="en-US" sz="1100" dirty="0">
                <a:solidFill>
                  <a:srgbClr val="666660"/>
                </a:solidFill>
                <a:effectLst/>
                <a:ea typeface="Arial" charset="0"/>
                <a:cs typeface="Cordia New" charset="0"/>
              </a:endParaRPr>
            </a:p>
            <a:p>
              <a:pPr algn="l">
                <a:lnSpc>
                  <a:spcPct val="110000"/>
                </a:lnSpc>
                <a:spcAft>
                  <a:spcPts val="0"/>
                </a:spcAft>
              </a:pPr>
              <a:r>
                <a:rPr lang="en-GB" sz="800" b="1" dirty="0">
                  <a:solidFill>
                    <a:srgbClr val="666660"/>
                  </a:solidFill>
                  <a:effectLst/>
                  <a:ea typeface="Arial" charset="0"/>
                  <a:cs typeface="Cordia New" charset="0"/>
                </a:rPr>
                <a:t>Math</a:t>
              </a:r>
              <a:endParaRPr lang="en-US" sz="1100" dirty="0">
                <a:solidFill>
                  <a:srgbClr val="666660"/>
                </a:solidFill>
                <a:effectLst/>
                <a:ea typeface="Arial" charset="0"/>
                <a:cs typeface="Cordia New" charset="0"/>
              </a:endParaRPr>
            </a:p>
            <a:p>
              <a:pPr algn="l">
                <a:lnSpc>
                  <a:spcPct val="110000"/>
                </a:lnSpc>
                <a:spcAft>
                  <a:spcPts val="0"/>
                </a:spcAft>
              </a:pPr>
              <a:r>
                <a:rPr lang="en-GB" sz="800" b="1" dirty="0">
                  <a:solidFill>
                    <a:srgbClr val="666660"/>
                  </a:solidFill>
                  <a:effectLst/>
                  <a:ea typeface="Arial" charset="0"/>
                  <a:cs typeface="Cordia New" charset="0"/>
                </a:rPr>
                <a:t>Logical</a:t>
              </a:r>
              <a:endParaRPr lang="en-US" sz="1100" dirty="0">
                <a:solidFill>
                  <a:srgbClr val="666660"/>
                </a:solidFill>
                <a:effectLst/>
                <a:ea typeface="Arial" charset="0"/>
                <a:cs typeface="Cordia New" charset="0"/>
              </a:endParaRPr>
            </a:p>
            <a:p>
              <a:pPr algn="l">
                <a:lnSpc>
                  <a:spcPct val="110000"/>
                </a:lnSpc>
                <a:spcAft>
                  <a:spcPts val="0"/>
                </a:spcAft>
              </a:pPr>
              <a:r>
                <a:rPr lang="en-GB" sz="800" b="1" dirty="0">
                  <a:solidFill>
                    <a:srgbClr val="666660"/>
                  </a:solidFill>
                  <a:effectLst/>
                  <a:ea typeface="Arial" charset="0"/>
                  <a:cs typeface="Cordia New" charset="0"/>
                </a:rPr>
                <a:t>Continuous</a:t>
              </a:r>
              <a:endParaRPr lang="en-US" sz="1100" dirty="0">
                <a:solidFill>
                  <a:srgbClr val="666660"/>
                </a:solidFill>
                <a:effectLst/>
                <a:ea typeface="Arial" charset="0"/>
                <a:cs typeface="Cordia New" charset="0"/>
              </a:endParaRPr>
            </a:p>
            <a:p>
              <a:pPr algn="l">
                <a:lnSpc>
                  <a:spcPct val="110000"/>
                </a:lnSpc>
                <a:spcAft>
                  <a:spcPts val="0"/>
                </a:spcAft>
              </a:pPr>
              <a:r>
                <a:rPr lang="en-GB" sz="800" b="1" dirty="0">
                  <a:solidFill>
                    <a:srgbClr val="666660"/>
                  </a:solidFill>
                  <a:effectLst/>
                  <a:ea typeface="Arial" charset="0"/>
                  <a:cs typeface="Cordia New" charset="0"/>
                </a:rPr>
                <a:t>Nonlinear</a:t>
              </a:r>
              <a:endParaRPr lang="en-US" sz="1100" dirty="0">
                <a:solidFill>
                  <a:srgbClr val="666660"/>
                </a:solidFill>
                <a:effectLst/>
                <a:ea typeface="Arial" charset="0"/>
                <a:cs typeface="Cordia New" charset="0"/>
              </a:endParaRPr>
            </a:p>
            <a:p>
              <a:pPr algn="l">
                <a:lnSpc>
                  <a:spcPct val="110000"/>
                </a:lnSpc>
                <a:spcAft>
                  <a:spcPts val="0"/>
                </a:spcAft>
              </a:pPr>
              <a:r>
                <a:rPr lang="en-GB" sz="800" b="1" dirty="0">
                  <a:solidFill>
                    <a:srgbClr val="666660"/>
                  </a:solidFill>
                  <a:effectLst/>
                  <a:ea typeface="Arial" charset="0"/>
                  <a:cs typeface="Cordia New" charset="0"/>
                </a:rPr>
                <a:t>Functions</a:t>
              </a:r>
              <a:endParaRPr lang="en-US" sz="1100" dirty="0">
                <a:solidFill>
                  <a:srgbClr val="666660"/>
                </a:solidFill>
                <a:effectLst/>
                <a:ea typeface="Arial" charset="0"/>
                <a:cs typeface="Cordia New" charset="0"/>
              </a:endParaRPr>
            </a:p>
            <a:p>
              <a:pPr algn="l">
                <a:lnSpc>
                  <a:spcPct val="110000"/>
                </a:lnSpc>
                <a:spcAft>
                  <a:spcPts val="0"/>
                </a:spcAft>
              </a:pPr>
              <a:r>
                <a:rPr lang="en-GB" sz="800" b="1" dirty="0">
                  <a:solidFill>
                    <a:srgbClr val="666660"/>
                  </a:solidFill>
                  <a:effectLst/>
                  <a:ea typeface="Arial" charset="0"/>
                  <a:cs typeface="Cordia New" charset="0"/>
                </a:rPr>
                <a:t> </a:t>
              </a:r>
              <a:endParaRPr lang="en-US" sz="1100" dirty="0">
                <a:solidFill>
                  <a:srgbClr val="666660"/>
                </a:solidFill>
                <a:effectLst/>
                <a:ea typeface="Arial" charset="0"/>
                <a:cs typeface="Cordia New" charset="0"/>
              </a:endParaRPr>
            </a:p>
            <a:p>
              <a:pPr algn="l">
                <a:lnSpc>
                  <a:spcPct val="110000"/>
                </a:lnSpc>
                <a:spcAft>
                  <a:spcPts val="0"/>
                </a:spcAft>
              </a:pPr>
              <a:r>
                <a:rPr lang="en-GB" sz="800" b="1" dirty="0">
                  <a:solidFill>
                    <a:srgbClr val="666660"/>
                  </a:solidFill>
                  <a:effectLst/>
                  <a:ea typeface="Arial" charset="0"/>
                  <a:cs typeface="Cordia New" charset="0"/>
                </a:rPr>
                <a:t> </a:t>
              </a:r>
              <a:endParaRPr lang="en-US" sz="1100" dirty="0">
                <a:solidFill>
                  <a:srgbClr val="666660"/>
                </a:solidFill>
                <a:effectLst/>
                <a:ea typeface="Arial" charset="0"/>
                <a:cs typeface="Cordia New" charset="0"/>
              </a:endParaRPr>
            </a:p>
          </p:txBody>
        </p:sp>
        <p:sp>
          <p:nvSpPr>
            <p:cNvPr id="9" name="Rounded Rectangle 8"/>
            <p:cNvSpPr/>
            <p:nvPr/>
          </p:nvSpPr>
          <p:spPr>
            <a:xfrm>
              <a:off x="0" y="1254868"/>
              <a:ext cx="1144270" cy="1831975"/>
            </a:xfrm>
            <a:prstGeom prst="roundRect">
              <a:avLst/>
            </a:prstGeom>
            <a:solidFill>
              <a:srgbClr val="92D050">
                <a:alpha val="12000"/>
              </a:srgb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l">
                <a:lnSpc>
                  <a:spcPct val="110000"/>
                </a:lnSpc>
                <a:spcAft>
                  <a:spcPts val="0"/>
                </a:spcAft>
              </a:pPr>
              <a:r>
                <a:rPr lang="en-GB" sz="800" b="1" dirty="0">
                  <a:solidFill>
                    <a:srgbClr val="666660"/>
                  </a:solidFill>
                  <a:effectLst/>
                  <a:ea typeface="Arial" charset="0"/>
                  <a:cs typeface="Cordia New" charset="0"/>
                </a:rPr>
                <a:t> </a:t>
              </a:r>
              <a:endParaRPr lang="en-US" sz="1100" dirty="0">
                <a:solidFill>
                  <a:srgbClr val="666660"/>
                </a:solidFill>
                <a:effectLst/>
                <a:ea typeface="Arial" charset="0"/>
                <a:cs typeface="Cordia New" charset="0"/>
              </a:endParaRPr>
            </a:p>
            <a:p>
              <a:pPr algn="l">
                <a:lnSpc>
                  <a:spcPct val="110000"/>
                </a:lnSpc>
                <a:spcAft>
                  <a:spcPts val="0"/>
                </a:spcAft>
              </a:pPr>
              <a:r>
                <a:rPr lang="en-GB" sz="800" b="1" dirty="0">
                  <a:solidFill>
                    <a:srgbClr val="666660"/>
                  </a:solidFill>
                  <a:effectLst/>
                  <a:ea typeface="Arial" charset="0"/>
                  <a:cs typeface="Cordia New" charset="0"/>
                </a:rPr>
                <a:t>Machines</a:t>
              </a:r>
              <a:endParaRPr lang="en-US" sz="1100" dirty="0">
                <a:solidFill>
                  <a:srgbClr val="666660"/>
                </a:solidFill>
                <a:effectLst/>
                <a:ea typeface="Arial" charset="0"/>
                <a:cs typeface="Cordia New" charset="0"/>
              </a:endParaRPr>
            </a:p>
            <a:p>
              <a:pPr algn="l">
                <a:lnSpc>
                  <a:spcPct val="110000"/>
                </a:lnSpc>
                <a:spcAft>
                  <a:spcPts val="0"/>
                </a:spcAft>
              </a:pPr>
              <a:r>
                <a:rPr lang="en-GB" sz="800" b="1" dirty="0">
                  <a:solidFill>
                    <a:srgbClr val="666660"/>
                  </a:solidFill>
                  <a:effectLst/>
                  <a:ea typeface="Arial" charset="0"/>
                  <a:cs typeface="Cordia New" charset="0"/>
                </a:rPr>
                <a:t>Branches</a:t>
              </a:r>
              <a:endParaRPr lang="en-US" sz="1100" dirty="0">
                <a:solidFill>
                  <a:srgbClr val="666660"/>
                </a:solidFill>
                <a:effectLst/>
                <a:ea typeface="Arial" charset="0"/>
                <a:cs typeface="Cordia New" charset="0"/>
              </a:endParaRPr>
            </a:p>
            <a:p>
              <a:pPr algn="l">
                <a:lnSpc>
                  <a:spcPct val="110000"/>
                </a:lnSpc>
                <a:spcAft>
                  <a:spcPts val="0"/>
                </a:spcAft>
              </a:pPr>
              <a:r>
                <a:rPr lang="en-GB" sz="800" b="1" dirty="0">
                  <a:solidFill>
                    <a:srgbClr val="666660"/>
                  </a:solidFill>
                  <a:effectLst/>
                  <a:ea typeface="Arial" charset="0"/>
                  <a:cs typeface="Cordia New" charset="0"/>
                </a:rPr>
                <a:t>Loads</a:t>
              </a:r>
              <a:endParaRPr lang="en-US" sz="1100" dirty="0">
                <a:solidFill>
                  <a:srgbClr val="666660"/>
                </a:solidFill>
                <a:effectLst/>
                <a:ea typeface="Arial" charset="0"/>
                <a:cs typeface="Cordia New" charset="0"/>
              </a:endParaRPr>
            </a:p>
            <a:p>
              <a:pPr algn="l">
                <a:lnSpc>
                  <a:spcPct val="110000"/>
                </a:lnSpc>
                <a:spcAft>
                  <a:spcPts val="0"/>
                </a:spcAft>
              </a:pPr>
              <a:r>
                <a:rPr lang="en-GB" sz="800" b="1" dirty="0">
                  <a:solidFill>
                    <a:srgbClr val="666660"/>
                  </a:solidFill>
                  <a:effectLst/>
                  <a:ea typeface="Arial" charset="0"/>
                  <a:cs typeface="Cordia New" charset="0"/>
                </a:rPr>
                <a:t>Banks</a:t>
              </a:r>
              <a:endParaRPr lang="en-US" sz="1100" dirty="0">
                <a:solidFill>
                  <a:srgbClr val="666660"/>
                </a:solidFill>
                <a:effectLst/>
                <a:ea typeface="Arial" charset="0"/>
                <a:cs typeface="Cordia New" charset="0"/>
              </a:endParaRPr>
            </a:p>
            <a:p>
              <a:pPr algn="l">
                <a:lnSpc>
                  <a:spcPct val="110000"/>
                </a:lnSpc>
                <a:spcAft>
                  <a:spcPts val="0"/>
                </a:spcAft>
              </a:pPr>
              <a:r>
                <a:rPr lang="en-GB" sz="800" b="1" dirty="0">
                  <a:solidFill>
                    <a:srgbClr val="666660"/>
                  </a:solidFill>
                  <a:effectLst/>
                  <a:ea typeface="Arial" charset="0"/>
                  <a:cs typeface="Cordia New" charset="0"/>
                </a:rPr>
                <a:t>Sensors</a:t>
              </a:r>
              <a:endParaRPr lang="en-US" sz="1100" dirty="0">
                <a:solidFill>
                  <a:srgbClr val="666660"/>
                </a:solidFill>
                <a:effectLst/>
                <a:ea typeface="Arial" charset="0"/>
                <a:cs typeface="Cordia New" charset="0"/>
              </a:endParaRPr>
            </a:p>
            <a:p>
              <a:pPr algn="l">
                <a:lnSpc>
                  <a:spcPct val="110000"/>
                </a:lnSpc>
                <a:spcAft>
                  <a:spcPts val="0"/>
                </a:spcAft>
              </a:pPr>
              <a:r>
                <a:rPr lang="en-GB" sz="800" b="1" dirty="0">
                  <a:solidFill>
                    <a:srgbClr val="666660"/>
                  </a:solidFill>
                  <a:effectLst/>
                  <a:ea typeface="Arial" charset="0"/>
                  <a:cs typeface="Cordia New" charset="0"/>
                </a:rPr>
                <a:t>Events</a:t>
              </a:r>
              <a:endParaRPr lang="en-US" sz="1100" dirty="0">
                <a:solidFill>
                  <a:srgbClr val="666660"/>
                </a:solidFill>
                <a:effectLst/>
                <a:ea typeface="Arial" charset="0"/>
                <a:cs typeface="Cordia New" charset="0"/>
              </a:endParaRPr>
            </a:p>
            <a:p>
              <a:pPr algn="l">
                <a:lnSpc>
                  <a:spcPct val="110000"/>
                </a:lnSpc>
                <a:spcAft>
                  <a:spcPts val="0"/>
                </a:spcAft>
              </a:pPr>
              <a:r>
                <a:rPr lang="en-GB" sz="800" b="1" dirty="0">
                  <a:solidFill>
                    <a:srgbClr val="666660"/>
                  </a:solidFill>
                  <a:effectLst/>
                  <a:ea typeface="Arial" charset="0"/>
                  <a:cs typeface="Cordia New" charset="0"/>
                </a:rPr>
                <a:t>Solar</a:t>
              </a:r>
              <a:endParaRPr lang="en-US" sz="1100" dirty="0">
                <a:solidFill>
                  <a:srgbClr val="666660"/>
                </a:solidFill>
                <a:effectLst/>
                <a:ea typeface="Arial" charset="0"/>
                <a:cs typeface="Cordia New" charset="0"/>
              </a:endParaRPr>
            </a:p>
            <a:p>
              <a:pPr algn="l">
                <a:lnSpc>
                  <a:spcPct val="110000"/>
                </a:lnSpc>
                <a:spcAft>
                  <a:spcPts val="0"/>
                </a:spcAft>
              </a:pPr>
              <a:r>
                <a:rPr lang="en-GB" sz="800" b="1" dirty="0">
                  <a:solidFill>
                    <a:srgbClr val="666660"/>
                  </a:solidFill>
                  <a:effectLst/>
                  <a:ea typeface="Arial" charset="0"/>
                  <a:cs typeface="Cordia New" charset="0"/>
                </a:rPr>
                <a:t>Buses</a:t>
              </a:r>
              <a:endParaRPr lang="en-US" sz="1100" dirty="0">
                <a:solidFill>
                  <a:srgbClr val="666660"/>
                </a:solidFill>
                <a:effectLst/>
                <a:ea typeface="Arial" charset="0"/>
                <a:cs typeface="Cordia New" charset="0"/>
              </a:endParaRPr>
            </a:p>
            <a:p>
              <a:pPr algn="l">
                <a:lnSpc>
                  <a:spcPct val="110000"/>
                </a:lnSpc>
                <a:spcAft>
                  <a:spcPts val="0"/>
                </a:spcAft>
              </a:pPr>
              <a:r>
                <a:rPr lang="en-GB" sz="800" b="1" dirty="0">
                  <a:solidFill>
                    <a:srgbClr val="666660"/>
                  </a:solidFill>
                  <a:effectLst/>
                  <a:ea typeface="Arial" charset="0"/>
                  <a:cs typeface="Cordia New" charset="0"/>
                </a:rPr>
                <a:t>Controls</a:t>
              </a:r>
              <a:endParaRPr lang="en-US" sz="1100" dirty="0">
                <a:solidFill>
                  <a:srgbClr val="666660"/>
                </a:solidFill>
                <a:effectLst/>
                <a:ea typeface="Arial" charset="0"/>
                <a:cs typeface="Cordia New" charset="0"/>
              </a:endParaRPr>
            </a:p>
            <a:p>
              <a:pPr algn="l">
                <a:lnSpc>
                  <a:spcPct val="110000"/>
                </a:lnSpc>
                <a:spcAft>
                  <a:spcPts val="0"/>
                </a:spcAft>
              </a:pPr>
              <a:r>
                <a:rPr lang="en-GB" sz="800" b="1" dirty="0">
                  <a:solidFill>
                    <a:srgbClr val="666660"/>
                  </a:solidFill>
                  <a:effectLst/>
                  <a:ea typeface="Arial" charset="0"/>
                  <a:cs typeface="Cordia New" charset="0"/>
                </a:rPr>
                <a:t>Wind</a:t>
              </a:r>
              <a:endParaRPr lang="en-US" sz="1100" dirty="0">
                <a:solidFill>
                  <a:srgbClr val="666660"/>
                </a:solidFill>
                <a:effectLst/>
                <a:ea typeface="Arial" charset="0"/>
                <a:cs typeface="Cordia New" charset="0"/>
              </a:endParaRPr>
            </a:p>
            <a:p>
              <a:pPr algn="l">
                <a:lnSpc>
                  <a:spcPct val="110000"/>
                </a:lnSpc>
                <a:spcAft>
                  <a:spcPts val="0"/>
                </a:spcAft>
              </a:pPr>
              <a:r>
                <a:rPr lang="en-GB" sz="800" b="1" dirty="0">
                  <a:solidFill>
                    <a:srgbClr val="666660"/>
                  </a:solidFill>
                  <a:effectLst/>
                  <a:ea typeface="Arial" charset="0"/>
                  <a:cs typeface="Cordia New" charset="0"/>
                </a:rPr>
                <a:t> </a:t>
              </a:r>
              <a:endParaRPr lang="en-US" sz="1100" dirty="0">
                <a:solidFill>
                  <a:srgbClr val="666660"/>
                </a:solidFill>
                <a:effectLst/>
                <a:ea typeface="Arial" charset="0"/>
                <a:cs typeface="Cordia New" charset="0"/>
              </a:endParaRPr>
            </a:p>
          </p:txBody>
        </p:sp>
        <p:cxnSp>
          <p:nvCxnSpPr>
            <p:cNvPr id="10" name="Straight Connector 9"/>
            <p:cNvCxnSpPr/>
            <p:nvPr/>
          </p:nvCxnSpPr>
          <p:spPr>
            <a:xfrm flipH="1">
              <a:off x="1828800" y="914400"/>
              <a:ext cx="4050" cy="341001"/>
            </a:xfrm>
            <a:prstGeom prst="line">
              <a:avLst/>
            </a:prstGeom>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flipH="1">
              <a:off x="3083668" y="914400"/>
              <a:ext cx="4050" cy="341001"/>
            </a:xfrm>
            <a:prstGeom prst="line">
              <a:avLst/>
            </a:prstGeom>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flipH="1">
              <a:off x="4344214" y="914400"/>
              <a:ext cx="4050" cy="341001"/>
            </a:xfrm>
            <a:prstGeom prst="line">
              <a:avLst/>
            </a:prstGeom>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573932" y="914400"/>
              <a:ext cx="4050" cy="341001"/>
            </a:xfrm>
            <a:prstGeom prst="line">
              <a:avLst/>
            </a:prstGeom>
          </p:spPr>
          <p:style>
            <a:lnRef idx="1">
              <a:schemeClr val="accent1"/>
            </a:lnRef>
            <a:fillRef idx="0">
              <a:schemeClr val="accent1"/>
            </a:fillRef>
            <a:effectRef idx="0">
              <a:schemeClr val="accent1"/>
            </a:effectRef>
            <a:fontRef idx="minor">
              <a:schemeClr val="tx1"/>
            </a:fontRef>
          </p:style>
        </p:cxnSp>
        <p:sp>
          <p:nvSpPr>
            <p:cNvPr id="15" name="Can 14"/>
            <p:cNvSpPr/>
            <p:nvPr/>
          </p:nvSpPr>
          <p:spPr>
            <a:xfrm>
              <a:off x="1777143" y="10943"/>
              <a:ext cx="1374775" cy="800100"/>
            </a:xfrm>
            <a:prstGeom prst="can">
              <a:avLst/>
            </a:prstGeom>
            <a:solidFill>
              <a:srgbClr val="00B0F0"/>
            </a:solidFill>
            <a:ln>
              <a:solidFill>
                <a:srgbClr val="0070C0"/>
              </a:solidFill>
            </a:ln>
          </p:spPr>
          <p:style>
            <a:lnRef idx="1">
              <a:schemeClr val="accent1"/>
            </a:lnRef>
            <a:fillRef idx="2">
              <a:schemeClr val="accent1"/>
            </a:fillRef>
            <a:effectRef idx="1">
              <a:schemeClr val="accent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10000"/>
                </a:lnSpc>
                <a:spcAft>
                  <a:spcPts val="1800"/>
                </a:spcAft>
              </a:pPr>
              <a:r>
                <a:rPr lang="en-GB" sz="1100" b="1" dirty="0" err="1">
                  <a:solidFill>
                    <a:srgbClr val="FFFFFF"/>
                  </a:solidFill>
                  <a:effectLst/>
                  <a:ea typeface="Arial" charset="0"/>
                  <a:cs typeface="Cordia New" charset="0"/>
                </a:rPr>
                <a:t>OpenIPSL</a:t>
              </a:r>
              <a:endParaRPr lang="en-US" sz="1100" dirty="0">
                <a:solidFill>
                  <a:srgbClr val="666660"/>
                </a:solidFill>
                <a:effectLst/>
                <a:ea typeface="Arial" charset="0"/>
                <a:cs typeface="Cordia New" charset="0"/>
              </a:endParaRPr>
            </a:p>
          </p:txBody>
        </p:sp>
        <p:sp>
          <p:nvSpPr>
            <p:cNvPr id="16" name="Rounded Rectangle 15"/>
            <p:cNvSpPr/>
            <p:nvPr/>
          </p:nvSpPr>
          <p:spPr>
            <a:xfrm>
              <a:off x="1264596" y="1167319"/>
              <a:ext cx="1151890" cy="302400"/>
            </a:xfrm>
            <a:prstGeom prst="roundRect">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10000"/>
                </a:lnSpc>
                <a:spcAft>
                  <a:spcPts val="1800"/>
                </a:spcAft>
              </a:pPr>
              <a:r>
                <a:rPr lang="en-GB" sz="1100" dirty="0" err="1">
                  <a:solidFill>
                    <a:srgbClr val="FFFFFF"/>
                  </a:solidFill>
                  <a:effectLst/>
                  <a:ea typeface="Arial" charset="0"/>
                  <a:cs typeface="Cordia New" charset="0"/>
                </a:rPr>
                <a:t>NonElectrical</a:t>
              </a:r>
              <a:endParaRPr lang="en-US" sz="1100" dirty="0">
                <a:solidFill>
                  <a:srgbClr val="666660"/>
                </a:solidFill>
                <a:effectLst/>
                <a:ea typeface="Arial" charset="0"/>
                <a:cs typeface="Cordia New" charset="0"/>
              </a:endParaRPr>
            </a:p>
          </p:txBody>
        </p:sp>
        <p:sp>
          <p:nvSpPr>
            <p:cNvPr id="17" name="Rounded Rectangle 16"/>
            <p:cNvSpPr/>
            <p:nvPr/>
          </p:nvSpPr>
          <p:spPr>
            <a:xfrm>
              <a:off x="0" y="1167319"/>
              <a:ext cx="1152144" cy="306000"/>
            </a:xfrm>
            <a:prstGeom prst="roundRect">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10000"/>
                </a:lnSpc>
                <a:spcAft>
                  <a:spcPts val="1800"/>
                </a:spcAft>
              </a:pPr>
              <a:r>
                <a:rPr lang="en-GB" sz="1100">
                  <a:solidFill>
                    <a:srgbClr val="FFFFFF"/>
                  </a:solidFill>
                  <a:effectLst/>
                  <a:ea typeface="Arial" charset="0"/>
                  <a:cs typeface="Cordia New" charset="0"/>
                </a:rPr>
                <a:t>Electrical</a:t>
              </a:r>
              <a:endParaRPr lang="en-US" sz="1100">
                <a:solidFill>
                  <a:srgbClr val="666660"/>
                </a:solidFill>
                <a:effectLst/>
                <a:ea typeface="Arial" charset="0"/>
                <a:cs typeface="Cordia New" charset="0"/>
              </a:endParaRPr>
            </a:p>
          </p:txBody>
        </p:sp>
        <p:sp>
          <p:nvSpPr>
            <p:cNvPr id="18" name="Rounded Rectangle 17"/>
            <p:cNvSpPr/>
            <p:nvPr/>
          </p:nvSpPr>
          <p:spPr>
            <a:xfrm>
              <a:off x="2509736" y="1167319"/>
              <a:ext cx="1151890" cy="306000"/>
            </a:xfrm>
            <a:prstGeom prst="roundRect">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10000"/>
                </a:lnSpc>
                <a:spcAft>
                  <a:spcPts val="1800"/>
                </a:spcAft>
              </a:pPr>
              <a:r>
                <a:rPr lang="en-GB" sz="1100">
                  <a:solidFill>
                    <a:srgbClr val="FFFFFF"/>
                  </a:solidFill>
                  <a:effectLst/>
                  <a:ea typeface="Arial" charset="0"/>
                  <a:cs typeface="Cordia New" charset="0"/>
                </a:rPr>
                <a:t>Connectors</a:t>
              </a:r>
              <a:endParaRPr lang="en-US" sz="1100">
                <a:solidFill>
                  <a:srgbClr val="666660"/>
                </a:solidFill>
                <a:effectLst/>
                <a:ea typeface="Arial" charset="0"/>
                <a:cs typeface="Cordia New" charset="0"/>
              </a:endParaRPr>
            </a:p>
          </p:txBody>
        </p:sp>
        <p:sp>
          <p:nvSpPr>
            <p:cNvPr id="20" name="Rounded Rectangle 19"/>
            <p:cNvSpPr/>
            <p:nvPr/>
          </p:nvSpPr>
          <p:spPr>
            <a:xfrm>
              <a:off x="3770282" y="1167319"/>
              <a:ext cx="1151890" cy="306000"/>
            </a:xfrm>
            <a:prstGeom prst="roundRect">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10000"/>
                </a:lnSpc>
                <a:spcAft>
                  <a:spcPts val="1800"/>
                </a:spcAft>
              </a:pPr>
              <a:r>
                <a:rPr lang="en-GB" sz="1100" dirty="0">
                  <a:solidFill>
                    <a:srgbClr val="FFFFFF"/>
                  </a:solidFill>
                  <a:effectLst/>
                  <a:ea typeface="Arial" charset="0"/>
                  <a:cs typeface="Cordia New" charset="0"/>
                </a:rPr>
                <a:t>Examples</a:t>
              </a:r>
              <a:endParaRPr lang="en-US" sz="1100" dirty="0">
                <a:solidFill>
                  <a:srgbClr val="666660"/>
                </a:solidFill>
                <a:effectLst/>
                <a:ea typeface="Arial" charset="0"/>
                <a:cs typeface="Cordia New" charset="0"/>
              </a:endParaRPr>
            </a:p>
          </p:txBody>
        </p:sp>
        <p:cxnSp>
          <p:nvCxnSpPr>
            <p:cNvPr id="21" name="Straight Connector 20"/>
            <p:cNvCxnSpPr/>
            <p:nvPr/>
          </p:nvCxnSpPr>
          <p:spPr>
            <a:xfrm flipV="1">
              <a:off x="0" y="911968"/>
              <a:ext cx="4922172" cy="2432"/>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2458079" y="808611"/>
              <a:ext cx="0" cy="114300"/>
            </a:xfrm>
            <a:prstGeom prst="line">
              <a:avLst/>
            </a:prstGeom>
            <a:ln w="25400"/>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08822402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3</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60</a:t>
            </a:fld>
            <a:endParaRPr lang="en-US" dirty="0"/>
          </a:p>
        </p:txBody>
      </p:sp>
      <p:pic>
        <p:nvPicPr>
          <p:cNvPr id="5" name="Picture 4"/>
          <p:cNvPicPr>
            <a:picLocks noChangeAspect="1"/>
          </p:cNvPicPr>
          <p:nvPr/>
        </p:nvPicPr>
        <p:blipFill>
          <a:blip r:embed="rId3"/>
          <a:stretch>
            <a:fillRect/>
          </a:stretch>
        </p:blipFill>
        <p:spPr>
          <a:xfrm>
            <a:off x="2123728" y="1926006"/>
            <a:ext cx="5436096" cy="3591226"/>
          </a:xfrm>
          <a:prstGeom prst="rect">
            <a:avLst/>
          </a:prstGeom>
        </p:spPr>
      </p:pic>
      <p:sp>
        <p:nvSpPr>
          <p:cNvPr id="3" name="Date Placeholder 2"/>
          <p:cNvSpPr>
            <a:spLocks noGrp="1"/>
          </p:cNvSpPr>
          <p:nvPr>
            <p:ph type="dt" sz="half" idx="12"/>
          </p:nvPr>
        </p:nvSpPr>
        <p:spPr/>
        <p:txBody>
          <a:bodyPr/>
          <a:lstStyle/>
          <a:p>
            <a:r>
              <a:rPr lang="sv-SE"/>
              <a:t>2016-11-20</a:t>
            </a:r>
          </a:p>
        </p:txBody>
      </p:sp>
      <p:sp>
        <p:nvSpPr>
          <p:cNvPr id="6" name="Footer Placeholder 5"/>
          <p:cNvSpPr>
            <a:spLocks noGrp="1"/>
          </p:cNvSpPr>
          <p:nvPr>
            <p:ph type="ftr" sz="quarter" idx="10"/>
          </p:nvPr>
        </p:nvSpPr>
        <p:spPr/>
        <p:txBody>
          <a:bodyPr/>
          <a:lstStyle/>
          <a:p>
            <a:r>
              <a:rPr lang="sv-SE"/>
              <a:t>OpenIPSL Tutorial</a:t>
            </a:r>
          </a:p>
        </p:txBody>
      </p:sp>
    </p:spTree>
    <p:extLst>
      <p:ext uri="{BB962C8B-B14F-4D97-AF65-F5344CB8AC3E}">
        <p14:creationId xmlns:p14="http://schemas.microsoft.com/office/powerpoint/2010/main" val="150534698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Example 3</a:t>
            </a:r>
            <a:endParaRPr lang="en-US" dirty="0"/>
          </a:p>
        </p:txBody>
      </p:sp>
      <p:sp>
        <p:nvSpPr>
          <p:cNvPr id="5" name="Footer Placeholder 4"/>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fld id="{440EDFD1-B7BF-467C-97A6-8BB3B0D76BCB}" type="slidenum">
              <a:rPr lang="en-US" smtClean="0"/>
              <a:pPr/>
              <a:t>61</a:t>
            </a:fld>
            <a:endParaRPr lang="en-US" dirty="0"/>
          </a:p>
        </p:txBody>
      </p:sp>
      <p:sp>
        <p:nvSpPr>
          <p:cNvPr id="3" name="Date Placeholder 2"/>
          <p:cNvSpPr>
            <a:spLocks noGrp="1"/>
          </p:cNvSpPr>
          <p:nvPr>
            <p:ph type="dt" sz="half" idx="12"/>
          </p:nvPr>
        </p:nvSpPr>
        <p:spPr/>
        <p:txBody>
          <a:bodyPr/>
          <a:lstStyle/>
          <a:p>
            <a:r>
              <a:rPr lang="sv-SE"/>
              <a:t>2016-11-20</a:t>
            </a:r>
          </a:p>
        </p:txBody>
      </p:sp>
      <p:sp>
        <p:nvSpPr>
          <p:cNvPr id="11" name="Content Placeholder 10"/>
          <p:cNvSpPr>
            <a:spLocks noGrp="1"/>
          </p:cNvSpPr>
          <p:nvPr>
            <p:ph idx="1"/>
          </p:nvPr>
        </p:nvSpPr>
        <p:spPr/>
        <p:txBody>
          <a:bodyPr/>
          <a:lstStyle/>
          <a:p>
            <a:pPr marL="285750" indent="-285750">
              <a:spcBef>
                <a:spcPts val="1200"/>
              </a:spcBef>
              <a:spcAft>
                <a:spcPts val="1200"/>
              </a:spcAft>
              <a:buFont typeface="Arial" charset="0"/>
              <a:buChar char="•"/>
            </a:pPr>
            <a:r>
              <a:rPr lang="en-US" dirty="0"/>
              <a:t>Example 3 contains the model of the IEEE 9 Bus system</a:t>
            </a:r>
          </a:p>
          <a:p>
            <a:pPr marL="285750" indent="-285750">
              <a:spcBef>
                <a:spcPts val="1200"/>
              </a:spcBef>
              <a:spcAft>
                <a:spcPts val="1200"/>
              </a:spcAft>
              <a:buFont typeface="Arial" charset="0"/>
              <a:buChar char="•"/>
            </a:pPr>
            <a:r>
              <a:rPr lang="en-US" dirty="0"/>
              <a:t>It is pre-configured with all of the power flow and dynamic data</a:t>
            </a:r>
          </a:p>
          <a:p>
            <a:pPr marL="285750" indent="-285750">
              <a:buFont typeface="Arial" charset="0"/>
              <a:buChar char="•"/>
            </a:pPr>
            <a:endParaRPr lang="en-US" dirty="0"/>
          </a:p>
          <a:p>
            <a:pPr marL="285750" indent="-285750">
              <a:buFont typeface="Arial" charset="0"/>
              <a:buChar char="•"/>
            </a:pPr>
            <a:r>
              <a:rPr lang="en-US" dirty="0"/>
              <a:t>In the previous two examples, you learned how to build the models of the power system, introduce the faults, run the dynamic simulations and perform the linearization of the model</a:t>
            </a:r>
          </a:p>
          <a:p>
            <a:pPr marL="285750" indent="-285750">
              <a:buFont typeface="Arial" charset="0"/>
              <a:buChar char="•"/>
            </a:pPr>
            <a:endParaRPr lang="en-US" dirty="0"/>
          </a:p>
          <a:p>
            <a:pPr marL="285750" indent="-285750">
              <a:buFont typeface="Arial" charset="0"/>
              <a:buChar char="•"/>
            </a:pPr>
            <a:r>
              <a:rPr lang="en-US" dirty="0"/>
              <a:t>In Example 3 you are free to explore the model and introduce various faults</a:t>
            </a:r>
          </a:p>
          <a:p>
            <a:pPr marL="285750" indent="-285750">
              <a:buFont typeface="Arial" charset="0"/>
              <a:buChar char="•"/>
            </a:pPr>
            <a:endParaRPr lang="en-US" dirty="0"/>
          </a:p>
          <a:p>
            <a:endParaRPr lang="en-US" dirty="0"/>
          </a:p>
        </p:txBody>
      </p:sp>
    </p:spTree>
    <p:extLst>
      <p:ext uri="{BB962C8B-B14F-4D97-AF65-F5344CB8AC3E}">
        <p14:creationId xmlns:p14="http://schemas.microsoft.com/office/powerpoint/2010/main" val="86188116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3</a:t>
            </a:r>
          </a:p>
        </p:txBody>
      </p:sp>
      <p:sp>
        <p:nvSpPr>
          <p:cNvPr id="8" name="Footer Placeholder 7"/>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62</a:t>
            </a:fld>
            <a:endParaRPr lang="en-US" dirty="0"/>
          </a:p>
        </p:txBody>
      </p:sp>
      <p:sp>
        <p:nvSpPr>
          <p:cNvPr id="3" name="Date Placeholder 2"/>
          <p:cNvSpPr>
            <a:spLocks noGrp="1"/>
          </p:cNvSpPr>
          <p:nvPr>
            <p:ph type="dt" sz="half" idx="12"/>
          </p:nvPr>
        </p:nvSpPr>
        <p:spPr/>
        <p:txBody>
          <a:bodyPr/>
          <a:lstStyle/>
          <a:p>
            <a:r>
              <a:rPr lang="sv-SE"/>
              <a:t>2016-11-20</a:t>
            </a:r>
          </a:p>
        </p:txBody>
      </p:sp>
      <p:sp>
        <p:nvSpPr>
          <p:cNvPr id="9" name="Content Placeholder 8"/>
          <p:cNvSpPr>
            <a:spLocks noGrp="1"/>
          </p:cNvSpPr>
          <p:nvPr>
            <p:ph idx="1"/>
          </p:nvPr>
        </p:nvSpPr>
        <p:spPr/>
        <p:txBody>
          <a:bodyPr/>
          <a:lstStyle/>
          <a:p>
            <a:pPr marL="342900" indent="-342900">
              <a:buFont typeface="Arial" panose="020B0604020202020204" pitchFamily="34" charset="0"/>
              <a:buChar char="•"/>
            </a:pPr>
            <a:r>
              <a:rPr lang="en-US" dirty="0"/>
              <a:t>You can, for instance, introduce the bus fault …</a:t>
            </a:r>
          </a:p>
          <a:p>
            <a:endParaRPr lang="en-US" dirty="0"/>
          </a:p>
        </p:txBody>
      </p:sp>
      <p:grpSp>
        <p:nvGrpSpPr>
          <p:cNvPr id="10" name="Group 9"/>
          <p:cNvGrpSpPr/>
          <p:nvPr/>
        </p:nvGrpSpPr>
        <p:grpSpPr>
          <a:xfrm>
            <a:off x="2194818" y="2261964"/>
            <a:ext cx="4178300" cy="3543300"/>
            <a:chOff x="2194818" y="2261964"/>
            <a:chExt cx="4178300" cy="3543300"/>
          </a:xfrm>
        </p:grpSpPr>
        <p:pic>
          <p:nvPicPr>
            <p:cNvPr id="5" name="Picture 4"/>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194818" y="2261964"/>
              <a:ext cx="4178300" cy="3543300"/>
            </a:xfrm>
            <a:prstGeom prst="rect">
              <a:avLst/>
            </a:prstGeom>
          </p:spPr>
        </p:pic>
        <p:sp>
          <p:nvSpPr>
            <p:cNvPr id="7" name="Rectangle 6"/>
            <p:cNvSpPr/>
            <p:nvPr/>
          </p:nvSpPr>
          <p:spPr>
            <a:xfrm>
              <a:off x="5364088" y="4005065"/>
              <a:ext cx="827112" cy="576063"/>
            </a:xfrm>
            <a:prstGeom prst="rect">
              <a:avLst/>
            </a:prstGeom>
            <a:solidFill>
              <a:srgbClr val="FF0000">
                <a:alpha val="17000"/>
              </a:srgbClr>
            </a:solid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85957475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3</a:t>
            </a:r>
          </a:p>
        </p:txBody>
      </p:sp>
      <p:sp>
        <p:nvSpPr>
          <p:cNvPr id="5" name="Footer Placeholder 4"/>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63</a:t>
            </a:fld>
            <a:endParaRPr lang="en-US" dirty="0"/>
          </a:p>
        </p:txBody>
      </p:sp>
      <p:sp>
        <p:nvSpPr>
          <p:cNvPr id="3" name="Date Placeholder 2"/>
          <p:cNvSpPr>
            <a:spLocks noGrp="1"/>
          </p:cNvSpPr>
          <p:nvPr>
            <p:ph type="dt" sz="half" idx="12"/>
          </p:nvPr>
        </p:nvSpPr>
        <p:spPr/>
        <p:txBody>
          <a:bodyPr/>
          <a:lstStyle/>
          <a:p>
            <a:r>
              <a:rPr lang="sv-SE"/>
              <a:t>2016-11-20</a:t>
            </a:r>
          </a:p>
        </p:txBody>
      </p:sp>
      <p:sp>
        <p:nvSpPr>
          <p:cNvPr id="7" name="Content Placeholder 6"/>
          <p:cNvSpPr>
            <a:spLocks noGrp="1"/>
          </p:cNvSpPr>
          <p:nvPr>
            <p:ph idx="1"/>
          </p:nvPr>
        </p:nvSpPr>
        <p:spPr/>
        <p:txBody>
          <a:bodyPr/>
          <a:lstStyle/>
          <a:p>
            <a:r>
              <a:rPr lang="en-US" dirty="0"/>
              <a:t>... or open the line at the given time instant*</a:t>
            </a:r>
          </a:p>
          <a:p>
            <a:endParaRPr lang="en-US" dirty="0"/>
          </a:p>
        </p:txBody>
      </p:sp>
      <p:grpSp>
        <p:nvGrpSpPr>
          <p:cNvPr id="8" name="Group 7"/>
          <p:cNvGrpSpPr/>
          <p:nvPr/>
        </p:nvGrpSpPr>
        <p:grpSpPr>
          <a:xfrm>
            <a:off x="2195736" y="2117948"/>
            <a:ext cx="4178300" cy="3543300"/>
            <a:chOff x="2195736" y="1831012"/>
            <a:chExt cx="4178300" cy="3543300"/>
          </a:xfrm>
        </p:grpSpPr>
        <p:pic>
          <p:nvPicPr>
            <p:cNvPr id="11" name="Picture 10"/>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195736" y="1831012"/>
              <a:ext cx="4178300" cy="3543300"/>
            </a:xfrm>
            <a:prstGeom prst="rect">
              <a:avLst/>
            </a:prstGeom>
          </p:spPr>
        </p:pic>
        <p:sp>
          <p:nvSpPr>
            <p:cNvPr id="9" name="Rectangle 8"/>
            <p:cNvSpPr/>
            <p:nvPr/>
          </p:nvSpPr>
          <p:spPr>
            <a:xfrm>
              <a:off x="4932040" y="2075216"/>
              <a:ext cx="827112" cy="561696"/>
            </a:xfrm>
            <a:prstGeom prst="rect">
              <a:avLst/>
            </a:prstGeom>
            <a:solidFill>
              <a:srgbClr val="FF0000">
                <a:alpha val="17000"/>
              </a:srgbClr>
            </a:solid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
        <p:nvSpPr>
          <p:cNvPr id="10" name="TextBox 9"/>
          <p:cNvSpPr txBox="1"/>
          <p:nvPr/>
        </p:nvSpPr>
        <p:spPr>
          <a:xfrm>
            <a:off x="32503" y="6457890"/>
            <a:ext cx="8234842" cy="338554"/>
          </a:xfrm>
          <a:prstGeom prst="rect">
            <a:avLst/>
          </a:prstGeom>
          <a:noFill/>
        </p:spPr>
        <p:txBody>
          <a:bodyPr wrap="square" rtlCol="0">
            <a:spAutoFit/>
          </a:bodyPr>
          <a:lstStyle/>
          <a:p>
            <a:r>
              <a:rPr lang="en-US" sz="1600" dirty="0">
                <a:solidFill>
                  <a:srgbClr val="FFFFFF"/>
                </a:solidFill>
              </a:rPr>
              <a:t>*Model of the line with opening is OpenIPSL.Electrical.Branches.PwLine2Openings</a:t>
            </a:r>
          </a:p>
        </p:txBody>
      </p:sp>
    </p:spTree>
    <p:extLst>
      <p:ext uri="{BB962C8B-B14F-4D97-AF65-F5344CB8AC3E}">
        <p14:creationId xmlns:p14="http://schemas.microsoft.com/office/powerpoint/2010/main" val="75039710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3</a:t>
            </a:r>
          </a:p>
        </p:txBody>
      </p:sp>
      <p:sp>
        <p:nvSpPr>
          <p:cNvPr id="7" name="Footer Placeholder 6"/>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64</a:t>
            </a:fld>
            <a:endParaRPr lang="en-US" dirty="0"/>
          </a:p>
        </p:txBody>
      </p:sp>
      <p:sp>
        <p:nvSpPr>
          <p:cNvPr id="3" name="Date Placeholder 2"/>
          <p:cNvSpPr>
            <a:spLocks noGrp="1"/>
          </p:cNvSpPr>
          <p:nvPr>
            <p:ph type="dt" sz="half" idx="12"/>
          </p:nvPr>
        </p:nvSpPr>
        <p:spPr/>
        <p:txBody>
          <a:bodyPr/>
          <a:lstStyle/>
          <a:p>
            <a:r>
              <a:rPr lang="sv-SE"/>
              <a:t>2016-11-20</a:t>
            </a:r>
          </a:p>
        </p:txBody>
      </p:sp>
      <p:sp>
        <p:nvSpPr>
          <p:cNvPr id="8" name="Content Placeholder 7"/>
          <p:cNvSpPr>
            <a:spLocks noGrp="1"/>
          </p:cNvSpPr>
          <p:nvPr>
            <p:ph idx="1"/>
          </p:nvPr>
        </p:nvSpPr>
        <p:spPr/>
        <p:txBody>
          <a:bodyPr/>
          <a:lstStyle/>
          <a:p>
            <a:pPr marL="342900" indent="-342900">
              <a:buFont typeface="Arial" panose="020B0604020202020204" pitchFamily="34" charset="0"/>
              <a:buChar char="•"/>
            </a:pPr>
            <a:r>
              <a:rPr lang="en-US" dirty="0"/>
              <a:t>Step disturbance to the voltage reference of the generators can be introduced by setting the desired</a:t>
            </a:r>
            <a:r>
              <a:rPr lang="en-US" dirty="0">
                <a:latin typeface="Courier" charset="0"/>
                <a:ea typeface="Courier" charset="0"/>
                <a:cs typeface="Courier" charset="0"/>
              </a:rPr>
              <a:t> </a:t>
            </a:r>
            <a:r>
              <a:rPr lang="en-US" dirty="0" err="1">
                <a:latin typeface="Courier" charset="0"/>
                <a:ea typeface="Courier" charset="0"/>
                <a:cs typeface="Courier" charset="0"/>
              </a:rPr>
              <a:t>refdisturb_x</a:t>
            </a:r>
            <a:r>
              <a:rPr lang="en-US" dirty="0">
                <a:latin typeface="Courier" charset="0"/>
                <a:ea typeface="Courier" charset="0"/>
                <a:cs typeface="Courier" charset="0"/>
              </a:rPr>
              <a:t> </a:t>
            </a:r>
            <a:r>
              <a:rPr lang="en-US" dirty="0"/>
              <a:t>parameter to</a:t>
            </a:r>
            <a:r>
              <a:rPr lang="en-US" dirty="0">
                <a:latin typeface="Courier" charset="0"/>
                <a:ea typeface="Courier" charset="0"/>
                <a:cs typeface="Courier" charset="0"/>
              </a:rPr>
              <a:t> true</a:t>
            </a:r>
            <a:endParaRPr lang="en-US" dirty="0"/>
          </a:p>
          <a:p>
            <a:endParaRPr lang="en-US" dirty="0"/>
          </a:p>
        </p:txBody>
      </p:sp>
      <p:grpSp>
        <p:nvGrpSpPr>
          <p:cNvPr id="9" name="Group 8"/>
          <p:cNvGrpSpPr/>
          <p:nvPr/>
        </p:nvGrpSpPr>
        <p:grpSpPr>
          <a:xfrm>
            <a:off x="2857252" y="2322062"/>
            <a:ext cx="2952328" cy="3555210"/>
            <a:chOff x="2857252" y="2251077"/>
            <a:chExt cx="2952328" cy="3555210"/>
          </a:xfrm>
        </p:grpSpPr>
        <p:pic>
          <p:nvPicPr>
            <p:cNvPr id="5" name="Picture 4"/>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857252" y="2251077"/>
              <a:ext cx="2866876" cy="3555210"/>
            </a:xfrm>
            <a:prstGeom prst="rect">
              <a:avLst/>
            </a:prstGeom>
          </p:spPr>
        </p:pic>
        <p:sp>
          <p:nvSpPr>
            <p:cNvPr id="10" name="Rectangle 9"/>
            <p:cNvSpPr/>
            <p:nvPr/>
          </p:nvSpPr>
          <p:spPr>
            <a:xfrm>
              <a:off x="2857252" y="3920669"/>
              <a:ext cx="2952328" cy="216025"/>
            </a:xfrm>
            <a:prstGeom prst="rect">
              <a:avLst/>
            </a:prstGeom>
            <a:solidFill>
              <a:srgbClr val="FF0000">
                <a:alpha val="17000"/>
              </a:srgbClr>
            </a:solid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190023577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rotWithShape="1">
          <a:blip r:embed="rId2"/>
          <a:srcRect b="32342"/>
          <a:stretch/>
        </p:blipFill>
        <p:spPr>
          <a:xfrm>
            <a:off x="759430" y="3296590"/>
            <a:ext cx="5320884" cy="1690536"/>
          </a:xfrm>
          <a:prstGeom prst="rect">
            <a:avLst/>
          </a:prstGeom>
        </p:spPr>
      </p:pic>
      <p:sp>
        <p:nvSpPr>
          <p:cNvPr id="2" name="Title 1"/>
          <p:cNvSpPr>
            <a:spLocks noGrp="1"/>
          </p:cNvSpPr>
          <p:nvPr>
            <p:ph type="title"/>
          </p:nvPr>
        </p:nvSpPr>
        <p:spPr/>
        <p:txBody>
          <a:bodyPr/>
          <a:lstStyle/>
          <a:p>
            <a:r>
              <a:rPr lang="en-US" dirty="0"/>
              <a:t>Bonus: KRK 2-Area model</a:t>
            </a:r>
          </a:p>
        </p:txBody>
      </p:sp>
      <p:sp>
        <p:nvSpPr>
          <p:cNvPr id="7" name="Footer Placeholder 6"/>
          <p:cNvSpPr>
            <a:spLocks noGrp="1"/>
          </p:cNvSpPr>
          <p:nvPr>
            <p:ph type="ftr" sz="quarter" idx="10"/>
          </p:nvPr>
        </p:nvSpPr>
        <p:spPr/>
        <p:txBody>
          <a:bodyPr/>
          <a:lstStyle/>
          <a:p>
            <a:r>
              <a:rPr lang="sv-SE"/>
              <a:t>OpenIPSL Tutorial</a:t>
            </a:r>
            <a:endParaRPr lang="sv-SE" dirty="0"/>
          </a:p>
        </p:txBody>
      </p:sp>
      <p:sp>
        <p:nvSpPr>
          <p:cNvPr id="10" name="Slide Number Placeholder 9"/>
          <p:cNvSpPr>
            <a:spLocks noGrp="1"/>
          </p:cNvSpPr>
          <p:nvPr>
            <p:ph type="sldNum" sz="quarter" idx="11"/>
          </p:nvPr>
        </p:nvSpPr>
        <p:spPr/>
        <p:txBody>
          <a:bodyPr/>
          <a:lstStyle/>
          <a:p>
            <a:fld id="{227F0B53-9592-4779-891F-997228E46E01}" type="slidenum">
              <a:rPr lang="sv-SE" smtClean="0"/>
              <a:t>65</a:t>
            </a:fld>
            <a:endParaRPr lang="sv-SE"/>
          </a:p>
        </p:txBody>
      </p:sp>
      <p:sp>
        <p:nvSpPr>
          <p:cNvPr id="6" name="Date Placeholder 5"/>
          <p:cNvSpPr>
            <a:spLocks noGrp="1"/>
          </p:cNvSpPr>
          <p:nvPr>
            <p:ph type="dt" sz="half" idx="12"/>
          </p:nvPr>
        </p:nvSpPr>
        <p:spPr/>
        <p:txBody>
          <a:bodyPr/>
          <a:lstStyle/>
          <a:p>
            <a:r>
              <a:rPr lang="sv-SE"/>
              <a:t>2016-11-20</a:t>
            </a:r>
          </a:p>
        </p:txBody>
      </p:sp>
      <p:sp>
        <p:nvSpPr>
          <p:cNvPr id="3" name="Content Placeholder 2"/>
          <p:cNvSpPr>
            <a:spLocks noGrp="1"/>
          </p:cNvSpPr>
          <p:nvPr>
            <p:ph idx="1"/>
          </p:nvPr>
        </p:nvSpPr>
        <p:spPr/>
        <p:txBody>
          <a:bodyPr/>
          <a:lstStyle/>
          <a:p>
            <a:r>
              <a:rPr lang="en-US" b="1" dirty="0"/>
              <a:t>Once the </a:t>
            </a:r>
            <a:r>
              <a:rPr lang="en-US" b="1" dirty="0" err="1"/>
              <a:t>OpenIPSL</a:t>
            </a:r>
            <a:r>
              <a:rPr lang="en-US" b="1" dirty="0"/>
              <a:t> is loaded </a:t>
            </a:r>
            <a:r>
              <a:rPr lang="en-US" dirty="0"/>
              <a:t>(see previous slide) in </a:t>
            </a:r>
            <a:r>
              <a:rPr lang="en-US" dirty="0" err="1"/>
              <a:t>OMEdit</a:t>
            </a:r>
            <a:r>
              <a:rPr lang="en-US" dirty="0"/>
              <a:t>, you can load the Tutorial package:</a:t>
            </a:r>
          </a:p>
          <a:p>
            <a:pPr marL="342900" indent="-342900">
              <a:buFont typeface="Arial" panose="020B0604020202020204" pitchFamily="34" charset="0"/>
              <a:buChar char="•"/>
            </a:pPr>
            <a:r>
              <a:rPr lang="en-US" dirty="0"/>
              <a:t>Browse Windows Explorer to the location of the unzipped folder </a:t>
            </a:r>
          </a:p>
          <a:p>
            <a:pPr marL="342900" indent="-342900">
              <a:buFont typeface="Arial" panose="020B0604020202020204" pitchFamily="34" charset="0"/>
              <a:buChar char="•"/>
            </a:pPr>
            <a:r>
              <a:rPr lang="en-US" dirty="0"/>
              <a:t>Drag &amp; drop the </a:t>
            </a:r>
            <a:r>
              <a:rPr lang="en-US" b="1" dirty="0"/>
              <a:t>TwoAreas.mo</a:t>
            </a:r>
            <a:r>
              <a:rPr lang="en-US" dirty="0"/>
              <a:t> file to the </a:t>
            </a:r>
            <a:r>
              <a:rPr lang="en-US" b="1" dirty="0"/>
              <a:t>Library Browser</a:t>
            </a:r>
            <a:r>
              <a:rPr lang="en-US" dirty="0"/>
              <a:t> in </a:t>
            </a:r>
            <a:r>
              <a:rPr lang="en-US" dirty="0" err="1"/>
              <a:t>OMEdit</a:t>
            </a:r>
            <a:r>
              <a:rPr lang="en-US" dirty="0"/>
              <a:t>.</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a:p>
        </p:txBody>
      </p:sp>
      <p:sp>
        <p:nvSpPr>
          <p:cNvPr id="9" name="Content Placeholder 2"/>
          <p:cNvSpPr txBox="1">
            <a:spLocks/>
          </p:cNvSpPr>
          <p:nvPr/>
        </p:nvSpPr>
        <p:spPr>
          <a:xfrm>
            <a:off x="467544" y="1650798"/>
            <a:ext cx="8076875" cy="3993206"/>
          </a:xfrm>
          <a:prstGeom prst="rect">
            <a:avLst/>
          </a:prstGeom>
        </p:spPr>
        <p:txBody>
          <a:bodyPr vert="horz" lIns="0" tIns="0" rIns="0" bIns="0" rtlCol="0">
            <a:normAutofit/>
          </a:bodyPr>
          <a:lstStyle>
            <a:lvl1pPr marL="0" indent="0" algn="l" defTabSz="912931" rtl="0" eaLnBrk="1" latinLnBrk="0" hangingPunct="1">
              <a:lnSpc>
                <a:spcPct val="100000"/>
              </a:lnSpc>
              <a:spcBef>
                <a:spcPct val="20000"/>
              </a:spcBef>
              <a:buFont typeface="Arial" pitchFamily="34" charset="0"/>
              <a:buNone/>
              <a:defRPr sz="2000" kern="1200">
                <a:solidFill>
                  <a:schemeClr val="tx1"/>
                </a:solidFill>
                <a:latin typeface="+mn-lt"/>
                <a:ea typeface="+mn-ea"/>
                <a:cs typeface="+mn-cs"/>
              </a:defRPr>
            </a:lvl1pPr>
            <a:lvl2pPr marL="355028" indent="-355028" algn="l" defTabSz="912931"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2pPr>
            <a:lvl3pPr marL="722737" indent="-367708" algn="l" defTabSz="912931"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3pPr>
            <a:lvl4pPr marL="1074596" indent="-351863" algn="l" defTabSz="912931"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4pPr>
            <a:lvl5pPr marL="1532646" indent="-456463" algn="l" defTabSz="912931"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5pPr>
            <a:lvl6pPr marL="2510560" indent="-228230" algn="l" defTabSz="91293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7027" indent="-228230" algn="l" defTabSz="91293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3492" indent="-228230" algn="l" defTabSz="91293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79959" indent="-228230" algn="l" defTabSz="912931"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2931" rtl="0" eaLnBrk="1" fontAlgn="auto" latinLnBrk="0" hangingPunct="1">
              <a:lnSpc>
                <a:spcPct val="100000"/>
              </a:lnSpc>
              <a:spcBef>
                <a:spcPct val="20000"/>
              </a:spcBef>
              <a:spcAft>
                <a:spcPts val="0"/>
              </a:spcAft>
              <a:buClrTx/>
              <a:buSzTx/>
              <a:buFont typeface="Arial" pitchFamily="34" charset="0"/>
              <a:buNone/>
              <a:tabLst/>
              <a:defRPr/>
            </a:pPr>
            <a:endParaRPr kumimoji="0" lang="en-US" sz="20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2931" rtl="0" eaLnBrk="1" fontAlgn="auto" latinLnBrk="0" hangingPunct="1">
              <a:lnSpc>
                <a:spcPct val="100000"/>
              </a:lnSpc>
              <a:spcBef>
                <a:spcPct val="20000"/>
              </a:spcBef>
              <a:spcAft>
                <a:spcPts val="0"/>
              </a:spcAft>
              <a:buClrTx/>
              <a:buSzTx/>
              <a:buFont typeface="Arial" pitchFamily="34" charset="0"/>
              <a:buNone/>
              <a:tabLst/>
              <a:defRPr/>
            </a:pPr>
            <a:endParaRPr kumimoji="0" lang="en-US" sz="20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2931" rtl="0" eaLnBrk="1" fontAlgn="auto" latinLnBrk="0" hangingPunct="1">
              <a:lnSpc>
                <a:spcPct val="100000"/>
              </a:lnSpc>
              <a:spcBef>
                <a:spcPct val="20000"/>
              </a:spcBef>
              <a:spcAft>
                <a:spcPts val="0"/>
              </a:spcAft>
              <a:buClrTx/>
              <a:buSzTx/>
              <a:buFont typeface="Arial" pitchFamily="34" charset="0"/>
              <a:buNone/>
              <a:tabLst/>
              <a:defRPr/>
            </a:pPr>
            <a:endParaRPr kumimoji="0" lang="en-US" sz="20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2931" rtl="0" eaLnBrk="1" fontAlgn="auto" latinLnBrk="0" hangingPunct="1">
              <a:lnSpc>
                <a:spcPct val="100000"/>
              </a:lnSpc>
              <a:spcBef>
                <a:spcPct val="20000"/>
              </a:spcBef>
              <a:spcAft>
                <a:spcPts val="0"/>
              </a:spcAft>
              <a:buClrTx/>
              <a:buSzTx/>
              <a:buFont typeface="Arial" pitchFamily="34" charset="0"/>
              <a:buNone/>
              <a:tabLst/>
              <a:defRPr/>
            </a:pPr>
            <a:endParaRPr kumimoji="0" lang="en-US" sz="20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2931" rtl="0" eaLnBrk="1" fontAlgn="auto" latinLnBrk="0" hangingPunct="1">
              <a:lnSpc>
                <a:spcPct val="100000"/>
              </a:lnSpc>
              <a:spcBef>
                <a:spcPct val="20000"/>
              </a:spcBef>
              <a:spcAft>
                <a:spcPts val="0"/>
              </a:spcAft>
              <a:buClrTx/>
              <a:buSzTx/>
              <a:buFont typeface="Arial" pitchFamily="34" charset="0"/>
              <a:buNone/>
              <a:tabLst/>
              <a:defRPr/>
            </a:pPr>
            <a:endParaRPr kumimoji="0" lang="en-US" sz="2000" b="0" i="0" u="none" strike="noStrike" kern="1200" cap="none" spc="0" normalizeH="0" baseline="0" noProof="0" dirty="0">
              <a:ln>
                <a:noFill/>
              </a:ln>
              <a:solidFill>
                <a:schemeClr val="tx1"/>
              </a:solidFill>
              <a:effectLst/>
              <a:uLnTx/>
              <a:uFillTx/>
              <a:latin typeface="+mn-lt"/>
              <a:ea typeface="+mn-ea"/>
              <a:cs typeface="+mn-cs"/>
            </a:endParaRPr>
          </a:p>
        </p:txBody>
      </p:sp>
      <p:pic>
        <p:nvPicPr>
          <p:cNvPr id="8" name="Picture 7"/>
          <p:cNvPicPr>
            <a:picLocks noChangeAspect="1"/>
          </p:cNvPicPr>
          <p:nvPr/>
        </p:nvPicPr>
        <p:blipFill>
          <a:blip r:embed="rId3"/>
          <a:stretch>
            <a:fillRect/>
          </a:stretch>
        </p:blipFill>
        <p:spPr>
          <a:xfrm>
            <a:off x="6516216" y="3296590"/>
            <a:ext cx="1785646" cy="3174481"/>
          </a:xfrm>
          <a:prstGeom prst="rect">
            <a:avLst/>
          </a:prstGeom>
        </p:spPr>
      </p:pic>
      <p:cxnSp>
        <p:nvCxnSpPr>
          <p:cNvPr id="12" name="Straight Arrow Connector 11"/>
          <p:cNvCxnSpPr/>
          <p:nvPr/>
        </p:nvCxnSpPr>
        <p:spPr>
          <a:xfrm>
            <a:off x="2123728" y="4869160"/>
            <a:ext cx="4498300" cy="432048"/>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6576860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mo of Modelica and Other Tools </a:t>
            </a:r>
          </a:p>
        </p:txBody>
      </p:sp>
      <p:sp>
        <p:nvSpPr>
          <p:cNvPr id="3" name="Footer Placeholder 2"/>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fld id="{227F0B53-9592-4779-891F-997228E46E01}" type="slidenum">
              <a:rPr lang="sv-SE" smtClean="0"/>
              <a:t>66</a:t>
            </a:fld>
            <a:endParaRPr lang="sv-SE"/>
          </a:p>
        </p:txBody>
      </p:sp>
      <p:sp>
        <p:nvSpPr>
          <p:cNvPr id="5" name="Date Placeholder 4"/>
          <p:cNvSpPr>
            <a:spLocks noGrp="1"/>
          </p:cNvSpPr>
          <p:nvPr>
            <p:ph type="dt" sz="half" idx="12"/>
          </p:nvPr>
        </p:nvSpPr>
        <p:spPr/>
        <p:txBody>
          <a:bodyPr/>
          <a:lstStyle/>
          <a:p>
            <a:r>
              <a:rPr lang="sv-SE"/>
              <a:t>2016-11-20</a:t>
            </a:r>
          </a:p>
        </p:txBody>
      </p:sp>
      <p:sp>
        <p:nvSpPr>
          <p:cNvPr id="6" name="Content Placeholder 5"/>
          <p:cNvSpPr>
            <a:spLocks noGrp="1"/>
          </p:cNvSpPr>
          <p:nvPr>
            <p:ph idx="1"/>
          </p:nvPr>
        </p:nvSpPr>
        <p:spPr/>
        <p:txBody>
          <a:bodyPr/>
          <a:lstStyle/>
          <a:p>
            <a:r>
              <a:rPr lang="en-US" b="1" dirty="0"/>
              <a:t>Modelica and Python</a:t>
            </a:r>
          </a:p>
          <a:p>
            <a:r>
              <a:rPr lang="en-US" dirty="0"/>
              <a:t>Python opens countless new applications for </a:t>
            </a:r>
            <a:r>
              <a:rPr lang="en-US" dirty="0" err="1"/>
              <a:t>OpenIPSL</a:t>
            </a:r>
            <a:r>
              <a:rPr lang="en-US" dirty="0"/>
              <a:t>. </a:t>
            </a:r>
          </a:p>
          <a:p>
            <a:r>
              <a:rPr lang="en-US" dirty="0"/>
              <a:t>In this demo, the integration of Modelica and Python will be leveraged to perform a root locus.</a:t>
            </a:r>
          </a:p>
          <a:p>
            <a:endParaRPr lang="en-US" dirty="0"/>
          </a:p>
        </p:txBody>
      </p:sp>
      <p:grpSp>
        <p:nvGrpSpPr>
          <p:cNvPr id="10" name="Group 9"/>
          <p:cNvGrpSpPr/>
          <p:nvPr/>
        </p:nvGrpSpPr>
        <p:grpSpPr>
          <a:xfrm>
            <a:off x="843194" y="3690028"/>
            <a:ext cx="7113182" cy="1539172"/>
            <a:chOff x="-345896" y="3992763"/>
            <a:chExt cx="7113182" cy="1539172"/>
          </a:xfrm>
        </p:grpSpPr>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rot="1158897">
              <a:off x="-345896" y="4010444"/>
              <a:ext cx="1481973" cy="1481973"/>
            </a:xfrm>
            <a:prstGeom prst="rect">
              <a:avLst/>
            </a:prstGeom>
          </p:spPr>
        </p:pic>
        <p:grpSp>
          <p:nvGrpSpPr>
            <p:cNvPr id="8" name="Group 7"/>
            <p:cNvGrpSpPr/>
            <p:nvPr/>
          </p:nvGrpSpPr>
          <p:grpSpPr>
            <a:xfrm>
              <a:off x="2411760" y="4241948"/>
              <a:ext cx="1914794" cy="1289987"/>
              <a:chOff x="2441182" y="4243216"/>
              <a:chExt cx="2677460" cy="1759572"/>
            </a:xfrm>
          </p:grpSpPr>
          <p:pic>
            <p:nvPicPr>
              <p:cNvPr id="3074" name="Picture 2" descr="Image result for openmodelica"/>
              <p:cNvPicPr>
                <a:picLocks noChangeAspect="1" noChangeArrowheads="1"/>
              </p:cNvPicPr>
              <p:nvPr/>
            </p:nvPicPr>
            <p:blipFill rotWithShape="1">
              <a:blip r:embed="rId3">
                <a:extLst>
                  <a:ext uri="{28A0092B-C50C-407E-A947-70E740481C1C}">
                    <a14:useLocalDpi xmlns:a14="http://schemas.microsoft.com/office/drawing/2010/main" val="0"/>
                  </a:ext>
                </a:extLst>
              </a:blip>
              <a:srcRect r="11803"/>
              <a:stretch/>
            </p:blipFill>
            <p:spPr bwMode="auto">
              <a:xfrm>
                <a:off x="2555776" y="4243216"/>
                <a:ext cx="2448271" cy="462649"/>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Image result for jmodelica"/>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t="12727" r="36889" b="23637"/>
              <a:stretch/>
            </p:blipFill>
            <p:spPr bwMode="auto">
              <a:xfrm>
                <a:off x="2441182" y="5000527"/>
                <a:ext cx="2677460" cy="1002261"/>
              </a:xfrm>
              <a:prstGeom prst="rect">
                <a:avLst/>
              </a:prstGeom>
              <a:noFill/>
              <a:extLst>
                <a:ext uri="{909E8E84-426E-40DD-AFC4-6F175D3DCCD1}">
                  <a14:hiddenFill xmlns:a14="http://schemas.microsoft.com/office/drawing/2010/main">
                    <a:solidFill>
                      <a:srgbClr val="FFFFFF"/>
                    </a:solidFill>
                  </a14:hiddenFill>
                </a:ext>
              </a:extLst>
            </p:spPr>
          </p:pic>
        </p:grpSp>
        <p:pic>
          <p:nvPicPr>
            <p:cNvPr id="3078" name="Picture 6" descr="Image result for python"/>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279719" y="3992763"/>
              <a:ext cx="1487567" cy="1487567"/>
            </a:xfrm>
            <a:prstGeom prst="rect">
              <a:avLst/>
            </a:prstGeom>
            <a:noFill/>
            <a:extLst>
              <a:ext uri="{909E8E84-426E-40DD-AFC4-6F175D3DCCD1}">
                <a14:hiddenFill xmlns:a14="http://schemas.microsoft.com/office/drawing/2010/main">
                  <a:solidFill>
                    <a:srgbClr val="FFFFFF"/>
                  </a:solidFill>
                </a14:hiddenFill>
              </a:ext>
            </a:extLst>
          </p:spPr>
        </p:pic>
        <p:sp>
          <p:nvSpPr>
            <p:cNvPr id="9" name="Plus 8"/>
            <p:cNvSpPr/>
            <p:nvPr/>
          </p:nvSpPr>
          <p:spPr>
            <a:xfrm>
              <a:off x="1374226" y="4268495"/>
              <a:ext cx="945577" cy="936104"/>
            </a:xfrm>
            <a:prstGeom prst="mathPlus">
              <a:avLst>
                <a:gd name="adj1" fmla="val 12140"/>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dirty="0" err="1">
                <a:solidFill>
                  <a:schemeClr val="tx1"/>
                </a:solidFill>
              </a:endParaRPr>
            </a:p>
          </p:txBody>
        </p:sp>
        <p:sp>
          <p:nvSpPr>
            <p:cNvPr id="13" name="Plus 12"/>
            <p:cNvSpPr/>
            <p:nvPr/>
          </p:nvSpPr>
          <p:spPr>
            <a:xfrm>
              <a:off x="4500463" y="4268495"/>
              <a:ext cx="945577" cy="936104"/>
            </a:xfrm>
            <a:prstGeom prst="mathPlus">
              <a:avLst>
                <a:gd name="adj1" fmla="val 12140"/>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372916790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mo of Modelica and Other Tools </a:t>
            </a:r>
          </a:p>
        </p:txBody>
      </p:sp>
      <p:sp>
        <p:nvSpPr>
          <p:cNvPr id="3" name="Footer Placeholder 2"/>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fld id="{227F0B53-9592-4779-891F-997228E46E01}" type="slidenum">
              <a:rPr lang="sv-SE" smtClean="0"/>
              <a:t>67</a:t>
            </a:fld>
            <a:endParaRPr lang="sv-SE"/>
          </a:p>
        </p:txBody>
      </p:sp>
      <p:sp>
        <p:nvSpPr>
          <p:cNvPr id="5" name="Date Placeholder 4"/>
          <p:cNvSpPr>
            <a:spLocks noGrp="1"/>
          </p:cNvSpPr>
          <p:nvPr>
            <p:ph type="dt" sz="half" idx="12"/>
          </p:nvPr>
        </p:nvSpPr>
        <p:spPr/>
        <p:txBody>
          <a:bodyPr/>
          <a:lstStyle/>
          <a:p>
            <a:r>
              <a:rPr lang="sv-SE"/>
              <a:t>2016-11-20</a:t>
            </a:r>
          </a:p>
        </p:txBody>
      </p:sp>
      <p:sp>
        <p:nvSpPr>
          <p:cNvPr id="6" name="Content Placeholder 5"/>
          <p:cNvSpPr>
            <a:spLocks noGrp="1"/>
          </p:cNvSpPr>
          <p:nvPr>
            <p:ph idx="1"/>
          </p:nvPr>
        </p:nvSpPr>
        <p:spPr/>
        <p:txBody>
          <a:bodyPr/>
          <a:lstStyle/>
          <a:p>
            <a:r>
              <a:rPr lang="en-US" b="1" dirty="0"/>
              <a:t>Modelica and FMI (Functional Mockup Interface)</a:t>
            </a:r>
          </a:p>
          <a:p>
            <a:r>
              <a:rPr lang="en-US" dirty="0"/>
              <a:t>FMI is a standard for </a:t>
            </a:r>
            <a:r>
              <a:rPr lang="en-US" b="1" dirty="0"/>
              <a:t>model exchange </a:t>
            </a:r>
            <a:r>
              <a:rPr lang="en-US" dirty="0"/>
              <a:t>between different tools. Modelica is FMI compliant. Python opens countless new applications for </a:t>
            </a:r>
            <a:r>
              <a:rPr lang="en-US" dirty="0" err="1"/>
              <a:t>OpenIPSL</a:t>
            </a:r>
            <a:r>
              <a:rPr lang="en-US" dirty="0"/>
              <a:t>. </a:t>
            </a:r>
          </a:p>
          <a:p>
            <a:r>
              <a:rPr lang="en-US" dirty="0"/>
              <a:t>In this demo, FMI and the FMI toolbox will be leveraged to simulate an </a:t>
            </a:r>
            <a:r>
              <a:rPr lang="en-US" dirty="0" err="1"/>
              <a:t>OpenIPSL</a:t>
            </a:r>
            <a:r>
              <a:rPr lang="en-US" dirty="0"/>
              <a:t> model in </a:t>
            </a:r>
            <a:r>
              <a:rPr lang="en-US" dirty="0" err="1"/>
              <a:t>Matlab</a:t>
            </a:r>
            <a:endParaRPr lang="en-US" dirty="0"/>
          </a:p>
          <a:p>
            <a:endParaRPr lang="en-US" dirty="0"/>
          </a:p>
        </p:txBody>
      </p:sp>
      <p:grpSp>
        <p:nvGrpSpPr>
          <p:cNvPr id="10" name="Group 9"/>
          <p:cNvGrpSpPr/>
          <p:nvPr/>
        </p:nvGrpSpPr>
        <p:grpSpPr>
          <a:xfrm>
            <a:off x="843194" y="3707709"/>
            <a:ext cx="5791936" cy="1481973"/>
            <a:chOff x="-345896" y="4010444"/>
            <a:chExt cx="5791936" cy="1481973"/>
          </a:xfrm>
        </p:grpSpPr>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rot="1158897">
              <a:off x="-345896" y="4010444"/>
              <a:ext cx="1481973" cy="1481973"/>
            </a:xfrm>
            <a:prstGeom prst="rect">
              <a:avLst/>
            </a:prstGeom>
          </p:spPr>
        </p:pic>
        <p:sp>
          <p:nvSpPr>
            <p:cNvPr id="9" name="Plus 8"/>
            <p:cNvSpPr/>
            <p:nvPr/>
          </p:nvSpPr>
          <p:spPr>
            <a:xfrm>
              <a:off x="1374226" y="4268495"/>
              <a:ext cx="945577" cy="936104"/>
            </a:xfrm>
            <a:prstGeom prst="mathPlus">
              <a:avLst>
                <a:gd name="adj1" fmla="val 12140"/>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dirty="0" err="1">
                <a:solidFill>
                  <a:schemeClr val="tx1"/>
                </a:solidFill>
              </a:endParaRPr>
            </a:p>
          </p:txBody>
        </p:sp>
        <p:sp>
          <p:nvSpPr>
            <p:cNvPr id="13" name="Plus 12"/>
            <p:cNvSpPr/>
            <p:nvPr/>
          </p:nvSpPr>
          <p:spPr>
            <a:xfrm>
              <a:off x="4500463" y="4268495"/>
              <a:ext cx="945577" cy="936104"/>
            </a:xfrm>
            <a:prstGeom prst="mathPlus">
              <a:avLst>
                <a:gd name="adj1" fmla="val 12140"/>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dirty="0" err="1">
                <a:solidFill>
                  <a:schemeClr val="tx1"/>
                </a:solidFill>
              </a:endParaRPr>
            </a:p>
          </p:txBody>
        </p:sp>
      </p:grpSp>
      <p:pic>
        <p:nvPicPr>
          <p:cNvPr id="4098" name="Picture 2" descr="Image result for fmi toolbox"/>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29376" y="4563848"/>
            <a:ext cx="2125886" cy="676032"/>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Image result for matlab"/>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b="29382"/>
          <a:stretch/>
        </p:blipFill>
        <p:spPr bwMode="auto">
          <a:xfrm>
            <a:off x="6877780" y="3802520"/>
            <a:ext cx="1560551" cy="1134116"/>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descr="Image result for FMI"/>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508893" y="3504326"/>
            <a:ext cx="2087914" cy="69892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778730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le 1"/>
          <p:cNvSpPr>
            <a:spLocks noGrp="1"/>
          </p:cNvSpPr>
          <p:nvPr>
            <p:ph type="title"/>
          </p:nvPr>
        </p:nvSpPr>
        <p:spPr/>
        <p:txBody>
          <a:bodyPr/>
          <a:lstStyle/>
          <a:p>
            <a:r>
              <a:rPr lang="en-US" dirty="0"/>
              <a:t>Questions?</a:t>
            </a:r>
            <a:endParaRPr lang="en-US" sz="1800" b="0" dirty="0">
              <a:solidFill>
                <a:schemeClr val="bg1">
                  <a:lumMod val="50000"/>
                </a:schemeClr>
              </a:solidFill>
            </a:endParaRP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68</a:t>
            </a:fld>
            <a:endParaRPr lang="en-US" dirty="0"/>
          </a:p>
        </p:txBody>
      </p:sp>
      <p:grpSp>
        <p:nvGrpSpPr>
          <p:cNvPr id="31" name="Group 30"/>
          <p:cNvGrpSpPr/>
          <p:nvPr/>
        </p:nvGrpSpPr>
        <p:grpSpPr>
          <a:xfrm>
            <a:off x="1629316" y="2399880"/>
            <a:ext cx="5823004" cy="2479505"/>
            <a:chOff x="381090" y="1192609"/>
            <a:chExt cx="9589258" cy="4080846"/>
          </a:xfrm>
        </p:grpSpPr>
        <p:grpSp>
          <p:nvGrpSpPr>
            <p:cNvPr id="30" name="Group 29"/>
            <p:cNvGrpSpPr/>
            <p:nvPr/>
          </p:nvGrpSpPr>
          <p:grpSpPr>
            <a:xfrm>
              <a:off x="381090" y="1192609"/>
              <a:ext cx="9555729" cy="4018490"/>
              <a:chOff x="381090" y="1192609"/>
              <a:chExt cx="9555729" cy="4018490"/>
            </a:xfrm>
          </p:grpSpPr>
          <p:sp>
            <p:nvSpPr>
              <p:cNvPr id="6" name="TextBox 5"/>
              <p:cNvSpPr txBox="1"/>
              <p:nvPr/>
            </p:nvSpPr>
            <p:spPr>
              <a:xfrm>
                <a:off x="381090" y="2485974"/>
                <a:ext cx="1815316" cy="379911"/>
              </a:xfrm>
              <a:prstGeom prst="rect">
                <a:avLst/>
              </a:prstGeom>
              <a:noFill/>
            </p:spPr>
            <p:txBody>
              <a:bodyPr wrap="square" rtlCol="0">
                <a:spAutoFit/>
              </a:bodyPr>
              <a:lstStyle/>
              <a:p>
                <a:pPr algn="ctr"/>
                <a:r>
                  <a:rPr lang="en-GB" sz="900" dirty="0"/>
                  <a:t>Luigi </a:t>
                </a:r>
                <a:r>
                  <a:rPr lang="en-GB" sz="900" dirty="0" err="1"/>
                  <a:t>Vanfretti</a:t>
                </a:r>
                <a:endParaRPr lang="en-GB" sz="900" dirty="0"/>
              </a:p>
            </p:txBody>
          </p:sp>
          <p:grpSp>
            <p:nvGrpSpPr>
              <p:cNvPr id="28" name="Group 27"/>
              <p:cNvGrpSpPr/>
              <p:nvPr/>
            </p:nvGrpSpPr>
            <p:grpSpPr>
              <a:xfrm>
                <a:off x="454567" y="1192609"/>
                <a:ext cx="9482252" cy="4018490"/>
                <a:chOff x="457200" y="1051149"/>
                <a:chExt cx="9482252" cy="4018490"/>
              </a:xfrm>
            </p:grpSpPr>
            <p:pic>
              <p:nvPicPr>
                <p:cNvPr id="23" name="Picture 22"/>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8461197" y="1051149"/>
                  <a:ext cx="1153052" cy="1366467"/>
                </a:xfrm>
                <a:prstGeom prst="rect">
                  <a:avLst/>
                </a:prstGeom>
              </p:spPr>
            </p:pic>
            <p:sp>
              <p:nvSpPr>
                <p:cNvPr id="24" name="TextBox 23"/>
                <p:cNvSpPr txBox="1"/>
                <p:nvPr/>
              </p:nvSpPr>
              <p:spPr>
                <a:xfrm>
                  <a:off x="8107131" y="2417616"/>
                  <a:ext cx="1832321" cy="379911"/>
                </a:xfrm>
                <a:prstGeom prst="rect">
                  <a:avLst/>
                </a:prstGeom>
                <a:noFill/>
              </p:spPr>
              <p:txBody>
                <a:bodyPr wrap="square" rtlCol="0">
                  <a:spAutoFit/>
                </a:bodyPr>
                <a:lstStyle/>
                <a:p>
                  <a:pPr algn="ctr"/>
                  <a:r>
                    <a:rPr lang="en-GB" sz="900" dirty="0"/>
                    <a:t>Tin Rabuzin</a:t>
                  </a:r>
                </a:p>
              </p:txBody>
            </p:sp>
            <p:grpSp>
              <p:nvGrpSpPr>
                <p:cNvPr id="27" name="Group 26"/>
                <p:cNvGrpSpPr/>
                <p:nvPr/>
              </p:nvGrpSpPr>
              <p:grpSpPr>
                <a:xfrm>
                  <a:off x="457200" y="1051149"/>
                  <a:ext cx="7886201" cy="4018490"/>
                  <a:chOff x="-1833" y="1052735"/>
                  <a:chExt cx="8891021" cy="4738703"/>
                </a:xfrm>
              </p:grpSpPr>
              <p:pic>
                <p:nvPicPr>
                  <p:cNvPr id="5" name="Picture 4"/>
                  <p:cNvPicPr>
                    <a:picLocks noChangeAspect="1"/>
                  </p:cNvPicPr>
                  <p:nvPr/>
                </p:nvPicPr>
                <p:blipFill rotWithShape="1">
                  <a:blip r:embed="rId4" cstate="hqprint">
                    <a:extLst>
                      <a:ext uri="{28A0092B-C50C-407E-A947-70E740481C1C}">
                        <a14:useLocalDpi xmlns:a14="http://schemas.microsoft.com/office/drawing/2010/main"/>
                      </a:ext>
                    </a:extLst>
                  </a:blip>
                  <a:srcRect/>
                  <a:stretch/>
                </p:blipFill>
                <p:spPr>
                  <a:xfrm>
                    <a:off x="320257" y="1079223"/>
                    <a:ext cx="1177977" cy="1584176"/>
                  </a:xfrm>
                  <a:prstGeom prst="rect">
                    <a:avLst/>
                  </a:prstGeom>
                </p:spPr>
              </p:pic>
              <p:pic>
                <p:nvPicPr>
                  <p:cNvPr id="7" name="Picture 6"/>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1898669" y="1079223"/>
                    <a:ext cx="1544344" cy="1527271"/>
                  </a:xfrm>
                  <a:prstGeom prst="rect">
                    <a:avLst/>
                  </a:prstGeom>
                </p:spPr>
              </p:pic>
              <p:sp>
                <p:nvSpPr>
                  <p:cNvPr id="8" name="TextBox 7"/>
                  <p:cNvSpPr txBox="1"/>
                  <p:nvPr/>
                </p:nvSpPr>
                <p:spPr>
                  <a:xfrm>
                    <a:off x="1760783" y="2634947"/>
                    <a:ext cx="1820117" cy="716802"/>
                  </a:xfrm>
                  <a:prstGeom prst="rect">
                    <a:avLst/>
                  </a:prstGeom>
                  <a:noFill/>
                </p:spPr>
                <p:txBody>
                  <a:bodyPr wrap="square" rtlCol="0">
                    <a:spAutoFit/>
                  </a:bodyPr>
                  <a:lstStyle/>
                  <a:p>
                    <a:pPr algn="ctr"/>
                    <a:r>
                      <a:rPr lang="en-GB" sz="900" dirty="0" err="1"/>
                      <a:t>Achour</a:t>
                    </a:r>
                    <a:r>
                      <a:rPr lang="en-GB" sz="900" dirty="0"/>
                      <a:t> </a:t>
                    </a:r>
                    <a:r>
                      <a:rPr lang="en-GB" sz="900" dirty="0" err="1"/>
                      <a:t>Amazouz</a:t>
                    </a:r>
                    <a:endParaRPr lang="en-GB" sz="900" dirty="0"/>
                  </a:p>
                </p:txBody>
              </p:sp>
              <p:pic>
                <p:nvPicPr>
                  <p:cNvPr id="9" name="Picture 8"/>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3661830" y="1052736"/>
                    <a:ext cx="1593593" cy="1582211"/>
                  </a:xfrm>
                  <a:prstGeom prst="rect">
                    <a:avLst/>
                  </a:prstGeom>
                </p:spPr>
              </p:pic>
              <p:sp>
                <p:nvSpPr>
                  <p:cNvPr id="10" name="TextBox 9"/>
                  <p:cNvSpPr txBox="1"/>
                  <p:nvPr/>
                </p:nvSpPr>
                <p:spPr>
                  <a:xfrm>
                    <a:off x="3356379" y="2634947"/>
                    <a:ext cx="2117340" cy="716802"/>
                  </a:xfrm>
                  <a:prstGeom prst="rect">
                    <a:avLst/>
                  </a:prstGeom>
                  <a:noFill/>
                </p:spPr>
                <p:txBody>
                  <a:bodyPr wrap="square" rtlCol="0">
                    <a:spAutoFit/>
                  </a:bodyPr>
                  <a:lstStyle/>
                  <a:p>
                    <a:pPr algn="ctr"/>
                    <a:r>
                      <a:rPr lang="en-GB" sz="900" dirty="0"/>
                      <a:t>Mohammed Ahsan </a:t>
                    </a:r>
                    <a:r>
                      <a:rPr lang="en-GB" sz="900" dirty="0" err="1"/>
                      <a:t>Adib</a:t>
                    </a:r>
                    <a:r>
                      <a:rPr lang="en-GB" sz="900" dirty="0"/>
                      <a:t> Murad</a:t>
                    </a:r>
                  </a:p>
                </p:txBody>
              </p:sp>
              <p:pic>
                <p:nvPicPr>
                  <p:cNvPr id="11" name="Picture 10"/>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5500143" y="1052735"/>
                    <a:ext cx="1529929" cy="1553759"/>
                  </a:xfrm>
                  <a:prstGeom prst="rect">
                    <a:avLst/>
                  </a:prstGeom>
                </p:spPr>
              </p:pic>
              <p:sp>
                <p:nvSpPr>
                  <p:cNvPr id="12" name="TextBox 11"/>
                  <p:cNvSpPr txBox="1"/>
                  <p:nvPr/>
                </p:nvSpPr>
                <p:spPr>
                  <a:xfrm>
                    <a:off x="5312827" y="2608462"/>
                    <a:ext cx="1925151" cy="716802"/>
                  </a:xfrm>
                  <a:prstGeom prst="rect">
                    <a:avLst/>
                  </a:prstGeom>
                  <a:noFill/>
                </p:spPr>
                <p:txBody>
                  <a:bodyPr wrap="square" rtlCol="0">
                    <a:spAutoFit/>
                  </a:bodyPr>
                  <a:lstStyle/>
                  <a:p>
                    <a:pPr algn="ctr"/>
                    <a:r>
                      <a:rPr lang="en-GB" sz="900" dirty="0"/>
                      <a:t>Francisco José Gómez</a:t>
                    </a:r>
                  </a:p>
                </p:txBody>
              </p:sp>
              <p:pic>
                <p:nvPicPr>
                  <p:cNvPr id="13" name="Picture 12"/>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243762" y="3469316"/>
                    <a:ext cx="1414994" cy="1605321"/>
                  </a:xfrm>
                  <a:prstGeom prst="rect">
                    <a:avLst/>
                  </a:prstGeom>
                </p:spPr>
              </p:pic>
              <p:sp>
                <p:nvSpPr>
                  <p:cNvPr id="14" name="TextBox 13"/>
                  <p:cNvSpPr txBox="1"/>
                  <p:nvPr/>
                </p:nvSpPr>
                <p:spPr>
                  <a:xfrm>
                    <a:off x="-1833" y="5050115"/>
                    <a:ext cx="1925151" cy="448000"/>
                  </a:xfrm>
                  <a:prstGeom prst="rect">
                    <a:avLst/>
                  </a:prstGeom>
                  <a:noFill/>
                </p:spPr>
                <p:txBody>
                  <a:bodyPr wrap="square" rtlCol="0">
                    <a:spAutoFit/>
                  </a:bodyPr>
                  <a:lstStyle/>
                  <a:p>
                    <a:pPr algn="ctr"/>
                    <a:r>
                      <a:rPr lang="en-GB" sz="900" dirty="0"/>
                      <a:t>Jan </a:t>
                    </a:r>
                    <a:r>
                      <a:rPr lang="en-GB" sz="900" dirty="0" err="1"/>
                      <a:t>Lavenius</a:t>
                    </a:r>
                    <a:endParaRPr lang="en-GB" sz="900" dirty="0"/>
                  </a:p>
                </p:txBody>
              </p:sp>
              <p:pic>
                <p:nvPicPr>
                  <p:cNvPr id="15" name="Picture 14"/>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a:off x="1865724" y="3529578"/>
                    <a:ext cx="1515459" cy="1515458"/>
                  </a:xfrm>
                  <a:prstGeom prst="rect">
                    <a:avLst/>
                  </a:prstGeom>
                </p:spPr>
              </p:pic>
              <p:sp>
                <p:nvSpPr>
                  <p:cNvPr id="16" name="TextBox 15"/>
                  <p:cNvSpPr txBox="1"/>
                  <p:nvPr/>
                </p:nvSpPr>
                <p:spPr>
                  <a:xfrm>
                    <a:off x="1961943" y="5045036"/>
                    <a:ext cx="1440163" cy="448000"/>
                  </a:xfrm>
                  <a:prstGeom prst="rect">
                    <a:avLst/>
                  </a:prstGeom>
                  <a:noFill/>
                </p:spPr>
                <p:txBody>
                  <a:bodyPr wrap="square" rtlCol="0">
                    <a:spAutoFit/>
                  </a:bodyPr>
                  <a:lstStyle/>
                  <a:p>
                    <a:pPr algn="ctr"/>
                    <a:r>
                      <a:rPr lang="en-GB" sz="900" dirty="0"/>
                      <a:t>Le Qi</a:t>
                    </a:r>
                  </a:p>
                </p:txBody>
              </p:sp>
              <p:pic>
                <p:nvPicPr>
                  <p:cNvPr id="17" name="Picture 16"/>
                  <p:cNvPicPr>
                    <a:picLocks noChangeAspect="1"/>
                  </p:cNvPicPr>
                  <p:nvPr/>
                </p:nvPicPr>
                <p:blipFill>
                  <a:blip r:embed="rId10">
                    <a:extLst>
                      <a:ext uri="{28A0092B-C50C-407E-A947-70E740481C1C}">
                        <a14:useLocalDpi xmlns:a14="http://schemas.microsoft.com/office/drawing/2010/main"/>
                      </a:ext>
                    </a:extLst>
                  </a:blip>
                  <a:stretch>
                    <a:fillRect/>
                  </a:stretch>
                </p:blipFill>
                <p:spPr>
                  <a:xfrm>
                    <a:off x="3677093" y="3569176"/>
                    <a:ext cx="1488175" cy="1488172"/>
                  </a:xfrm>
                  <a:prstGeom prst="rect">
                    <a:avLst/>
                  </a:prstGeom>
                </p:spPr>
              </p:pic>
              <p:sp>
                <p:nvSpPr>
                  <p:cNvPr id="18" name="TextBox 17"/>
                  <p:cNvSpPr txBox="1"/>
                  <p:nvPr/>
                </p:nvSpPr>
                <p:spPr>
                  <a:xfrm>
                    <a:off x="3381185" y="5045036"/>
                    <a:ext cx="1784082" cy="716801"/>
                  </a:xfrm>
                  <a:prstGeom prst="rect">
                    <a:avLst/>
                  </a:prstGeom>
                  <a:noFill/>
                </p:spPr>
                <p:txBody>
                  <a:bodyPr wrap="square" rtlCol="0">
                    <a:spAutoFit/>
                  </a:bodyPr>
                  <a:lstStyle/>
                  <a:p>
                    <a:pPr algn="ctr"/>
                    <a:r>
                      <a:rPr lang="en-GB" sz="900" dirty="0" err="1"/>
                      <a:t>Maxime</a:t>
                    </a:r>
                    <a:r>
                      <a:rPr lang="en-GB" sz="900" dirty="0"/>
                      <a:t> Baudette</a:t>
                    </a:r>
                  </a:p>
                </p:txBody>
              </p:sp>
              <p:pic>
                <p:nvPicPr>
                  <p:cNvPr id="19" name="Picture 18"/>
                  <p:cNvPicPr>
                    <a:picLocks noChangeAspect="1"/>
                  </p:cNvPicPr>
                  <p:nvPr/>
                </p:nvPicPr>
                <p:blipFill>
                  <a:blip r:embed="rId11" cstate="hqprint">
                    <a:extLst>
                      <a:ext uri="{28A0092B-C50C-407E-A947-70E740481C1C}">
                        <a14:useLocalDpi xmlns:a14="http://schemas.microsoft.com/office/drawing/2010/main"/>
                      </a:ext>
                    </a:extLst>
                  </a:blip>
                  <a:stretch>
                    <a:fillRect/>
                  </a:stretch>
                </p:blipFill>
                <p:spPr>
                  <a:xfrm>
                    <a:off x="5378785" y="3544550"/>
                    <a:ext cx="1512801" cy="1512801"/>
                  </a:xfrm>
                  <a:prstGeom prst="rect">
                    <a:avLst/>
                  </a:prstGeom>
                </p:spPr>
              </p:pic>
              <p:sp>
                <p:nvSpPr>
                  <p:cNvPr id="20" name="TextBox 19"/>
                  <p:cNvSpPr txBox="1"/>
                  <p:nvPr/>
                </p:nvSpPr>
                <p:spPr>
                  <a:xfrm>
                    <a:off x="5243143" y="5060421"/>
                    <a:ext cx="1784082" cy="448000"/>
                  </a:xfrm>
                  <a:prstGeom prst="rect">
                    <a:avLst/>
                  </a:prstGeom>
                  <a:noFill/>
                </p:spPr>
                <p:txBody>
                  <a:bodyPr wrap="square" rtlCol="0">
                    <a:spAutoFit/>
                  </a:bodyPr>
                  <a:lstStyle/>
                  <a:p>
                    <a:pPr algn="ctr"/>
                    <a:r>
                      <a:rPr lang="en-GB" sz="900" dirty="0" err="1"/>
                      <a:t>Mengjia</a:t>
                    </a:r>
                    <a:r>
                      <a:rPr lang="en-GB" sz="900" dirty="0"/>
                      <a:t> Zhang</a:t>
                    </a:r>
                  </a:p>
                </p:txBody>
              </p:sp>
              <p:pic>
                <p:nvPicPr>
                  <p:cNvPr id="21" name="Picture 20"/>
                  <p:cNvPicPr>
                    <a:picLocks noChangeAspect="1"/>
                  </p:cNvPicPr>
                  <p:nvPr/>
                </p:nvPicPr>
                <p:blipFill>
                  <a:blip r:embed="rId12" cstate="hqprint">
                    <a:extLst>
                      <a:ext uri="{28A0092B-C50C-407E-A947-70E740481C1C}">
                        <a14:useLocalDpi xmlns:a14="http://schemas.microsoft.com/office/drawing/2010/main"/>
                      </a:ext>
                    </a:extLst>
                  </a:blip>
                  <a:stretch>
                    <a:fillRect/>
                  </a:stretch>
                </p:blipFill>
                <p:spPr>
                  <a:xfrm>
                    <a:off x="7268278" y="3495806"/>
                    <a:ext cx="1367367" cy="1583008"/>
                  </a:xfrm>
                  <a:prstGeom prst="rect">
                    <a:avLst/>
                  </a:prstGeom>
                </p:spPr>
              </p:pic>
              <p:sp>
                <p:nvSpPr>
                  <p:cNvPr id="22" name="TextBox 21"/>
                  <p:cNvSpPr txBox="1"/>
                  <p:nvPr/>
                </p:nvSpPr>
                <p:spPr>
                  <a:xfrm>
                    <a:off x="7027227" y="5074637"/>
                    <a:ext cx="1832320" cy="716801"/>
                  </a:xfrm>
                  <a:prstGeom prst="rect">
                    <a:avLst/>
                  </a:prstGeom>
                  <a:noFill/>
                </p:spPr>
                <p:txBody>
                  <a:bodyPr wrap="square" rtlCol="0">
                    <a:spAutoFit/>
                  </a:bodyPr>
                  <a:lstStyle/>
                  <a:p>
                    <a:pPr algn="ctr"/>
                    <a:r>
                      <a:rPr lang="en-GB" sz="900" dirty="0" err="1"/>
                      <a:t>Tetiana</a:t>
                    </a:r>
                    <a:r>
                      <a:rPr lang="en-GB" sz="900" dirty="0"/>
                      <a:t> </a:t>
                    </a:r>
                    <a:r>
                      <a:rPr lang="en-GB" sz="900" dirty="0" err="1"/>
                      <a:t>Bogodorova</a:t>
                    </a:r>
                    <a:endParaRPr lang="en-GB" sz="900" dirty="0"/>
                  </a:p>
                </p:txBody>
              </p:sp>
              <p:pic>
                <p:nvPicPr>
                  <p:cNvPr id="25" name="Picture 24"/>
                  <p:cNvPicPr>
                    <a:picLocks noChangeAspect="1"/>
                  </p:cNvPicPr>
                  <p:nvPr/>
                </p:nvPicPr>
                <p:blipFill rotWithShape="1">
                  <a:blip r:embed="rId13" cstate="hqprint">
                    <a:extLst>
                      <a:ext uri="{28A0092B-C50C-407E-A947-70E740481C1C}">
                        <a14:useLocalDpi xmlns:a14="http://schemas.microsoft.com/office/drawing/2010/main"/>
                      </a:ext>
                    </a:extLst>
                  </a:blip>
                  <a:srcRect/>
                  <a:stretch/>
                </p:blipFill>
                <p:spPr>
                  <a:xfrm>
                    <a:off x="7306240" y="1052736"/>
                    <a:ext cx="1287189" cy="1581182"/>
                  </a:xfrm>
                  <a:prstGeom prst="rect">
                    <a:avLst/>
                  </a:prstGeom>
                </p:spPr>
              </p:pic>
              <p:sp>
                <p:nvSpPr>
                  <p:cNvPr id="26" name="TextBox 25"/>
                  <p:cNvSpPr txBox="1"/>
                  <p:nvPr/>
                </p:nvSpPr>
                <p:spPr>
                  <a:xfrm>
                    <a:off x="7010450" y="2606496"/>
                    <a:ext cx="1878738" cy="716802"/>
                  </a:xfrm>
                  <a:prstGeom prst="rect">
                    <a:avLst/>
                  </a:prstGeom>
                  <a:noFill/>
                </p:spPr>
                <p:txBody>
                  <a:bodyPr wrap="square" rtlCol="0">
                    <a:spAutoFit/>
                  </a:bodyPr>
                  <a:lstStyle/>
                  <a:p>
                    <a:pPr algn="ctr"/>
                    <a:r>
                      <a:rPr lang="en-GB" sz="900" dirty="0" err="1"/>
                      <a:t>Giusseppe</a:t>
                    </a:r>
                    <a:r>
                      <a:rPr lang="en-GB" sz="900" dirty="0"/>
                      <a:t> </a:t>
                    </a:r>
                    <a:r>
                      <a:rPr lang="en-GB" sz="900" dirty="0" err="1"/>
                      <a:t>Laera</a:t>
                    </a:r>
                    <a:endParaRPr lang="en-GB" sz="900" dirty="0"/>
                  </a:p>
                </p:txBody>
              </p:sp>
            </p:grpSp>
          </p:grpSp>
        </p:grpSp>
        <p:pic>
          <p:nvPicPr>
            <p:cNvPr id="3" name="Picture 2"/>
            <p:cNvPicPr>
              <a:picLocks noChangeAspect="1"/>
            </p:cNvPicPr>
            <p:nvPr/>
          </p:nvPicPr>
          <p:blipFill>
            <a:blip r:embed="rId14" cstate="hqprint">
              <a:extLst>
                <a:ext uri="{28A0092B-C50C-407E-A947-70E740481C1C}">
                  <a14:useLocalDpi xmlns:a14="http://schemas.microsoft.com/office/drawing/2010/main"/>
                </a:ext>
              </a:extLst>
            </a:blip>
            <a:stretch>
              <a:fillRect/>
            </a:stretch>
          </p:blipFill>
          <p:spPr>
            <a:xfrm>
              <a:off x="8382442" y="3326588"/>
              <a:ext cx="1326419" cy="1326418"/>
            </a:xfrm>
            <a:prstGeom prst="rect">
              <a:avLst/>
            </a:prstGeom>
          </p:spPr>
        </p:pic>
        <p:sp>
          <p:nvSpPr>
            <p:cNvPr id="29" name="TextBox 28"/>
            <p:cNvSpPr txBox="1"/>
            <p:nvPr/>
          </p:nvSpPr>
          <p:spPr>
            <a:xfrm>
              <a:off x="8138027" y="4665597"/>
              <a:ext cx="1832321" cy="607858"/>
            </a:xfrm>
            <a:prstGeom prst="rect">
              <a:avLst/>
            </a:prstGeom>
            <a:noFill/>
          </p:spPr>
          <p:txBody>
            <a:bodyPr wrap="square" rtlCol="0">
              <a:spAutoFit/>
            </a:bodyPr>
            <a:lstStyle/>
            <a:p>
              <a:pPr algn="ctr"/>
              <a:r>
                <a:rPr lang="en-GB" sz="900" dirty="0"/>
                <a:t>Joan </a:t>
              </a:r>
              <a:r>
                <a:rPr lang="en-GB" sz="900" dirty="0" err="1"/>
                <a:t>Russiñol</a:t>
              </a:r>
              <a:r>
                <a:rPr lang="en-GB" sz="900" dirty="0"/>
                <a:t> </a:t>
              </a:r>
              <a:r>
                <a:rPr lang="en-GB" sz="900" dirty="0" err="1"/>
                <a:t>Mussons</a:t>
              </a:r>
              <a:endParaRPr lang="en-GB" sz="900" dirty="0"/>
            </a:p>
          </p:txBody>
        </p:sp>
      </p:grpSp>
      <p:sp>
        <p:nvSpPr>
          <p:cNvPr id="2" name="TextBox 1"/>
          <p:cNvSpPr txBox="1"/>
          <p:nvPr/>
        </p:nvSpPr>
        <p:spPr>
          <a:xfrm>
            <a:off x="1187624" y="1769244"/>
            <a:ext cx="8020695" cy="369332"/>
          </a:xfrm>
          <a:prstGeom prst="rect">
            <a:avLst/>
          </a:prstGeom>
          <a:noFill/>
        </p:spPr>
        <p:txBody>
          <a:bodyPr wrap="square" rtlCol="0">
            <a:spAutoFit/>
          </a:bodyPr>
          <a:lstStyle/>
          <a:p>
            <a:r>
              <a:rPr lang="en-US" dirty="0">
                <a:solidFill>
                  <a:schemeClr val="bg1">
                    <a:lumMod val="50000"/>
                  </a:schemeClr>
                </a:solidFill>
              </a:rPr>
              <a:t>Thanks to all current and former </a:t>
            </a:r>
            <a:r>
              <a:rPr lang="en-US" dirty="0" err="1">
                <a:solidFill>
                  <a:schemeClr val="bg1">
                    <a:lumMod val="50000"/>
                  </a:schemeClr>
                </a:solidFill>
              </a:rPr>
              <a:t>OpenIPSL</a:t>
            </a:r>
            <a:r>
              <a:rPr lang="en-US" dirty="0">
                <a:solidFill>
                  <a:schemeClr val="bg1">
                    <a:lumMod val="50000"/>
                  </a:schemeClr>
                </a:solidFill>
              </a:rPr>
              <a:t> Developers @ KTH</a:t>
            </a:r>
            <a:endParaRPr lang="en-US" dirty="0"/>
          </a:p>
        </p:txBody>
      </p:sp>
      <p:sp>
        <p:nvSpPr>
          <p:cNvPr id="34" name="Date Placeholder 33"/>
          <p:cNvSpPr>
            <a:spLocks noGrp="1"/>
          </p:cNvSpPr>
          <p:nvPr>
            <p:ph type="dt" sz="half" idx="12"/>
          </p:nvPr>
        </p:nvSpPr>
        <p:spPr/>
        <p:txBody>
          <a:bodyPr/>
          <a:lstStyle/>
          <a:p>
            <a:r>
              <a:rPr lang="sv-SE"/>
              <a:t>2016-11-20</a:t>
            </a:r>
          </a:p>
        </p:txBody>
      </p:sp>
      <p:sp>
        <p:nvSpPr>
          <p:cNvPr id="36" name="Footer Placeholder 35"/>
          <p:cNvSpPr>
            <a:spLocks noGrp="1"/>
          </p:cNvSpPr>
          <p:nvPr>
            <p:ph type="ftr" sz="quarter" idx="10"/>
          </p:nvPr>
        </p:nvSpPr>
        <p:spPr/>
        <p:txBody>
          <a:bodyPr/>
          <a:lstStyle/>
          <a:p>
            <a:r>
              <a:rPr lang="sv-SE"/>
              <a:t>OpenIPSL Tutorial</a:t>
            </a:r>
          </a:p>
        </p:txBody>
      </p:sp>
      <p:sp>
        <p:nvSpPr>
          <p:cNvPr id="32" name="Action Button: Custom 31">
            <a:hlinkClick r:id="" action="ppaction://hlinkshowjump?jump=endshow" highlightClick="1"/>
          </p:cNvPr>
          <p:cNvSpPr/>
          <p:nvPr/>
        </p:nvSpPr>
        <p:spPr>
          <a:xfrm>
            <a:off x="7202802" y="5426215"/>
            <a:ext cx="1616719" cy="432048"/>
          </a:xfrm>
          <a:prstGeom prst="actionButtonBlank">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End</a:t>
            </a:r>
          </a:p>
        </p:txBody>
      </p:sp>
    </p:spTree>
    <p:extLst>
      <p:ext uri="{BB962C8B-B14F-4D97-AF65-F5344CB8AC3E}">
        <p14:creationId xmlns:p14="http://schemas.microsoft.com/office/powerpoint/2010/main" val="203342311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6948264" y="241023"/>
            <a:ext cx="2195736" cy="8476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chemeClr val="tx1"/>
              </a:solidFill>
              <a:effectLst/>
              <a:uLnTx/>
              <a:uFillTx/>
            </a:endParaRPr>
          </a:p>
        </p:txBody>
      </p:sp>
      <p:sp>
        <p:nvSpPr>
          <p:cNvPr id="6" name="Titre 1"/>
          <p:cNvSpPr>
            <a:spLocks noGrp="1"/>
          </p:cNvSpPr>
          <p:nvPr>
            <p:ph type="ctrTitle"/>
          </p:nvPr>
        </p:nvSpPr>
        <p:spPr bwMode="auto">
          <a:xfrm>
            <a:off x="876209" y="1382911"/>
            <a:ext cx="7772400" cy="1470025"/>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rmAutofit/>
          </a:bodyPr>
          <a:lstStyle/>
          <a:p>
            <a:pPr algn="ctr" eaLnBrk="1" hangingPunct="1"/>
            <a:r>
              <a:rPr lang="en-US" altLang="sv-SE" sz="4800" b="0" dirty="0" err="1">
                <a:ea typeface="Geneva"/>
                <a:cs typeface="Geneva"/>
              </a:rPr>
              <a:t>OpenIPSL</a:t>
            </a:r>
            <a:r>
              <a:rPr lang="en-US" altLang="sv-SE" sz="4800" b="0" dirty="0">
                <a:ea typeface="Geneva"/>
                <a:cs typeface="Geneva"/>
              </a:rPr>
              <a:t> Tutorial</a:t>
            </a:r>
            <a:br>
              <a:rPr lang="en-US" altLang="sv-SE" sz="4800" dirty="0">
                <a:ea typeface="Geneva"/>
                <a:cs typeface="Geneva"/>
              </a:rPr>
            </a:br>
            <a:r>
              <a:rPr lang="en-US" altLang="sv-SE" sz="1800" b="0" dirty="0">
                <a:ea typeface="Geneva"/>
                <a:cs typeface="Geneva"/>
              </a:rPr>
              <a:t>A Modelica Library for Power Systems Simulation</a:t>
            </a:r>
            <a:endParaRPr lang="en-US" altLang="sv-SE" sz="1800" dirty="0">
              <a:ea typeface="Geneva"/>
              <a:cs typeface="Geneva"/>
            </a:endParaRPr>
          </a:p>
        </p:txBody>
      </p:sp>
      <p:sp>
        <p:nvSpPr>
          <p:cNvPr id="7" name="Sous-titre 2"/>
          <p:cNvSpPr>
            <a:spLocks noGrp="1"/>
          </p:cNvSpPr>
          <p:nvPr>
            <p:ph type="subTitle" idx="1"/>
          </p:nvPr>
        </p:nvSpPr>
        <p:spPr bwMode="auto">
          <a:xfrm>
            <a:off x="190409" y="2420888"/>
            <a:ext cx="9144000" cy="1752600"/>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eaLnBrk="1" hangingPunct="1"/>
            <a:r>
              <a:rPr lang="en-US" sz="2800" dirty="0">
                <a:solidFill>
                  <a:srgbClr val="898989"/>
                </a:solidFill>
              </a:rPr>
              <a:t>Assoc. Prof. </a:t>
            </a:r>
            <a:r>
              <a:rPr lang="en-US" sz="2800" b="1" dirty="0">
                <a:solidFill>
                  <a:srgbClr val="898989"/>
                </a:solidFill>
              </a:rPr>
              <a:t>Luigi </a:t>
            </a:r>
            <a:r>
              <a:rPr lang="en-US" sz="2800" b="1" dirty="0" err="1">
                <a:solidFill>
                  <a:srgbClr val="898989"/>
                </a:solidFill>
              </a:rPr>
              <a:t>Vanfretti</a:t>
            </a:r>
            <a:endParaRPr lang="en-US" sz="2800" b="1" dirty="0">
              <a:solidFill>
                <a:srgbClr val="898989"/>
              </a:solidFill>
            </a:endParaRPr>
          </a:p>
          <a:p>
            <a:pPr algn="ctr"/>
            <a:r>
              <a:rPr lang="en-US" altLang="sv-SE" sz="1800" dirty="0">
                <a:solidFill>
                  <a:srgbClr val="898989"/>
                </a:solidFill>
                <a:ea typeface="Geneva"/>
                <a:cs typeface="Geneva"/>
                <a:hlinkClick r:id=""/>
              </a:rPr>
              <a:t>luigiv@kth.se,</a:t>
            </a:r>
          </a:p>
          <a:p>
            <a:pPr algn="ctr"/>
            <a:r>
              <a:rPr lang="en-US" altLang="sv-SE" sz="1800" dirty="0">
                <a:solidFill>
                  <a:srgbClr val="898989"/>
                </a:solidFill>
                <a:ea typeface="Geneva"/>
                <a:cs typeface="Geneva"/>
                <a:hlinkClick r:id=""/>
              </a:rPr>
              <a:t>https://www.kth.se/profile/luigiv/</a:t>
            </a:r>
            <a:r>
              <a:rPr lang="en-US" altLang="sv-SE" sz="1800" dirty="0">
                <a:solidFill>
                  <a:srgbClr val="898989"/>
                </a:solidFill>
                <a:ea typeface="Geneva"/>
                <a:cs typeface="Geneva"/>
              </a:rPr>
              <a:t> </a:t>
            </a:r>
          </a:p>
          <a:p>
            <a:pPr algn="ctr" eaLnBrk="1" hangingPunct="1"/>
            <a:endParaRPr lang="en-US" altLang="sv-SE" sz="2800" dirty="0">
              <a:solidFill>
                <a:srgbClr val="898989"/>
              </a:solidFill>
              <a:ea typeface="Geneva"/>
              <a:cs typeface="Geneva"/>
            </a:endParaRPr>
          </a:p>
          <a:p>
            <a:pPr algn="ctr" eaLnBrk="1" hangingPunct="1"/>
            <a:endParaRPr lang="en-US" altLang="sv-SE" sz="1000" dirty="0">
              <a:solidFill>
                <a:srgbClr val="898989"/>
              </a:solidFill>
              <a:ea typeface="Geneva"/>
              <a:cs typeface="Geneva"/>
            </a:endParaRPr>
          </a:p>
        </p:txBody>
      </p:sp>
      <p:pic>
        <p:nvPicPr>
          <p:cNvPr id="8" name="Picture 2" descr="C:\Nobackup\Dropbox\Maxime - Luigi\presentations\Material From Luigi\SmarTSLabLogo\smartslab_logo_Transparente.png"/>
          <p:cNvPicPr>
            <a:picLocks noChangeAspect="1" noChangeArrowheads="1"/>
          </p:cNvPicPr>
          <p:nvPr/>
        </p:nvPicPr>
        <p:blipFill rotWithShape="1">
          <a:blip r:embed="rId3" cstate="email">
            <a:extLst>
              <a:ext uri="{28A0092B-C50C-407E-A947-70E740481C1C}">
                <a14:useLocalDpi xmlns:a14="http://schemas.microsoft.com/office/drawing/2010/main" val="0"/>
              </a:ext>
            </a:extLst>
          </a:blip>
          <a:srcRect l="8981" t="10406" r="9422" b="16975"/>
          <a:stretch/>
        </p:blipFill>
        <p:spPr bwMode="auto">
          <a:xfrm>
            <a:off x="6444208" y="241023"/>
            <a:ext cx="2422204" cy="847669"/>
          </a:xfrm>
          <a:prstGeom prst="rect">
            <a:avLst/>
          </a:prstGeom>
          <a:noFill/>
          <a:extLst/>
        </p:spPr>
      </p:pic>
      <p:sp>
        <p:nvSpPr>
          <p:cNvPr id="2" name="Rounded Rectangle 1"/>
          <p:cNvSpPr/>
          <p:nvPr/>
        </p:nvSpPr>
        <p:spPr>
          <a:xfrm>
            <a:off x="4932040" y="4707457"/>
            <a:ext cx="3301979" cy="1008016"/>
          </a:xfrm>
          <a:prstGeom prst="round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chemeClr val="tx1"/>
                </a:solidFill>
                <a:effectLst/>
                <a:uLnTx/>
                <a:uFillTx/>
              </a:rPr>
              <a:t>Preparatory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chemeClr val="tx1"/>
                </a:solidFill>
                <a:effectLst/>
                <a:uLnTx/>
                <a:uFillTx/>
              </a:rPr>
              <a:t>Homework!</a:t>
            </a:r>
          </a:p>
        </p:txBody>
      </p:sp>
    </p:spTree>
    <p:extLst>
      <p:ext uri="{BB962C8B-B14F-4D97-AF65-F5344CB8AC3E}">
        <p14:creationId xmlns:p14="http://schemas.microsoft.com/office/powerpoint/2010/main" val="26351009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Library introduction</a:t>
            </a:r>
            <a:endParaRPr lang="en-US" dirty="0"/>
          </a:p>
        </p:txBody>
      </p:sp>
      <p:sp>
        <p:nvSpPr>
          <p:cNvPr id="10" name="Footer Placeholder 9"/>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fld id="{440EDFD1-B7BF-467C-97A6-8BB3B0D76BCB}" type="slidenum">
              <a:rPr lang="en-US" smtClean="0"/>
              <a:pPr/>
              <a:t>7</a:t>
            </a:fld>
            <a:endParaRPr lang="en-US" dirty="0"/>
          </a:p>
        </p:txBody>
      </p:sp>
      <p:sp>
        <p:nvSpPr>
          <p:cNvPr id="7" name="Date Placeholder 6"/>
          <p:cNvSpPr>
            <a:spLocks noGrp="1"/>
          </p:cNvSpPr>
          <p:nvPr>
            <p:ph type="dt" sz="half" idx="12"/>
          </p:nvPr>
        </p:nvSpPr>
        <p:spPr/>
        <p:txBody>
          <a:bodyPr/>
          <a:lstStyle/>
          <a:p>
            <a:r>
              <a:rPr lang="sv-SE"/>
              <a:t>2016-11-20</a:t>
            </a:r>
          </a:p>
        </p:txBody>
      </p:sp>
      <p:sp>
        <p:nvSpPr>
          <p:cNvPr id="15" name="Content Placeholder 14"/>
          <p:cNvSpPr>
            <a:spLocks noGrp="1"/>
          </p:cNvSpPr>
          <p:nvPr>
            <p:ph idx="1"/>
          </p:nvPr>
        </p:nvSpPr>
        <p:spPr>
          <a:xfrm>
            <a:off x="338964" y="1582739"/>
            <a:ext cx="6321268" cy="4078286"/>
          </a:xfrm>
        </p:spPr>
        <p:txBody>
          <a:bodyPr/>
          <a:lstStyle/>
          <a:p>
            <a:r>
              <a:rPr lang="en-US" b="1" dirty="0"/>
              <a:t>Electrical</a:t>
            </a:r>
          </a:p>
          <a:p>
            <a:pPr marL="285750" indent="-285750">
              <a:spcBef>
                <a:spcPts val="600"/>
              </a:spcBef>
              <a:spcAft>
                <a:spcPts val="1200"/>
              </a:spcAft>
              <a:buFont typeface="Arial" charset="0"/>
              <a:buChar char="•"/>
            </a:pPr>
            <a:r>
              <a:rPr lang="en-US" dirty="0"/>
              <a:t>The </a:t>
            </a:r>
            <a:r>
              <a:rPr lang="en-US" i="1" dirty="0"/>
              <a:t>Electrical</a:t>
            </a:r>
            <a:r>
              <a:rPr lang="en-US" dirty="0"/>
              <a:t> package contains most of the components that comprise an actual power network</a:t>
            </a:r>
          </a:p>
          <a:p>
            <a:pPr>
              <a:spcBef>
                <a:spcPts val="600"/>
              </a:spcBef>
              <a:spcAft>
                <a:spcPts val="1200"/>
              </a:spcAft>
            </a:pPr>
            <a:r>
              <a:rPr lang="en-US" dirty="0"/>
              <a:t> </a:t>
            </a:r>
          </a:p>
          <a:p>
            <a:pPr marL="285750" indent="-285750">
              <a:spcBef>
                <a:spcPts val="600"/>
              </a:spcBef>
              <a:spcAft>
                <a:spcPts val="1200"/>
              </a:spcAft>
              <a:buFont typeface="Arial" charset="0"/>
              <a:buChar char="•"/>
            </a:pPr>
            <a:r>
              <a:rPr lang="en-US" dirty="0"/>
              <a:t>E.g., electrical machines, transmission lines, loads, excitation systems, turbine governors, etc. </a:t>
            </a:r>
          </a:p>
          <a:p>
            <a:pPr>
              <a:spcBef>
                <a:spcPts val="600"/>
              </a:spcBef>
              <a:spcAft>
                <a:spcPts val="1200"/>
              </a:spcAft>
            </a:pPr>
            <a:endParaRPr lang="en-US" dirty="0"/>
          </a:p>
          <a:p>
            <a:pPr marL="285750" indent="-285750">
              <a:spcBef>
                <a:spcPts val="600"/>
              </a:spcBef>
              <a:spcAft>
                <a:spcPts val="1200"/>
              </a:spcAft>
              <a:buFont typeface="Arial" charset="0"/>
              <a:buChar char="•"/>
            </a:pPr>
            <a:r>
              <a:rPr lang="en-US" dirty="0"/>
              <a:t>These are used to build the power system network models </a:t>
            </a:r>
          </a:p>
          <a:p>
            <a:endParaRPr lang="en-US" dirty="0"/>
          </a:p>
        </p:txBody>
      </p:sp>
      <p:grpSp>
        <p:nvGrpSpPr>
          <p:cNvPr id="3" name="Group 2"/>
          <p:cNvGrpSpPr>
            <a:grpSpLocks noChangeAspect="1"/>
          </p:cNvGrpSpPr>
          <p:nvPr/>
        </p:nvGrpSpPr>
        <p:grpSpPr>
          <a:xfrm>
            <a:off x="6660232" y="1124744"/>
            <a:ext cx="1917504" cy="4704832"/>
            <a:chOff x="6108047" y="1832804"/>
            <a:chExt cx="1044727" cy="2563366"/>
          </a:xfrm>
        </p:grpSpPr>
        <p:pic>
          <p:nvPicPr>
            <p:cNvPr id="6" name="Picture 5"/>
            <p:cNvPicPr>
              <a:picLocks noChangeAspect="1"/>
            </p:cNvPicPr>
            <p:nvPr/>
          </p:nvPicPr>
          <p:blipFill>
            <a:blip r:embed="rId3"/>
            <a:stretch>
              <a:fillRect/>
            </a:stretch>
          </p:blipFill>
          <p:spPr>
            <a:xfrm>
              <a:off x="6108047" y="1832804"/>
              <a:ext cx="1036111" cy="2563366"/>
            </a:xfrm>
            <a:prstGeom prst="rect">
              <a:avLst/>
            </a:prstGeom>
          </p:spPr>
        </p:pic>
        <p:sp>
          <p:nvSpPr>
            <p:cNvPr id="9" name="Rectangle 8"/>
            <p:cNvSpPr/>
            <p:nvPr/>
          </p:nvSpPr>
          <p:spPr>
            <a:xfrm>
              <a:off x="6178216" y="2105525"/>
              <a:ext cx="974558" cy="2003259"/>
            </a:xfrm>
            <a:prstGeom prst="rect">
              <a:avLst/>
            </a:prstGeom>
            <a:no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1810416709"/>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Requirements</a:t>
            </a:r>
          </a:p>
        </p:txBody>
      </p:sp>
      <p:sp>
        <p:nvSpPr>
          <p:cNvPr id="3" name="Content Placeholder 2"/>
          <p:cNvSpPr>
            <a:spLocks noGrp="1"/>
          </p:cNvSpPr>
          <p:nvPr>
            <p:ph idx="1"/>
          </p:nvPr>
        </p:nvSpPr>
        <p:spPr/>
        <p:txBody>
          <a:bodyPr>
            <a:normAutofit lnSpcReduction="10000"/>
          </a:bodyPr>
          <a:lstStyle/>
          <a:p>
            <a:pPr marL="0" indent="0">
              <a:buNone/>
            </a:pPr>
            <a:endParaRPr lang="en-GB" b="1" dirty="0"/>
          </a:p>
          <a:p>
            <a:pPr marL="0" indent="0">
              <a:buNone/>
            </a:pPr>
            <a:endParaRPr lang="en-GB" b="1" dirty="0"/>
          </a:p>
          <a:p>
            <a:pPr marL="0" indent="0">
              <a:buNone/>
            </a:pPr>
            <a:r>
              <a:rPr lang="en-GB" b="1" dirty="0"/>
              <a:t>Requirements for the workshop are: </a:t>
            </a:r>
          </a:p>
          <a:p>
            <a:r>
              <a:rPr lang="en-GB" dirty="0"/>
              <a:t>We have only tested our tutorial for the following configurations.</a:t>
            </a:r>
          </a:p>
          <a:p>
            <a:endParaRPr lang="en-GB" dirty="0"/>
          </a:p>
          <a:p>
            <a:r>
              <a:rPr lang="en-GB" dirty="0"/>
              <a:t>Windows:</a:t>
            </a:r>
          </a:p>
          <a:p>
            <a:pPr marL="342900" indent="-342900">
              <a:buFont typeface="Arial" charset="0"/>
              <a:buChar char="•"/>
            </a:pPr>
            <a:r>
              <a:rPr lang="en-GB" dirty="0"/>
              <a:t>PC with installed Windows 7 or later</a:t>
            </a:r>
          </a:p>
          <a:p>
            <a:pPr marL="342900" indent="-342900">
              <a:buFont typeface="Arial" charset="0"/>
              <a:buChar char="•"/>
            </a:pPr>
            <a:r>
              <a:rPr lang="en-GB" dirty="0"/>
              <a:t>Installation of OpenModelica</a:t>
            </a:r>
          </a:p>
          <a:p>
            <a:r>
              <a:rPr lang="en-GB" dirty="0"/>
              <a:t>Mac:</a:t>
            </a:r>
          </a:p>
          <a:p>
            <a:pPr marL="342900" indent="-342900">
              <a:buFont typeface="Arial" charset="0"/>
              <a:buChar char="•"/>
            </a:pPr>
            <a:r>
              <a:rPr lang="en-GB" dirty="0"/>
              <a:t>OSX El Capitan</a:t>
            </a:r>
          </a:p>
          <a:p>
            <a:pPr marL="342900" indent="-342900">
              <a:buFont typeface="Arial" charset="0"/>
              <a:buChar char="•"/>
            </a:pPr>
            <a:r>
              <a:rPr lang="en-GB" dirty="0"/>
              <a:t>Installation of OpenModelica (binaries!)</a:t>
            </a:r>
          </a:p>
          <a:p>
            <a:pPr marL="342900" indent="-342900">
              <a:buFont typeface="Arial" charset="0"/>
              <a:buChar char="•"/>
            </a:pPr>
            <a:r>
              <a:rPr lang="en-GB" dirty="0" err="1"/>
              <a:t>Xcode</a:t>
            </a:r>
            <a:r>
              <a:rPr lang="en-GB" dirty="0"/>
              <a:t> (Version 8.0) </a:t>
            </a:r>
          </a:p>
          <a:p>
            <a:endParaRPr lang="en-GB" dirty="0"/>
          </a:p>
          <a:p>
            <a:endParaRPr lang="en-GB" dirty="0"/>
          </a:p>
        </p:txBody>
      </p:sp>
      <p:sp>
        <p:nvSpPr>
          <p:cNvPr id="6" name="Date Placeholder 5"/>
          <p:cNvSpPr>
            <a:spLocks noGrp="1"/>
          </p:cNvSpPr>
          <p:nvPr>
            <p:ph type="dt" sz="half" idx="10"/>
          </p:nvPr>
        </p:nvSpPr>
        <p:spPr/>
        <p:txBody>
          <a:bodyPr/>
          <a:lstStyle/>
          <a:p>
            <a:fld id="{21618F00-30CD-4872-9D44-54D9395C87AE}" type="datetime1">
              <a:rPr lang="en-US" smtClean="0"/>
              <a:t>11/15/2016</a:t>
            </a:fld>
            <a:endParaRPr lang="sv-SE"/>
          </a:p>
        </p:txBody>
      </p:sp>
      <p:sp>
        <p:nvSpPr>
          <p:cNvPr id="7" name="Footer Placeholder 6"/>
          <p:cNvSpPr>
            <a:spLocks noGrp="1"/>
          </p:cNvSpPr>
          <p:nvPr>
            <p:ph type="ftr" sz="quarter" idx="11"/>
          </p:nvPr>
        </p:nvSpPr>
        <p:spPr/>
        <p:txBody>
          <a:bodyPr/>
          <a:lstStyle/>
          <a:p>
            <a:r>
              <a:rPr lang="sv-SE"/>
              <a:t>OpenIPSL Getting Started</a:t>
            </a:r>
            <a:endParaRPr lang="sv-SE" dirty="0"/>
          </a:p>
        </p:txBody>
      </p:sp>
      <p:pic>
        <p:nvPicPr>
          <p:cNvPr id="5" name="Picture 4"/>
          <p:cNvPicPr>
            <a:picLocks noChangeAspect="1"/>
          </p:cNvPicPr>
          <p:nvPr/>
        </p:nvPicPr>
        <p:blipFill>
          <a:blip r:embed="rId2"/>
          <a:stretch>
            <a:fillRect/>
          </a:stretch>
        </p:blipFill>
        <p:spPr>
          <a:xfrm>
            <a:off x="5466968" y="12711"/>
            <a:ext cx="3675900" cy="2067694"/>
          </a:xfrm>
          <a:prstGeom prst="rect">
            <a:avLst/>
          </a:prstGeom>
        </p:spPr>
      </p:pic>
      <p:sp>
        <p:nvSpPr>
          <p:cNvPr id="8" name="Slide Number Placeholder 7"/>
          <p:cNvSpPr>
            <a:spLocks noGrp="1"/>
          </p:cNvSpPr>
          <p:nvPr>
            <p:ph type="sldNum" sz="quarter" idx="12"/>
          </p:nvPr>
        </p:nvSpPr>
        <p:spPr/>
        <p:txBody>
          <a:bodyPr/>
          <a:lstStyle/>
          <a:p>
            <a:fld id="{227F0B53-9592-4779-891F-997228E46E01}" type="slidenum">
              <a:rPr lang="sv-SE" smtClean="0"/>
              <a:t>70</a:t>
            </a:fld>
            <a:endParaRPr lang="sv-SE"/>
          </a:p>
        </p:txBody>
      </p:sp>
    </p:spTree>
    <p:extLst>
      <p:ext uri="{BB962C8B-B14F-4D97-AF65-F5344CB8AC3E}">
        <p14:creationId xmlns:p14="http://schemas.microsoft.com/office/powerpoint/2010/main" val="2505804370"/>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etting Started with </a:t>
            </a:r>
            <a:r>
              <a:rPr lang="en-US" dirty="0" err="1"/>
              <a:t>OpenModelica</a:t>
            </a:r>
            <a:r>
              <a:rPr lang="en-US" dirty="0"/>
              <a:t> and </a:t>
            </a:r>
            <a:r>
              <a:rPr lang="en-US" dirty="0" err="1"/>
              <a:t>OpenIPSL</a:t>
            </a:r>
            <a:endParaRPr lang="en-US" dirty="0"/>
          </a:p>
        </p:txBody>
      </p:sp>
      <p:sp>
        <p:nvSpPr>
          <p:cNvPr id="3" name="Content Placeholder 2"/>
          <p:cNvSpPr>
            <a:spLocks noGrp="1"/>
          </p:cNvSpPr>
          <p:nvPr>
            <p:ph idx="1"/>
          </p:nvPr>
        </p:nvSpPr>
        <p:spPr/>
        <p:txBody>
          <a:bodyPr/>
          <a:lstStyle/>
          <a:p>
            <a:r>
              <a:rPr lang="en-US" dirty="0"/>
              <a:t>This presentation is a 2-part tutorial containing the preparatory work for the tutorial to be presented at the PTI event. </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r>
              <a:rPr lang="en-US" dirty="0"/>
              <a:t>Part 1: Setting up</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r>
              <a:rPr lang="en-US" dirty="0"/>
              <a:t>Part 2: Using </a:t>
            </a:r>
            <a:r>
              <a:rPr lang="en-US" dirty="0" err="1"/>
              <a:t>OpenIPSL</a:t>
            </a:r>
            <a:endParaRPr lang="en-US" dirty="0"/>
          </a:p>
        </p:txBody>
      </p:sp>
      <p:sp>
        <p:nvSpPr>
          <p:cNvPr id="7" name="Date Placeholder 6"/>
          <p:cNvSpPr>
            <a:spLocks noGrp="1"/>
          </p:cNvSpPr>
          <p:nvPr>
            <p:ph type="dt" sz="half" idx="10"/>
          </p:nvPr>
        </p:nvSpPr>
        <p:spPr/>
        <p:txBody>
          <a:bodyPr/>
          <a:lstStyle/>
          <a:p>
            <a:fld id="{0FEFFD73-8760-4CFA-80CB-DB3105D3CE78}" type="datetime1">
              <a:rPr lang="en-US" smtClean="0"/>
              <a:t>11/15/2016</a:t>
            </a:fld>
            <a:endParaRPr lang="sv-SE"/>
          </a:p>
        </p:txBody>
      </p:sp>
      <p:sp>
        <p:nvSpPr>
          <p:cNvPr id="8" name="Footer Placeholder 7"/>
          <p:cNvSpPr>
            <a:spLocks noGrp="1"/>
          </p:cNvSpPr>
          <p:nvPr>
            <p:ph type="ftr" sz="quarter" idx="11"/>
          </p:nvPr>
        </p:nvSpPr>
        <p:spPr/>
        <p:txBody>
          <a:bodyPr/>
          <a:lstStyle/>
          <a:p>
            <a:r>
              <a:rPr lang="sv-SE"/>
              <a:t>OpenIPSL Getting Started</a:t>
            </a:r>
            <a:endParaRPr lang="sv-SE" dirty="0"/>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rot="1941197">
            <a:off x="3478388" y="3055468"/>
            <a:ext cx="1066228" cy="1066228"/>
          </a:xfrm>
          <a:prstGeom prst="rect">
            <a:avLst/>
          </a:prstGeom>
        </p:spPr>
      </p:pic>
      <p:pic>
        <p:nvPicPr>
          <p:cNvPr id="6" name="Picture 5"/>
          <p:cNvPicPr>
            <a:picLocks noChangeAspect="1"/>
          </p:cNvPicPr>
          <p:nvPr/>
        </p:nvPicPr>
        <p:blipFill>
          <a:blip r:embed="rId3"/>
          <a:stretch>
            <a:fillRect/>
          </a:stretch>
        </p:blipFill>
        <p:spPr>
          <a:xfrm>
            <a:off x="2674839" y="2276872"/>
            <a:ext cx="3794322" cy="632387"/>
          </a:xfrm>
          <a:prstGeom prst="rect">
            <a:avLst/>
          </a:prstGeom>
        </p:spPr>
      </p:pic>
      <p:sp>
        <p:nvSpPr>
          <p:cNvPr id="9" name="Slide Number Placeholder 8"/>
          <p:cNvSpPr>
            <a:spLocks noGrp="1"/>
          </p:cNvSpPr>
          <p:nvPr>
            <p:ph type="sldNum" sz="quarter" idx="12"/>
          </p:nvPr>
        </p:nvSpPr>
        <p:spPr/>
        <p:txBody>
          <a:bodyPr/>
          <a:lstStyle/>
          <a:p>
            <a:fld id="{227F0B53-9592-4779-891F-997228E46E01}" type="slidenum">
              <a:rPr lang="sv-SE" smtClean="0"/>
              <a:t>71</a:t>
            </a:fld>
            <a:endParaRPr lang="sv-SE"/>
          </a:p>
        </p:txBody>
      </p:sp>
    </p:spTree>
    <p:extLst>
      <p:ext uri="{BB962C8B-B14F-4D97-AF65-F5344CB8AC3E}">
        <p14:creationId xmlns:p14="http://schemas.microsoft.com/office/powerpoint/2010/main" val="2230458514"/>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3563888" y="2852936"/>
            <a:ext cx="3312368" cy="1015663"/>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6000" b="0" i="0" u="none" strike="noStrike" kern="0" cap="none" spc="0" normalizeH="0" baseline="0" noProof="0" dirty="0">
                <a:ln>
                  <a:noFill/>
                </a:ln>
                <a:solidFill>
                  <a:sysClr val="windowText" lastClr="000000"/>
                </a:solidFill>
                <a:effectLst/>
                <a:uLnTx/>
                <a:uFillTx/>
              </a:rPr>
              <a:t>Part 1</a:t>
            </a:r>
          </a:p>
        </p:txBody>
      </p:sp>
      <p:sp>
        <p:nvSpPr>
          <p:cNvPr id="2" name="Date Placeholder 1"/>
          <p:cNvSpPr>
            <a:spLocks noGrp="1"/>
          </p:cNvSpPr>
          <p:nvPr>
            <p:ph type="dt" sz="half" idx="10"/>
          </p:nvPr>
        </p:nvSpPr>
        <p:spPr/>
        <p:txBody>
          <a:bodyPr/>
          <a:lstStyle/>
          <a:p>
            <a:fld id="{596018E8-8929-4E35-8908-21E47B3F1808}" type="datetime1">
              <a:rPr lang="en-US" smtClean="0"/>
              <a:t>11/15/2016</a:t>
            </a:fld>
            <a:endParaRPr lang="sv-SE"/>
          </a:p>
        </p:txBody>
      </p:sp>
      <p:sp>
        <p:nvSpPr>
          <p:cNvPr id="3" name="Footer Placeholder 2"/>
          <p:cNvSpPr>
            <a:spLocks noGrp="1"/>
          </p:cNvSpPr>
          <p:nvPr>
            <p:ph type="ftr" sz="quarter" idx="11"/>
          </p:nvPr>
        </p:nvSpPr>
        <p:spPr/>
        <p:txBody>
          <a:bodyPr/>
          <a:lstStyle/>
          <a:p>
            <a:r>
              <a:rPr lang="sv-SE"/>
              <a:t>OpenIPSL Getting Started</a:t>
            </a:r>
            <a:endParaRPr lang="sv-SE" dirty="0"/>
          </a:p>
        </p:txBody>
      </p:sp>
      <p:sp>
        <p:nvSpPr>
          <p:cNvPr id="6" name="Slide Number Placeholder 5"/>
          <p:cNvSpPr>
            <a:spLocks noGrp="1"/>
          </p:cNvSpPr>
          <p:nvPr>
            <p:ph type="sldNum" sz="quarter" idx="12"/>
          </p:nvPr>
        </p:nvSpPr>
        <p:spPr/>
        <p:txBody>
          <a:bodyPr/>
          <a:lstStyle/>
          <a:p>
            <a:fld id="{227F0B53-9592-4779-891F-997228E46E01}" type="slidenum">
              <a:rPr lang="sv-SE" smtClean="0"/>
              <a:t>72</a:t>
            </a:fld>
            <a:endParaRPr lang="sv-SE"/>
          </a:p>
        </p:txBody>
      </p:sp>
    </p:spTree>
    <p:extLst>
      <p:ext uri="{BB962C8B-B14F-4D97-AF65-F5344CB8AC3E}">
        <p14:creationId xmlns:p14="http://schemas.microsoft.com/office/powerpoint/2010/main" val="2997329651"/>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Installation of</a:t>
            </a:r>
          </a:p>
        </p:txBody>
      </p:sp>
      <p:sp>
        <p:nvSpPr>
          <p:cNvPr id="3" name="Content Placeholder 2"/>
          <p:cNvSpPr>
            <a:spLocks noGrp="1"/>
          </p:cNvSpPr>
          <p:nvPr>
            <p:ph idx="1"/>
          </p:nvPr>
        </p:nvSpPr>
        <p:spPr/>
        <p:txBody>
          <a:bodyPr>
            <a:normAutofit/>
          </a:bodyPr>
          <a:lstStyle/>
          <a:p>
            <a:r>
              <a:rPr lang="en-GB" dirty="0"/>
              <a:t>Instructions:</a:t>
            </a:r>
          </a:p>
          <a:p>
            <a:pPr marL="342900" indent="-342900">
              <a:buFont typeface="Arial" panose="020B0604020202020204" pitchFamily="34" charset="0"/>
              <a:buChar char="•"/>
            </a:pPr>
            <a:r>
              <a:rPr lang="en-GB" dirty="0"/>
              <a:t>Download the installation package</a:t>
            </a:r>
          </a:p>
          <a:p>
            <a:pPr marL="698500" lvl="1" indent="-342900"/>
            <a:r>
              <a:rPr lang="en-GB" dirty="0"/>
              <a:t>Windows : </a:t>
            </a:r>
            <a:r>
              <a:rPr lang="en-GB" sz="1200" dirty="0">
                <a:hlinkClick r:id="rId2"/>
              </a:rPr>
              <a:t>https://build.openmodelica.org/omc/builds/windows/releases/1.9.6/OpenModelica-v1.9.6.exe</a:t>
            </a:r>
            <a:endParaRPr lang="en-GB" sz="1400" dirty="0"/>
          </a:p>
          <a:p>
            <a:pPr marL="698500" lvl="1" indent="-342900"/>
            <a:r>
              <a:rPr lang="en-GB" dirty="0"/>
              <a:t>Mac: </a:t>
            </a:r>
            <a:r>
              <a:rPr lang="en-GB" sz="1500" dirty="0">
                <a:solidFill>
                  <a:srgbClr val="FF0000"/>
                </a:solidFill>
                <a:hlinkClick r:id="rId3"/>
              </a:rPr>
              <a:t>https://build.openmodelica.org/omc/builds/mac/binaries/latest-release-1.9.6.mpkg</a:t>
            </a:r>
            <a:r>
              <a:rPr lang="en-GB" sz="1500" dirty="0">
                <a:solidFill>
                  <a:srgbClr val="FF0000"/>
                </a:solidFill>
              </a:rPr>
              <a:t> </a:t>
            </a:r>
            <a:endParaRPr lang="en-GB" dirty="0">
              <a:solidFill>
                <a:srgbClr val="FF0000"/>
              </a:solidFill>
            </a:endParaRPr>
          </a:p>
          <a:p>
            <a:pPr marL="342900" indent="-342900">
              <a:buFont typeface="Arial" panose="020B0604020202020204" pitchFamily="34" charset="0"/>
              <a:buChar char="•"/>
            </a:pPr>
            <a:r>
              <a:rPr lang="en-GB" dirty="0"/>
              <a:t>Launch the Installation package and follow the instructions with default options</a:t>
            </a:r>
          </a:p>
          <a:p>
            <a:endParaRPr lang="en-GB" dirty="0"/>
          </a:p>
          <a:p>
            <a:endParaRPr lang="en-GB" sz="1600" dirty="0">
              <a:solidFill>
                <a:srgbClr val="FF0000"/>
              </a:solidFill>
            </a:endParaRPr>
          </a:p>
          <a:p>
            <a:endParaRPr lang="en-GB" sz="1600" dirty="0">
              <a:solidFill>
                <a:srgbClr val="FF0000"/>
              </a:solidFill>
            </a:endParaRPr>
          </a:p>
          <a:p>
            <a:r>
              <a:rPr lang="en-GB" dirty="0">
                <a:solidFill>
                  <a:srgbClr val="FF0000"/>
                </a:solidFill>
              </a:rPr>
              <a:t>Note! </a:t>
            </a:r>
            <a:r>
              <a:rPr lang="en-GB" dirty="0" err="1"/>
              <a:t>Compatibilty</a:t>
            </a:r>
            <a:r>
              <a:rPr lang="en-GB" dirty="0"/>
              <a:t> with </a:t>
            </a:r>
            <a:r>
              <a:rPr lang="en-GB" dirty="0" err="1"/>
              <a:t>OpenIPSL</a:t>
            </a:r>
            <a:r>
              <a:rPr lang="en-GB" dirty="0"/>
              <a:t> is checked for OpenModelica version 1.9.6.</a:t>
            </a:r>
            <a:endParaRPr lang="en-GB" dirty="0">
              <a:solidFill>
                <a:srgbClr val="FF0000"/>
              </a:solidFill>
            </a:endParaRPr>
          </a:p>
        </p:txBody>
      </p:sp>
      <p:sp>
        <p:nvSpPr>
          <p:cNvPr id="5" name="Date Placeholder 4"/>
          <p:cNvSpPr>
            <a:spLocks noGrp="1"/>
          </p:cNvSpPr>
          <p:nvPr>
            <p:ph type="dt" sz="half" idx="10"/>
          </p:nvPr>
        </p:nvSpPr>
        <p:spPr/>
        <p:txBody>
          <a:bodyPr/>
          <a:lstStyle/>
          <a:p>
            <a:fld id="{D78BBBCD-5E10-4B5F-9033-296DC189B3CD}" type="datetime1">
              <a:rPr lang="en-US" smtClean="0"/>
              <a:t>11/15/2016</a:t>
            </a:fld>
            <a:endParaRPr lang="sv-SE"/>
          </a:p>
        </p:txBody>
      </p:sp>
      <p:sp>
        <p:nvSpPr>
          <p:cNvPr id="7" name="Footer Placeholder 6"/>
          <p:cNvSpPr>
            <a:spLocks noGrp="1"/>
          </p:cNvSpPr>
          <p:nvPr>
            <p:ph type="ftr" sz="quarter" idx="11"/>
          </p:nvPr>
        </p:nvSpPr>
        <p:spPr/>
        <p:txBody>
          <a:bodyPr/>
          <a:lstStyle/>
          <a:p>
            <a:r>
              <a:rPr lang="sv-SE"/>
              <a:t>OpenIPSL Getting Started</a:t>
            </a:r>
          </a:p>
        </p:txBody>
      </p:sp>
      <p:pic>
        <p:nvPicPr>
          <p:cNvPr id="6" name="Picture 5"/>
          <p:cNvPicPr>
            <a:picLocks noChangeAspect="1"/>
          </p:cNvPicPr>
          <p:nvPr/>
        </p:nvPicPr>
        <p:blipFill>
          <a:blip r:embed="rId4"/>
          <a:stretch>
            <a:fillRect/>
          </a:stretch>
        </p:blipFill>
        <p:spPr>
          <a:xfrm>
            <a:off x="3563888" y="218381"/>
            <a:ext cx="5715000" cy="952500"/>
          </a:xfrm>
          <a:prstGeom prst="rect">
            <a:avLst/>
          </a:prstGeom>
        </p:spPr>
      </p:pic>
      <p:sp>
        <p:nvSpPr>
          <p:cNvPr id="8" name="Slide Number Placeholder 7"/>
          <p:cNvSpPr>
            <a:spLocks noGrp="1"/>
          </p:cNvSpPr>
          <p:nvPr>
            <p:ph type="sldNum" sz="quarter" idx="12"/>
          </p:nvPr>
        </p:nvSpPr>
        <p:spPr/>
        <p:txBody>
          <a:bodyPr/>
          <a:lstStyle/>
          <a:p>
            <a:fld id="{227F0B53-9592-4779-891F-997228E46E01}" type="slidenum">
              <a:rPr lang="sv-SE" smtClean="0"/>
              <a:t>73</a:t>
            </a:fld>
            <a:endParaRPr lang="sv-SE"/>
          </a:p>
        </p:txBody>
      </p:sp>
    </p:spTree>
    <p:extLst>
      <p:ext uri="{BB962C8B-B14F-4D97-AF65-F5344CB8AC3E}">
        <p14:creationId xmlns:p14="http://schemas.microsoft.com/office/powerpoint/2010/main" val="1679340298"/>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heck of OpenModelica</a:t>
            </a:r>
            <a:endParaRPr lang="en-GB" dirty="0"/>
          </a:p>
        </p:txBody>
      </p:sp>
      <p:sp>
        <p:nvSpPr>
          <p:cNvPr id="3" name="Content Placeholder 2"/>
          <p:cNvSpPr>
            <a:spLocks noGrp="1"/>
          </p:cNvSpPr>
          <p:nvPr>
            <p:ph idx="1"/>
          </p:nvPr>
        </p:nvSpPr>
        <p:spPr/>
        <p:txBody>
          <a:bodyPr/>
          <a:lstStyle/>
          <a:p>
            <a:endParaRPr lang="en-GB" dirty="0"/>
          </a:p>
          <a:p>
            <a:endParaRPr lang="en-GB" dirty="0"/>
          </a:p>
          <a:p>
            <a:endParaRPr lang="en-GB" dirty="0"/>
          </a:p>
          <a:p>
            <a:r>
              <a:rPr lang="en-GB" dirty="0"/>
              <a:t>Tasks to check </a:t>
            </a:r>
            <a:r>
              <a:rPr lang="en-GB" dirty="0" err="1"/>
              <a:t>OpenModelica</a:t>
            </a:r>
            <a:r>
              <a:rPr lang="en-GB" dirty="0"/>
              <a:t> is correctly installed on your computer:</a:t>
            </a:r>
          </a:p>
          <a:p>
            <a:pPr marL="342900" indent="-342900">
              <a:buFont typeface="Arial" panose="020B0604020202020204" pitchFamily="34" charset="0"/>
              <a:buChar char="•"/>
            </a:pPr>
            <a:r>
              <a:rPr lang="en-GB" dirty="0"/>
              <a:t>Start </a:t>
            </a:r>
            <a:r>
              <a:rPr lang="en-GB" dirty="0" err="1"/>
              <a:t>OpenModelica</a:t>
            </a:r>
            <a:r>
              <a:rPr lang="en-GB" dirty="0"/>
              <a:t> Connection Editor (</a:t>
            </a:r>
            <a:r>
              <a:rPr lang="en-GB" dirty="0" err="1"/>
              <a:t>OMEdit</a:t>
            </a:r>
            <a:r>
              <a:rPr lang="en-GB" dirty="0"/>
              <a:t>)</a:t>
            </a:r>
          </a:p>
          <a:p>
            <a:pPr marL="342900" indent="-342900">
              <a:buFont typeface="Arial" panose="020B0604020202020204" pitchFamily="34" charset="0"/>
              <a:buChar char="•"/>
            </a:pPr>
            <a:r>
              <a:rPr lang="en-GB" dirty="0"/>
              <a:t>In the Libraries Browser navigate to </a:t>
            </a:r>
            <a:r>
              <a:rPr lang="en-GB" dirty="0" err="1"/>
              <a:t>Modelica.Blocks.Examples.PIDController</a:t>
            </a:r>
            <a:endParaRPr lang="en-GB" dirty="0"/>
          </a:p>
          <a:p>
            <a:pPr marL="342900" indent="-342900">
              <a:buFont typeface="Arial" panose="020B0604020202020204" pitchFamily="34" charset="0"/>
              <a:buChar char="•"/>
            </a:pPr>
            <a:r>
              <a:rPr lang="en-GB" dirty="0"/>
              <a:t>Select </a:t>
            </a:r>
            <a:r>
              <a:rPr lang="en-GB" dirty="0" err="1"/>
              <a:t>Runge</a:t>
            </a:r>
            <a:r>
              <a:rPr lang="en-GB" dirty="0"/>
              <a:t> </a:t>
            </a:r>
            <a:r>
              <a:rPr lang="en-GB" dirty="0" err="1"/>
              <a:t>Kutta</a:t>
            </a:r>
            <a:r>
              <a:rPr lang="en-GB" dirty="0"/>
              <a:t> as a solver and simulate the model</a:t>
            </a:r>
          </a:p>
          <a:p>
            <a:pPr marL="342900" indent="-342900">
              <a:buFont typeface="Arial" panose="020B0604020202020204" pitchFamily="34" charset="0"/>
              <a:buChar char="•"/>
            </a:pPr>
            <a:r>
              <a:rPr lang="en-GB" dirty="0"/>
              <a:t>In the “Plotting” view, plot variable </a:t>
            </a:r>
            <a:r>
              <a:rPr lang="en-GB" dirty="0" err="1"/>
              <a:t>speedSensor.w</a:t>
            </a:r>
            <a:endParaRPr lang="en-GB" dirty="0"/>
          </a:p>
        </p:txBody>
      </p:sp>
      <p:sp>
        <p:nvSpPr>
          <p:cNvPr id="6" name="Date Placeholder 5"/>
          <p:cNvSpPr>
            <a:spLocks noGrp="1"/>
          </p:cNvSpPr>
          <p:nvPr>
            <p:ph type="dt" sz="half" idx="10"/>
          </p:nvPr>
        </p:nvSpPr>
        <p:spPr/>
        <p:txBody>
          <a:bodyPr/>
          <a:lstStyle/>
          <a:p>
            <a:fld id="{39E80B2B-405E-4C84-9A7E-8F02D761BA71}" type="datetime1">
              <a:rPr lang="en-US" smtClean="0"/>
              <a:t>11/15/2016</a:t>
            </a:fld>
            <a:endParaRPr lang="sv-SE"/>
          </a:p>
        </p:txBody>
      </p:sp>
      <p:sp>
        <p:nvSpPr>
          <p:cNvPr id="7" name="Footer Placeholder 6"/>
          <p:cNvSpPr>
            <a:spLocks noGrp="1"/>
          </p:cNvSpPr>
          <p:nvPr>
            <p:ph type="ftr" sz="quarter" idx="11"/>
          </p:nvPr>
        </p:nvSpPr>
        <p:spPr/>
        <p:txBody>
          <a:bodyPr/>
          <a:lstStyle/>
          <a:p>
            <a:r>
              <a:rPr lang="sv-SE"/>
              <a:t>OpenIPSL Getting Started</a:t>
            </a:r>
          </a:p>
        </p:txBody>
      </p:sp>
      <p:pic>
        <p:nvPicPr>
          <p:cNvPr id="5" name="Picture 4"/>
          <p:cNvPicPr>
            <a:picLocks noChangeAspect="1"/>
          </p:cNvPicPr>
          <p:nvPr/>
        </p:nvPicPr>
        <p:blipFill>
          <a:blip r:embed="rId2"/>
          <a:stretch>
            <a:fillRect/>
          </a:stretch>
        </p:blipFill>
        <p:spPr>
          <a:xfrm>
            <a:off x="5940152" y="86477"/>
            <a:ext cx="3122266" cy="2234446"/>
          </a:xfrm>
          <a:prstGeom prst="rect">
            <a:avLst/>
          </a:prstGeom>
        </p:spPr>
      </p:pic>
      <p:sp>
        <p:nvSpPr>
          <p:cNvPr id="8" name="Slide Number Placeholder 7"/>
          <p:cNvSpPr>
            <a:spLocks noGrp="1"/>
          </p:cNvSpPr>
          <p:nvPr>
            <p:ph type="sldNum" sz="quarter" idx="12"/>
          </p:nvPr>
        </p:nvSpPr>
        <p:spPr/>
        <p:txBody>
          <a:bodyPr/>
          <a:lstStyle/>
          <a:p>
            <a:fld id="{227F0B53-9592-4779-891F-997228E46E01}" type="slidenum">
              <a:rPr lang="sv-SE" smtClean="0"/>
              <a:t>74</a:t>
            </a:fld>
            <a:endParaRPr lang="sv-SE"/>
          </a:p>
        </p:txBody>
      </p:sp>
    </p:spTree>
    <p:extLst>
      <p:ext uri="{BB962C8B-B14F-4D97-AF65-F5344CB8AC3E}">
        <p14:creationId xmlns:p14="http://schemas.microsoft.com/office/powerpoint/2010/main" val="1740684643"/>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heck of </a:t>
            </a:r>
            <a:r>
              <a:rPr lang="en-GB" dirty="0" err="1"/>
              <a:t>OpenModelica</a:t>
            </a:r>
            <a:r>
              <a:rPr lang="en-GB" dirty="0"/>
              <a:t> – Step 1</a:t>
            </a:r>
          </a:p>
        </p:txBody>
      </p:sp>
      <p:sp>
        <p:nvSpPr>
          <p:cNvPr id="3" name="Content Placeholder 2"/>
          <p:cNvSpPr>
            <a:spLocks noGrp="1"/>
          </p:cNvSpPr>
          <p:nvPr>
            <p:ph idx="1"/>
          </p:nvPr>
        </p:nvSpPr>
        <p:spPr/>
        <p:txBody>
          <a:bodyPr/>
          <a:lstStyle/>
          <a:p>
            <a:pPr marL="0" indent="0">
              <a:buNone/>
            </a:pPr>
            <a:r>
              <a:rPr lang="en-GB" dirty="0"/>
              <a:t>Upon launch, the Connection Editor will present the following window</a:t>
            </a:r>
          </a:p>
          <a:p>
            <a:pPr marL="0" indent="0">
              <a:buNone/>
            </a:pPr>
            <a:endParaRPr lang="en-GB" dirty="0"/>
          </a:p>
        </p:txBody>
      </p:sp>
      <p:sp>
        <p:nvSpPr>
          <p:cNvPr id="6" name="Date Placeholder 5"/>
          <p:cNvSpPr>
            <a:spLocks noGrp="1"/>
          </p:cNvSpPr>
          <p:nvPr>
            <p:ph type="dt" sz="half" idx="10"/>
          </p:nvPr>
        </p:nvSpPr>
        <p:spPr/>
        <p:txBody>
          <a:bodyPr/>
          <a:lstStyle/>
          <a:p>
            <a:fld id="{6D0E601E-2CB4-46C9-868E-7C6A5656D43E}" type="datetime1">
              <a:rPr lang="en-US" smtClean="0"/>
              <a:t>11/15/2016</a:t>
            </a:fld>
            <a:endParaRPr lang="sv-SE"/>
          </a:p>
        </p:txBody>
      </p:sp>
      <p:sp>
        <p:nvSpPr>
          <p:cNvPr id="7" name="Footer Placeholder 6"/>
          <p:cNvSpPr>
            <a:spLocks noGrp="1"/>
          </p:cNvSpPr>
          <p:nvPr>
            <p:ph type="ftr" sz="quarter" idx="11"/>
          </p:nvPr>
        </p:nvSpPr>
        <p:spPr/>
        <p:txBody>
          <a:bodyPr/>
          <a:lstStyle/>
          <a:p>
            <a:r>
              <a:rPr lang="sv-SE"/>
              <a:t>OpenIPSL Getting Started</a:t>
            </a:r>
            <a:endParaRPr lang="sv-SE" dirty="0"/>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5576" y="1752162"/>
            <a:ext cx="7394748" cy="4194209"/>
          </a:xfrm>
          <a:prstGeom prst="rect">
            <a:avLst/>
          </a:prstGeom>
        </p:spPr>
      </p:pic>
      <p:sp>
        <p:nvSpPr>
          <p:cNvPr id="8" name="Slide Number Placeholder 7"/>
          <p:cNvSpPr>
            <a:spLocks noGrp="1"/>
          </p:cNvSpPr>
          <p:nvPr>
            <p:ph type="sldNum" sz="quarter" idx="12"/>
          </p:nvPr>
        </p:nvSpPr>
        <p:spPr/>
        <p:txBody>
          <a:bodyPr/>
          <a:lstStyle/>
          <a:p>
            <a:fld id="{227F0B53-9592-4779-891F-997228E46E01}" type="slidenum">
              <a:rPr lang="sv-SE" smtClean="0"/>
              <a:t>75</a:t>
            </a:fld>
            <a:endParaRPr lang="sv-SE"/>
          </a:p>
        </p:txBody>
      </p:sp>
    </p:spTree>
    <p:extLst>
      <p:ext uri="{BB962C8B-B14F-4D97-AF65-F5344CB8AC3E}">
        <p14:creationId xmlns:p14="http://schemas.microsoft.com/office/powerpoint/2010/main" val="333607282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heck of </a:t>
            </a:r>
            <a:r>
              <a:rPr lang="en-GB" dirty="0" err="1"/>
              <a:t>OpenModelica</a:t>
            </a:r>
            <a:r>
              <a:rPr lang="en-GB" dirty="0"/>
              <a:t> – Step 2</a:t>
            </a:r>
          </a:p>
        </p:txBody>
      </p:sp>
      <p:sp>
        <p:nvSpPr>
          <p:cNvPr id="3" name="Content Placeholder 2"/>
          <p:cNvSpPr>
            <a:spLocks noGrp="1"/>
          </p:cNvSpPr>
          <p:nvPr>
            <p:ph idx="1"/>
          </p:nvPr>
        </p:nvSpPr>
        <p:spPr/>
        <p:txBody>
          <a:bodyPr/>
          <a:lstStyle/>
          <a:p>
            <a:pPr marL="0" indent="0">
              <a:buNone/>
            </a:pPr>
            <a:r>
              <a:rPr lang="en-GB" dirty="0"/>
              <a:t>Browse the Modelica library to find the </a:t>
            </a:r>
            <a:r>
              <a:rPr lang="en-GB" dirty="0" err="1"/>
              <a:t>PID_Controller</a:t>
            </a:r>
            <a:r>
              <a:rPr lang="en-GB" dirty="0"/>
              <a:t> and open it</a:t>
            </a:r>
          </a:p>
          <a:p>
            <a:pPr marL="0" indent="0">
              <a:buNone/>
            </a:pPr>
            <a:endParaRPr lang="en-GB" dirty="0"/>
          </a:p>
        </p:txBody>
      </p:sp>
      <p:sp>
        <p:nvSpPr>
          <p:cNvPr id="5" name="Date Placeholder 4"/>
          <p:cNvSpPr>
            <a:spLocks noGrp="1"/>
          </p:cNvSpPr>
          <p:nvPr>
            <p:ph type="dt" sz="half" idx="10"/>
          </p:nvPr>
        </p:nvSpPr>
        <p:spPr/>
        <p:txBody>
          <a:bodyPr/>
          <a:lstStyle/>
          <a:p>
            <a:fld id="{4921869A-23EA-4FF8-9246-50A5BE40ED07}" type="datetime1">
              <a:rPr lang="en-US" smtClean="0"/>
              <a:t>11/15/2016</a:t>
            </a:fld>
            <a:endParaRPr lang="sv-SE"/>
          </a:p>
        </p:txBody>
      </p:sp>
      <p:sp>
        <p:nvSpPr>
          <p:cNvPr id="6" name="Footer Placeholder 5"/>
          <p:cNvSpPr>
            <a:spLocks noGrp="1"/>
          </p:cNvSpPr>
          <p:nvPr>
            <p:ph type="ftr" sz="quarter" idx="11"/>
          </p:nvPr>
        </p:nvSpPr>
        <p:spPr/>
        <p:txBody>
          <a:bodyPr/>
          <a:lstStyle/>
          <a:p>
            <a:r>
              <a:rPr lang="sv-SE"/>
              <a:t>OpenIPSL Getting Started</a:t>
            </a:r>
            <a:endParaRPr lang="sv-SE" dirty="0"/>
          </a:p>
        </p:txBody>
      </p:sp>
      <p:grpSp>
        <p:nvGrpSpPr>
          <p:cNvPr id="8" name="Group 7"/>
          <p:cNvGrpSpPr/>
          <p:nvPr/>
        </p:nvGrpSpPr>
        <p:grpSpPr>
          <a:xfrm>
            <a:off x="2044960" y="1844824"/>
            <a:ext cx="4831296" cy="3987800"/>
            <a:chOff x="3429000" y="2138363"/>
            <a:chExt cx="4831296" cy="398780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29000" y="2138363"/>
              <a:ext cx="2286000" cy="3987800"/>
            </a:xfrm>
            <a:prstGeom prst="rect">
              <a:avLst/>
            </a:prstGeom>
          </p:spPr>
        </p:pic>
        <p:cxnSp>
          <p:nvCxnSpPr>
            <p:cNvPr id="9" name="Straight Arrow Connector 8"/>
            <p:cNvCxnSpPr/>
            <p:nvPr/>
          </p:nvCxnSpPr>
          <p:spPr>
            <a:xfrm flipH="1">
              <a:off x="5302424" y="3645024"/>
              <a:ext cx="1250776" cy="0"/>
            </a:xfrm>
            <a:prstGeom prst="straightConnector1">
              <a:avLst/>
            </a:prstGeom>
            <a:ln w="34925">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sp>
          <p:nvSpPr>
            <p:cNvPr id="10" name="TextBox 9"/>
            <p:cNvSpPr txBox="1"/>
            <p:nvPr/>
          </p:nvSpPr>
          <p:spPr>
            <a:xfrm>
              <a:off x="6569088" y="3321858"/>
              <a:ext cx="1691208" cy="646331"/>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a:ln>
                    <a:noFill/>
                  </a:ln>
                  <a:solidFill>
                    <a:sysClr val="windowText" lastClr="000000"/>
                  </a:solidFill>
                  <a:effectLst/>
                  <a:uLnTx/>
                  <a:uFillTx/>
                </a:rPr>
                <a:t>Double-click to open</a:t>
              </a:r>
            </a:p>
          </p:txBody>
        </p:sp>
      </p:grpSp>
      <p:sp>
        <p:nvSpPr>
          <p:cNvPr id="11" name="Slide Number Placeholder 10"/>
          <p:cNvSpPr>
            <a:spLocks noGrp="1"/>
          </p:cNvSpPr>
          <p:nvPr>
            <p:ph type="sldNum" sz="quarter" idx="12"/>
          </p:nvPr>
        </p:nvSpPr>
        <p:spPr/>
        <p:txBody>
          <a:bodyPr/>
          <a:lstStyle/>
          <a:p>
            <a:fld id="{227F0B53-9592-4779-891F-997228E46E01}" type="slidenum">
              <a:rPr lang="sv-SE" smtClean="0"/>
              <a:t>76</a:t>
            </a:fld>
            <a:endParaRPr lang="sv-SE"/>
          </a:p>
        </p:txBody>
      </p:sp>
    </p:spTree>
    <p:extLst>
      <p:ext uri="{BB962C8B-B14F-4D97-AF65-F5344CB8AC3E}">
        <p14:creationId xmlns:p14="http://schemas.microsoft.com/office/powerpoint/2010/main" val="342099585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heck of </a:t>
            </a:r>
            <a:r>
              <a:rPr lang="en-GB" dirty="0" err="1"/>
              <a:t>OpenModelica</a:t>
            </a:r>
            <a:r>
              <a:rPr lang="en-GB" dirty="0"/>
              <a:t> – Step 3</a:t>
            </a:r>
          </a:p>
        </p:txBody>
      </p:sp>
      <p:sp>
        <p:nvSpPr>
          <p:cNvPr id="3" name="Content Placeholder 2"/>
          <p:cNvSpPr>
            <a:spLocks noGrp="1"/>
          </p:cNvSpPr>
          <p:nvPr>
            <p:ph idx="1"/>
          </p:nvPr>
        </p:nvSpPr>
        <p:spPr/>
        <p:txBody>
          <a:bodyPr/>
          <a:lstStyle/>
          <a:p>
            <a:r>
              <a:rPr lang="en-GB" dirty="0"/>
              <a:t>Simulation settings are accessed on the toolbar:</a:t>
            </a:r>
          </a:p>
          <a:p>
            <a:endParaRPr lang="en-GB" dirty="0"/>
          </a:p>
          <a:p>
            <a:endParaRPr lang="en-GB" dirty="0"/>
          </a:p>
          <a:p>
            <a:endParaRPr lang="en-GB" dirty="0"/>
          </a:p>
          <a:p>
            <a:r>
              <a:rPr lang="en-GB" dirty="0"/>
              <a:t>Adjust the settings to match the followings :</a:t>
            </a:r>
          </a:p>
          <a:p>
            <a:endParaRPr lang="en-GB" dirty="0"/>
          </a:p>
          <a:p>
            <a:r>
              <a:rPr lang="en-GB" dirty="0"/>
              <a:t>Click on </a:t>
            </a:r>
            <a:r>
              <a:rPr lang="en-GB" b="1" dirty="0"/>
              <a:t>Simulate </a:t>
            </a:r>
            <a:r>
              <a:rPr lang="en-GB" dirty="0"/>
              <a:t>to launch the simulation</a:t>
            </a:r>
            <a:endParaRPr lang="en-GB" b="1" dirty="0"/>
          </a:p>
          <a:p>
            <a:pPr marL="0" indent="0">
              <a:buNone/>
            </a:pPr>
            <a:endParaRPr lang="en-GB" dirty="0"/>
          </a:p>
        </p:txBody>
      </p:sp>
      <p:sp>
        <p:nvSpPr>
          <p:cNvPr id="5" name="Date Placeholder 4"/>
          <p:cNvSpPr>
            <a:spLocks noGrp="1"/>
          </p:cNvSpPr>
          <p:nvPr>
            <p:ph type="dt" sz="half" idx="10"/>
          </p:nvPr>
        </p:nvSpPr>
        <p:spPr/>
        <p:txBody>
          <a:bodyPr/>
          <a:lstStyle/>
          <a:p>
            <a:fld id="{CBA4F7A5-64E9-4471-BF6A-662BE008606C}" type="datetime1">
              <a:rPr lang="en-US" smtClean="0"/>
              <a:t>11/15/2016</a:t>
            </a:fld>
            <a:endParaRPr lang="sv-SE"/>
          </a:p>
        </p:txBody>
      </p:sp>
      <p:sp>
        <p:nvSpPr>
          <p:cNvPr id="7" name="Footer Placeholder 6"/>
          <p:cNvSpPr>
            <a:spLocks noGrp="1"/>
          </p:cNvSpPr>
          <p:nvPr>
            <p:ph type="ftr" sz="quarter" idx="11"/>
          </p:nvPr>
        </p:nvSpPr>
        <p:spPr/>
        <p:txBody>
          <a:bodyPr/>
          <a:lstStyle/>
          <a:p>
            <a:r>
              <a:rPr lang="sv-SE"/>
              <a:t>OpenIPSL Getting Started</a:t>
            </a:r>
            <a:endParaRPr lang="sv-SE" dirty="0"/>
          </a:p>
        </p:txBody>
      </p:sp>
      <p:cxnSp>
        <p:nvCxnSpPr>
          <p:cNvPr id="9" name="Straight Arrow Connector 8"/>
          <p:cNvCxnSpPr/>
          <p:nvPr/>
        </p:nvCxnSpPr>
        <p:spPr>
          <a:xfrm flipV="1">
            <a:off x="6109888" y="2348881"/>
            <a:ext cx="0" cy="504055"/>
          </a:xfrm>
          <a:prstGeom prst="straightConnector1">
            <a:avLst/>
          </a:prstGeom>
          <a:ln w="34925">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6230" y="2022934"/>
            <a:ext cx="7912100" cy="241300"/>
          </a:xfrm>
          <a:prstGeom prst="rect">
            <a:avLst/>
          </a:prstGeom>
        </p:spPr>
      </p:pic>
      <p:sp>
        <p:nvSpPr>
          <p:cNvPr id="11" name="Content Placeholder 2"/>
          <p:cNvSpPr txBox="1">
            <a:spLocks/>
          </p:cNvSpPr>
          <p:nvPr/>
        </p:nvSpPr>
        <p:spPr>
          <a:xfrm>
            <a:off x="457200" y="2636912"/>
            <a:ext cx="8229600" cy="4084563"/>
          </a:xfrm>
          <a:prstGeom prst="rect">
            <a:avLst/>
          </a:prstGeom>
        </p:spPr>
        <p:txBody>
          <a:bodyPr/>
          <a:lstStyle>
            <a:lvl1pPr marL="342900" indent="-342900" algn="l" defTabSz="457200" rtl="0" eaLnBrk="0" fontAlgn="base" hangingPunct="0">
              <a:spcBef>
                <a:spcPct val="20000"/>
              </a:spcBef>
              <a:spcAft>
                <a:spcPct val="0"/>
              </a:spcAft>
              <a:buFont typeface="Arial" pitchFamily="34" charset="0"/>
              <a:buChar char="•"/>
              <a:defRPr sz="3200" kern="1200">
                <a:solidFill>
                  <a:schemeClr val="tx1"/>
                </a:solidFill>
                <a:latin typeface="+mn-lt"/>
                <a:ea typeface="Geneva" charset="-128"/>
                <a:cs typeface="Geneva" charset="-128"/>
              </a:defRPr>
            </a:lvl1pPr>
            <a:lvl2pPr marL="742950" indent="-285750" algn="l" defTabSz="457200" rtl="0" eaLnBrk="0" fontAlgn="base" hangingPunct="0">
              <a:spcBef>
                <a:spcPct val="20000"/>
              </a:spcBef>
              <a:spcAft>
                <a:spcPct val="0"/>
              </a:spcAft>
              <a:buFont typeface="Arial" pitchFamily="34" charset="0"/>
              <a:buChar char="–"/>
              <a:defRPr sz="2800" kern="1200">
                <a:solidFill>
                  <a:schemeClr val="tx1"/>
                </a:solidFill>
                <a:latin typeface="+mn-lt"/>
                <a:ea typeface="Geneva" charset="-128"/>
                <a:cs typeface="Geneva"/>
              </a:defRPr>
            </a:lvl2pPr>
            <a:lvl3pPr marL="1143000" indent="-228600" algn="l" defTabSz="457200" rtl="0" eaLnBrk="0" fontAlgn="base" hangingPunct="0">
              <a:spcBef>
                <a:spcPct val="20000"/>
              </a:spcBef>
              <a:spcAft>
                <a:spcPct val="0"/>
              </a:spcAft>
              <a:buFont typeface="Arial" pitchFamily="34" charset="0"/>
              <a:buChar char="•"/>
              <a:defRPr sz="2400" kern="1200">
                <a:solidFill>
                  <a:schemeClr val="tx1"/>
                </a:solidFill>
                <a:latin typeface="+mn-lt"/>
                <a:ea typeface="Geneva" charset="-128"/>
                <a:cs typeface="Geneva"/>
              </a:defRPr>
            </a:lvl3pPr>
            <a:lvl4pPr marL="16002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Geneva" charset="-128"/>
                <a:cs typeface="Geneva"/>
              </a:defRPr>
            </a:lvl4pPr>
            <a:lvl5pPr marL="20574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Geneva" charset="-128"/>
                <a:cs typeface="Genev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0" fontAlgn="base" latinLnBrk="0" hangingPunct="0">
              <a:lnSpc>
                <a:spcPct val="100000"/>
              </a:lnSpc>
              <a:spcBef>
                <a:spcPct val="20000"/>
              </a:spcBef>
              <a:spcAft>
                <a:spcPct val="0"/>
              </a:spcAft>
              <a:buClrTx/>
              <a:buSzTx/>
              <a:buFont typeface="Arial" pitchFamily="34" charset="0"/>
              <a:buNone/>
              <a:tabLst/>
              <a:defRPr/>
            </a:pPr>
            <a:endParaRPr kumimoji="0" lang="en-GB" sz="2000" b="0" i="0" u="none" strike="noStrike" kern="1200" cap="none" spc="0" normalizeH="0" baseline="0" noProof="0" dirty="0">
              <a:ln>
                <a:noFill/>
              </a:ln>
              <a:solidFill>
                <a:schemeClr val="tx1"/>
              </a:solidFill>
              <a:effectLst/>
              <a:uLnTx/>
              <a:uFillTx/>
              <a:latin typeface="+mn-lt"/>
              <a:ea typeface="Geneva" charset="-128"/>
              <a:cs typeface="Geneva" charset="-128"/>
            </a:endParaRPr>
          </a:p>
        </p:txBody>
      </p:sp>
      <p:sp>
        <p:nvSpPr>
          <p:cNvPr id="12" name="Rectangle 11"/>
          <p:cNvSpPr/>
          <p:nvPr/>
        </p:nvSpPr>
        <p:spPr>
          <a:xfrm>
            <a:off x="6001876" y="2022934"/>
            <a:ext cx="216024" cy="241300"/>
          </a:xfrm>
          <a:prstGeom prst="rect">
            <a:avLst/>
          </a:prstGeom>
          <a:noFill/>
          <a:ln w="28575">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grpSp>
        <p:nvGrpSpPr>
          <p:cNvPr id="10" name="Group 9"/>
          <p:cNvGrpSpPr/>
          <p:nvPr/>
        </p:nvGrpSpPr>
        <p:grpSpPr>
          <a:xfrm>
            <a:off x="5217532" y="2866631"/>
            <a:ext cx="3536104" cy="3685976"/>
            <a:chOff x="2681796" y="2132856"/>
            <a:chExt cx="4086448" cy="4406056"/>
          </a:xfrm>
        </p:grpSpPr>
        <p:pic>
          <p:nvPicPr>
            <p:cNvPr id="13" name="Picture 1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681796" y="2132856"/>
              <a:ext cx="3979664" cy="4406056"/>
            </a:xfrm>
            <a:prstGeom prst="rect">
              <a:avLst/>
            </a:prstGeom>
          </p:spPr>
        </p:pic>
        <p:cxnSp>
          <p:nvCxnSpPr>
            <p:cNvPr id="14" name="Straight Arrow Connector 13"/>
            <p:cNvCxnSpPr/>
            <p:nvPr/>
          </p:nvCxnSpPr>
          <p:spPr>
            <a:xfrm flipH="1">
              <a:off x="3995936" y="3789040"/>
              <a:ext cx="972108" cy="0"/>
            </a:xfrm>
            <a:prstGeom prst="straightConnector1">
              <a:avLst/>
            </a:prstGeom>
            <a:ln w="34925">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cxnSp>
          <p:nvCxnSpPr>
            <p:cNvPr id="15" name="Straight Arrow Connector 14"/>
            <p:cNvCxnSpPr/>
            <p:nvPr/>
          </p:nvCxnSpPr>
          <p:spPr>
            <a:xfrm flipH="1">
              <a:off x="5796136" y="6324101"/>
              <a:ext cx="972108" cy="0"/>
            </a:xfrm>
            <a:prstGeom prst="straightConnector1">
              <a:avLst/>
            </a:prstGeom>
            <a:ln w="34925">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grpSp>
      <p:sp>
        <p:nvSpPr>
          <p:cNvPr id="8" name="Slide Number Placeholder 7"/>
          <p:cNvSpPr>
            <a:spLocks noGrp="1"/>
          </p:cNvSpPr>
          <p:nvPr>
            <p:ph type="sldNum" sz="quarter" idx="12"/>
          </p:nvPr>
        </p:nvSpPr>
        <p:spPr/>
        <p:txBody>
          <a:bodyPr/>
          <a:lstStyle/>
          <a:p>
            <a:fld id="{227F0B53-9592-4779-891F-997228E46E01}" type="slidenum">
              <a:rPr lang="sv-SE" smtClean="0"/>
              <a:t>77</a:t>
            </a:fld>
            <a:endParaRPr lang="sv-SE"/>
          </a:p>
        </p:txBody>
      </p:sp>
    </p:spTree>
    <p:extLst>
      <p:ext uri="{BB962C8B-B14F-4D97-AF65-F5344CB8AC3E}">
        <p14:creationId xmlns:p14="http://schemas.microsoft.com/office/powerpoint/2010/main" val="357035791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heck of </a:t>
            </a:r>
            <a:r>
              <a:rPr lang="en-GB" dirty="0" err="1"/>
              <a:t>OpenModelica</a:t>
            </a:r>
            <a:r>
              <a:rPr lang="en-GB" dirty="0"/>
              <a:t> – Step 4a</a:t>
            </a:r>
          </a:p>
        </p:txBody>
      </p:sp>
      <p:sp>
        <p:nvSpPr>
          <p:cNvPr id="3" name="Content Placeholder 2"/>
          <p:cNvSpPr>
            <a:spLocks noGrp="1"/>
          </p:cNvSpPr>
          <p:nvPr>
            <p:ph idx="1"/>
          </p:nvPr>
        </p:nvSpPr>
        <p:spPr/>
        <p:txBody>
          <a:bodyPr/>
          <a:lstStyle/>
          <a:p>
            <a:pPr marL="0" indent="0">
              <a:buNone/>
            </a:pPr>
            <a:r>
              <a:rPr lang="en-GB" dirty="0"/>
              <a:t>Once the simulation is completed (100 %):</a:t>
            </a:r>
            <a:br>
              <a:rPr lang="en-GB" dirty="0"/>
            </a:br>
            <a:endParaRPr lang="en-GB" dirty="0"/>
          </a:p>
          <a:p>
            <a:pPr marL="0" indent="0">
              <a:buNone/>
            </a:pPr>
            <a:endParaRPr lang="en-GB" dirty="0"/>
          </a:p>
          <a:p>
            <a:pPr marL="0" indent="0">
              <a:buNone/>
            </a:pPr>
            <a:endParaRPr lang="en-GB" dirty="0"/>
          </a:p>
          <a:p>
            <a:pPr marL="0" indent="0">
              <a:buNone/>
            </a:pPr>
            <a:endParaRPr lang="en-GB" dirty="0"/>
          </a:p>
          <a:p>
            <a:pPr marL="0" indent="0">
              <a:buNone/>
            </a:pPr>
            <a:endParaRPr lang="en-GB" dirty="0"/>
          </a:p>
          <a:p>
            <a:pPr marL="342900" indent="-342900">
              <a:buFont typeface="Arial" panose="020B0604020202020204" pitchFamily="34" charset="0"/>
              <a:buChar char="•"/>
            </a:pPr>
            <a:r>
              <a:rPr lang="en-GB" dirty="0"/>
              <a:t>Access the plotting facility by clicking on the </a:t>
            </a:r>
            <a:r>
              <a:rPr lang="en-GB" b="1" dirty="0"/>
              <a:t>Plotting </a:t>
            </a:r>
            <a:r>
              <a:rPr lang="en-GB" dirty="0"/>
              <a:t>tab in the lower right corner of the screen</a:t>
            </a:r>
          </a:p>
        </p:txBody>
      </p:sp>
      <p:sp>
        <p:nvSpPr>
          <p:cNvPr id="5" name="Date Placeholder 4"/>
          <p:cNvSpPr>
            <a:spLocks noGrp="1"/>
          </p:cNvSpPr>
          <p:nvPr>
            <p:ph type="dt" sz="half" idx="10"/>
          </p:nvPr>
        </p:nvSpPr>
        <p:spPr/>
        <p:txBody>
          <a:bodyPr/>
          <a:lstStyle/>
          <a:p>
            <a:fld id="{C4E5C7F3-C09E-4615-8D64-6C5B4CBF09A5}" type="datetime1">
              <a:rPr lang="en-US" smtClean="0"/>
              <a:t>11/15/2016</a:t>
            </a:fld>
            <a:endParaRPr lang="sv-SE"/>
          </a:p>
        </p:txBody>
      </p:sp>
      <p:sp>
        <p:nvSpPr>
          <p:cNvPr id="7" name="Footer Placeholder 6"/>
          <p:cNvSpPr>
            <a:spLocks noGrp="1"/>
          </p:cNvSpPr>
          <p:nvPr>
            <p:ph type="ftr" sz="quarter" idx="11"/>
          </p:nvPr>
        </p:nvSpPr>
        <p:spPr/>
        <p:txBody>
          <a:bodyPr/>
          <a:lstStyle/>
          <a:p>
            <a:r>
              <a:rPr lang="sv-SE"/>
              <a:t>OpenIPSL Getting Started</a:t>
            </a:r>
            <a:endParaRPr lang="sv-SE" dirty="0"/>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39283" y="4005064"/>
            <a:ext cx="3937000" cy="1854200"/>
          </a:xfrm>
          <a:prstGeom prst="rect">
            <a:avLst/>
          </a:prstGeom>
        </p:spPr>
      </p:pic>
      <p:cxnSp>
        <p:nvCxnSpPr>
          <p:cNvPr id="9" name="Straight Arrow Connector 8"/>
          <p:cNvCxnSpPr/>
          <p:nvPr/>
        </p:nvCxnSpPr>
        <p:spPr>
          <a:xfrm>
            <a:off x="7884368" y="4615680"/>
            <a:ext cx="0" cy="1035559"/>
          </a:xfrm>
          <a:prstGeom prst="straightConnector1">
            <a:avLst/>
          </a:prstGeom>
          <a:ln w="34925">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64088" y="1340768"/>
            <a:ext cx="3562210" cy="2037673"/>
          </a:xfrm>
          <a:prstGeom prst="rect">
            <a:avLst/>
          </a:prstGeom>
        </p:spPr>
      </p:pic>
      <p:sp>
        <p:nvSpPr>
          <p:cNvPr id="10" name="Slide Number Placeholder 9"/>
          <p:cNvSpPr>
            <a:spLocks noGrp="1"/>
          </p:cNvSpPr>
          <p:nvPr>
            <p:ph type="sldNum" sz="quarter" idx="12"/>
          </p:nvPr>
        </p:nvSpPr>
        <p:spPr/>
        <p:txBody>
          <a:bodyPr/>
          <a:lstStyle/>
          <a:p>
            <a:fld id="{227F0B53-9592-4779-891F-997228E46E01}" type="slidenum">
              <a:rPr lang="sv-SE" smtClean="0"/>
              <a:t>78</a:t>
            </a:fld>
            <a:endParaRPr lang="sv-SE"/>
          </a:p>
        </p:txBody>
      </p:sp>
    </p:spTree>
    <p:extLst>
      <p:ext uri="{BB962C8B-B14F-4D97-AF65-F5344CB8AC3E}">
        <p14:creationId xmlns:p14="http://schemas.microsoft.com/office/powerpoint/2010/main" val="3578578033"/>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heck of </a:t>
            </a:r>
            <a:r>
              <a:rPr lang="en-GB" dirty="0" err="1"/>
              <a:t>OpenModelica</a:t>
            </a:r>
            <a:r>
              <a:rPr lang="en-GB" dirty="0"/>
              <a:t> – Step 4b</a:t>
            </a:r>
          </a:p>
        </p:txBody>
      </p:sp>
      <p:sp>
        <p:nvSpPr>
          <p:cNvPr id="3" name="Content Placeholder 2"/>
          <p:cNvSpPr>
            <a:spLocks noGrp="1"/>
          </p:cNvSpPr>
          <p:nvPr>
            <p:ph idx="1"/>
          </p:nvPr>
        </p:nvSpPr>
        <p:spPr/>
        <p:txBody>
          <a:bodyPr/>
          <a:lstStyle/>
          <a:p>
            <a:pPr marL="0" indent="0">
              <a:buNone/>
            </a:pPr>
            <a:r>
              <a:rPr lang="en-GB" dirty="0"/>
              <a:t>In the plotting facility, browse the variable to find the rotational speed </a:t>
            </a:r>
            <a:r>
              <a:rPr lang="en-GB" b="1" dirty="0"/>
              <a:t>w</a:t>
            </a:r>
            <a:endParaRPr lang="en-GB" dirty="0"/>
          </a:p>
        </p:txBody>
      </p:sp>
      <p:sp>
        <p:nvSpPr>
          <p:cNvPr id="6" name="Date Placeholder 5"/>
          <p:cNvSpPr>
            <a:spLocks noGrp="1"/>
          </p:cNvSpPr>
          <p:nvPr>
            <p:ph type="dt" sz="half" idx="10"/>
          </p:nvPr>
        </p:nvSpPr>
        <p:spPr/>
        <p:txBody>
          <a:bodyPr/>
          <a:lstStyle/>
          <a:p>
            <a:fld id="{7FD1098C-784F-4187-BD60-26D807D57DC4}" type="datetime1">
              <a:rPr lang="en-US" smtClean="0"/>
              <a:t>11/15/2016</a:t>
            </a:fld>
            <a:endParaRPr lang="sv-SE"/>
          </a:p>
        </p:txBody>
      </p:sp>
      <p:sp>
        <p:nvSpPr>
          <p:cNvPr id="7" name="Footer Placeholder 6"/>
          <p:cNvSpPr>
            <a:spLocks noGrp="1"/>
          </p:cNvSpPr>
          <p:nvPr>
            <p:ph type="ftr" sz="quarter" idx="11"/>
          </p:nvPr>
        </p:nvSpPr>
        <p:spPr/>
        <p:txBody>
          <a:bodyPr/>
          <a:lstStyle/>
          <a:p>
            <a:r>
              <a:rPr lang="sv-SE"/>
              <a:t>OpenIPSL Getting Started</a:t>
            </a:r>
            <a:endParaRPr lang="sv-SE" dirty="0"/>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75855" y="1772816"/>
            <a:ext cx="2509627" cy="4107739"/>
          </a:xfrm>
          <a:prstGeom prst="rect">
            <a:avLst/>
          </a:prstGeom>
        </p:spPr>
      </p:pic>
      <p:cxnSp>
        <p:nvCxnSpPr>
          <p:cNvPr id="9" name="Straight Arrow Connector 8"/>
          <p:cNvCxnSpPr/>
          <p:nvPr/>
        </p:nvCxnSpPr>
        <p:spPr>
          <a:xfrm flipH="1">
            <a:off x="5137410" y="5157192"/>
            <a:ext cx="1296144" cy="0"/>
          </a:xfrm>
          <a:prstGeom prst="straightConnector1">
            <a:avLst/>
          </a:prstGeom>
          <a:ln w="34925">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sp>
        <p:nvSpPr>
          <p:cNvPr id="8" name="Slide Number Placeholder 7"/>
          <p:cNvSpPr>
            <a:spLocks noGrp="1"/>
          </p:cNvSpPr>
          <p:nvPr>
            <p:ph type="sldNum" sz="quarter" idx="12"/>
          </p:nvPr>
        </p:nvSpPr>
        <p:spPr/>
        <p:txBody>
          <a:bodyPr/>
          <a:lstStyle/>
          <a:p>
            <a:fld id="{227F0B53-9592-4779-891F-997228E46E01}" type="slidenum">
              <a:rPr lang="sv-SE" smtClean="0"/>
              <a:t>79</a:t>
            </a:fld>
            <a:endParaRPr lang="sv-SE"/>
          </a:p>
        </p:txBody>
      </p:sp>
    </p:spTree>
    <p:extLst>
      <p:ext uri="{BB962C8B-B14F-4D97-AF65-F5344CB8AC3E}">
        <p14:creationId xmlns:p14="http://schemas.microsoft.com/office/powerpoint/2010/main" val="305251540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Library introduction</a:t>
            </a:r>
            <a:endParaRPr lang="en-US" dirty="0"/>
          </a:p>
        </p:txBody>
      </p:sp>
      <p:sp>
        <p:nvSpPr>
          <p:cNvPr id="10" name="Footer Placeholder 9"/>
          <p:cNvSpPr>
            <a:spLocks noGrp="1"/>
          </p:cNvSpPr>
          <p:nvPr>
            <p:ph type="ftr" sz="quarter" idx="10"/>
          </p:nvPr>
        </p:nvSpPr>
        <p:spPr/>
        <p:txBody>
          <a:bodyPr/>
          <a:lstStyle/>
          <a:p>
            <a:r>
              <a:rPr lang="sv-SE"/>
              <a:t>OpenIPSL Tutorial</a:t>
            </a:r>
            <a:endParaRPr lang="sv-SE" dirty="0"/>
          </a:p>
        </p:txBody>
      </p:sp>
      <p:sp>
        <p:nvSpPr>
          <p:cNvPr id="4" name="Slide Number Placeholder 3"/>
          <p:cNvSpPr>
            <a:spLocks noGrp="1"/>
          </p:cNvSpPr>
          <p:nvPr>
            <p:ph type="sldNum" sz="quarter" idx="11"/>
          </p:nvPr>
        </p:nvSpPr>
        <p:spPr/>
        <p:txBody>
          <a:bodyPr/>
          <a:lstStyle/>
          <a:p>
            <a:fld id="{440EDFD1-B7BF-467C-97A6-8BB3B0D76BCB}" type="slidenum">
              <a:rPr lang="en-US" smtClean="0"/>
              <a:pPr/>
              <a:t>8</a:t>
            </a:fld>
            <a:endParaRPr lang="en-US" dirty="0"/>
          </a:p>
        </p:txBody>
      </p:sp>
      <p:sp>
        <p:nvSpPr>
          <p:cNvPr id="7" name="Date Placeholder 6"/>
          <p:cNvSpPr>
            <a:spLocks noGrp="1"/>
          </p:cNvSpPr>
          <p:nvPr>
            <p:ph type="dt" sz="half" idx="12"/>
          </p:nvPr>
        </p:nvSpPr>
        <p:spPr/>
        <p:txBody>
          <a:bodyPr/>
          <a:lstStyle/>
          <a:p>
            <a:r>
              <a:rPr lang="sv-SE"/>
              <a:t>2016-11-20</a:t>
            </a:r>
          </a:p>
        </p:txBody>
      </p:sp>
      <p:sp>
        <p:nvSpPr>
          <p:cNvPr id="15" name="Content Placeholder 14"/>
          <p:cNvSpPr>
            <a:spLocks noGrp="1"/>
          </p:cNvSpPr>
          <p:nvPr>
            <p:ph idx="1"/>
          </p:nvPr>
        </p:nvSpPr>
        <p:spPr>
          <a:xfrm>
            <a:off x="338965" y="1582739"/>
            <a:ext cx="6681308" cy="4078286"/>
          </a:xfrm>
        </p:spPr>
        <p:txBody>
          <a:bodyPr>
            <a:normAutofit fontScale="92500" lnSpcReduction="10000"/>
          </a:bodyPr>
          <a:lstStyle/>
          <a:p>
            <a:pPr>
              <a:spcBef>
                <a:spcPts val="600"/>
              </a:spcBef>
              <a:spcAft>
                <a:spcPts val="1200"/>
              </a:spcAft>
            </a:pPr>
            <a:r>
              <a:rPr lang="en-US" b="1" dirty="0" err="1"/>
              <a:t>NonElectrical</a:t>
            </a:r>
            <a:endParaRPr lang="en-US" dirty="0"/>
          </a:p>
          <a:p>
            <a:pPr marL="285750" indent="-285750">
              <a:spcBef>
                <a:spcPts val="600"/>
              </a:spcBef>
              <a:spcAft>
                <a:spcPts val="600"/>
              </a:spcAft>
              <a:buFont typeface="Arial" charset="0"/>
              <a:buChar char="•"/>
            </a:pPr>
            <a:r>
              <a:rPr lang="en-US" dirty="0"/>
              <a:t>The</a:t>
            </a:r>
            <a:r>
              <a:rPr lang="en-US" i="1" dirty="0"/>
              <a:t> </a:t>
            </a:r>
            <a:r>
              <a:rPr lang="en-US" i="1" dirty="0" err="1"/>
              <a:t>NonElectrical</a:t>
            </a:r>
            <a:r>
              <a:rPr lang="en-US" i="1" dirty="0"/>
              <a:t> </a:t>
            </a:r>
            <a:r>
              <a:rPr lang="en-US" dirty="0"/>
              <a:t>package is comprised by functions, blocks or models, which are used to build the aforementioned power system component models : Transfer functions, logical operators, etc. </a:t>
            </a:r>
          </a:p>
          <a:p>
            <a:pPr marL="285750" indent="-285750">
              <a:spcBef>
                <a:spcPts val="600"/>
              </a:spcBef>
              <a:spcAft>
                <a:spcPts val="600"/>
              </a:spcAft>
              <a:buFont typeface="Arial" charset="0"/>
              <a:buChar char="•"/>
            </a:pPr>
            <a:r>
              <a:rPr lang="en-US" dirty="0"/>
              <a:t>They perform specific operations which were not available in the Modelica Standard Library (MSL) </a:t>
            </a:r>
          </a:p>
          <a:p>
            <a:pPr>
              <a:spcBef>
                <a:spcPts val="600"/>
              </a:spcBef>
              <a:spcAft>
                <a:spcPts val="1200"/>
              </a:spcAft>
            </a:pPr>
            <a:r>
              <a:rPr lang="en-US" b="1" dirty="0"/>
              <a:t>Connectors</a:t>
            </a:r>
          </a:p>
          <a:p>
            <a:pPr marL="285750" indent="-285750">
              <a:spcBef>
                <a:spcPts val="600"/>
              </a:spcBef>
              <a:spcAft>
                <a:spcPts val="1200"/>
              </a:spcAft>
              <a:buFont typeface="Arial" charset="0"/>
              <a:buChar char="•"/>
            </a:pPr>
            <a:r>
              <a:rPr lang="en-US" dirty="0"/>
              <a:t>The </a:t>
            </a:r>
            <a:r>
              <a:rPr lang="en-US" i="1" dirty="0"/>
              <a:t>Connectors</a:t>
            </a:r>
            <a:r>
              <a:rPr lang="en-US" dirty="0"/>
              <a:t> package contains a set of specifically developed Modelica connectors to harmonize the models in this library ( e.g. </a:t>
            </a:r>
            <a:r>
              <a:rPr lang="en-US" i="1" dirty="0" err="1"/>
              <a:t>PwPin</a:t>
            </a:r>
            <a:r>
              <a:rPr lang="en-US" dirty="0"/>
              <a:t> a connector, which contains voltage and current quantities in phasor representation)</a:t>
            </a:r>
          </a:p>
          <a:p>
            <a:pPr>
              <a:spcBef>
                <a:spcPts val="600"/>
              </a:spcBef>
              <a:spcAft>
                <a:spcPts val="1200"/>
              </a:spcAft>
            </a:pPr>
            <a:endParaRPr lang="en-US" b="1" dirty="0"/>
          </a:p>
          <a:p>
            <a:pPr marL="285750" indent="-285750">
              <a:spcBef>
                <a:spcPts val="600"/>
              </a:spcBef>
              <a:spcAft>
                <a:spcPts val="1200"/>
              </a:spcAft>
              <a:buFont typeface="Arial" panose="020B0604020202020204" pitchFamily="34" charset="0"/>
              <a:buChar char="•"/>
            </a:pPr>
            <a:endParaRPr lang="en-US" b="1" dirty="0"/>
          </a:p>
          <a:p>
            <a:endParaRPr lang="en-US" dirty="0"/>
          </a:p>
        </p:txBody>
      </p:sp>
      <p:grpSp>
        <p:nvGrpSpPr>
          <p:cNvPr id="6" name="Group 5"/>
          <p:cNvGrpSpPr>
            <a:grpSpLocks noChangeAspect="1"/>
          </p:cNvGrpSpPr>
          <p:nvPr/>
        </p:nvGrpSpPr>
        <p:grpSpPr>
          <a:xfrm>
            <a:off x="7020272" y="1542582"/>
            <a:ext cx="1944216" cy="2500762"/>
            <a:chOff x="6516216" y="2441595"/>
            <a:chExt cx="1033601" cy="1329477"/>
          </a:xfrm>
        </p:grpSpPr>
        <p:pic>
          <p:nvPicPr>
            <p:cNvPr id="3" name="Picture 2"/>
            <p:cNvPicPr>
              <a:picLocks noChangeAspect="1"/>
            </p:cNvPicPr>
            <p:nvPr/>
          </p:nvPicPr>
          <p:blipFill>
            <a:blip r:embed="rId3"/>
            <a:stretch>
              <a:fillRect/>
            </a:stretch>
          </p:blipFill>
          <p:spPr>
            <a:xfrm>
              <a:off x="6516216" y="2441595"/>
              <a:ext cx="1025394" cy="1329477"/>
            </a:xfrm>
            <a:prstGeom prst="rect">
              <a:avLst/>
            </a:prstGeom>
          </p:spPr>
        </p:pic>
        <p:sp>
          <p:nvSpPr>
            <p:cNvPr id="9" name="Rectangle 8"/>
            <p:cNvSpPr/>
            <p:nvPr/>
          </p:nvSpPr>
          <p:spPr>
            <a:xfrm>
              <a:off x="6665495" y="3019926"/>
              <a:ext cx="884322" cy="601579"/>
            </a:xfrm>
            <a:prstGeom prst="rect">
              <a:avLst/>
            </a:prstGeom>
            <a:no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grpSp>
    </p:spTree>
    <p:extLst>
      <p:ext uri="{BB962C8B-B14F-4D97-AF65-F5344CB8AC3E}">
        <p14:creationId xmlns:p14="http://schemas.microsoft.com/office/powerpoint/2010/main" val="2125317467"/>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heck of </a:t>
            </a:r>
            <a:r>
              <a:rPr lang="en-GB" dirty="0" err="1"/>
              <a:t>OpenModelica</a:t>
            </a:r>
            <a:r>
              <a:rPr lang="en-GB" dirty="0"/>
              <a:t> – Final Result</a:t>
            </a:r>
          </a:p>
        </p:txBody>
      </p:sp>
      <p:sp>
        <p:nvSpPr>
          <p:cNvPr id="3" name="Content Placeholder 2"/>
          <p:cNvSpPr>
            <a:spLocks noGrp="1"/>
          </p:cNvSpPr>
          <p:nvPr>
            <p:ph idx="1"/>
          </p:nvPr>
        </p:nvSpPr>
        <p:spPr/>
        <p:txBody>
          <a:bodyPr>
            <a:normAutofit lnSpcReduction="10000"/>
          </a:bodyPr>
          <a:lstStyle/>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If your screen looks like this, you’re ready to go!</a:t>
            </a:r>
          </a:p>
          <a:p>
            <a:endParaRPr lang="en-GB" dirty="0"/>
          </a:p>
        </p:txBody>
      </p:sp>
      <p:sp>
        <p:nvSpPr>
          <p:cNvPr id="5" name="Date Placeholder 4"/>
          <p:cNvSpPr>
            <a:spLocks noGrp="1"/>
          </p:cNvSpPr>
          <p:nvPr>
            <p:ph type="dt" sz="half" idx="10"/>
          </p:nvPr>
        </p:nvSpPr>
        <p:spPr/>
        <p:txBody>
          <a:bodyPr/>
          <a:lstStyle/>
          <a:p>
            <a:fld id="{DE0D17D9-A3BE-4D38-8630-DD70CE32C1D0}" type="datetime1">
              <a:rPr lang="en-US" smtClean="0"/>
              <a:t>11/15/2016</a:t>
            </a:fld>
            <a:endParaRPr lang="sv-SE"/>
          </a:p>
        </p:txBody>
      </p:sp>
      <p:sp>
        <p:nvSpPr>
          <p:cNvPr id="7" name="Footer Placeholder 6"/>
          <p:cNvSpPr>
            <a:spLocks noGrp="1"/>
          </p:cNvSpPr>
          <p:nvPr>
            <p:ph type="ftr" sz="quarter" idx="11"/>
          </p:nvPr>
        </p:nvSpPr>
        <p:spPr/>
        <p:txBody>
          <a:bodyPr/>
          <a:lstStyle/>
          <a:p>
            <a:r>
              <a:rPr lang="sv-SE"/>
              <a:t>OpenIPSL Getting Started</a:t>
            </a:r>
            <a:endParaRPr lang="sv-SE" dirty="0"/>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505211" y="1628800"/>
            <a:ext cx="5868144" cy="3328338"/>
          </a:xfrm>
          <a:prstGeom prst="rect">
            <a:avLst/>
          </a:prstGeom>
        </p:spPr>
      </p:pic>
      <p:sp>
        <p:nvSpPr>
          <p:cNvPr id="8" name="Slide Number Placeholder 7"/>
          <p:cNvSpPr>
            <a:spLocks noGrp="1"/>
          </p:cNvSpPr>
          <p:nvPr>
            <p:ph type="sldNum" sz="quarter" idx="12"/>
          </p:nvPr>
        </p:nvSpPr>
        <p:spPr/>
        <p:txBody>
          <a:bodyPr/>
          <a:lstStyle/>
          <a:p>
            <a:fld id="{227F0B53-9592-4779-891F-997228E46E01}" type="slidenum">
              <a:rPr lang="sv-SE" smtClean="0"/>
              <a:t>80</a:t>
            </a:fld>
            <a:endParaRPr lang="sv-SE"/>
          </a:p>
        </p:txBody>
      </p:sp>
    </p:spTree>
    <p:extLst>
      <p:ext uri="{BB962C8B-B14F-4D97-AF65-F5344CB8AC3E}">
        <p14:creationId xmlns:p14="http://schemas.microsoft.com/office/powerpoint/2010/main" val="2636214056"/>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3563888" y="2852936"/>
            <a:ext cx="3312368" cy="1015663"/>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6000" b="0" i="0" u="none" strike="noStrike" kern="0" cap="none" spc="0" normalizeH="0" baseline="0" noProof="0" dirty="0">
                <a:ln>
                  <a:noFill/>
                </a:ln>
                <a:solidFill>
                  <a:sysClr val="windowText" lastClr="000000"/>
                </a:solidFill>
                <a:effectLst/>
                <a:uLnTx/>
                <a:uFillTx/>
              </a:rPr>
              <a:t>Part 2</a:t>
            </a:r>
          </a:p>
        </p:txBody>
      </p:sp>
      <p:sp>
        <p:nvSpPr>
          <p:cNvPr id="2" name="Date Placeholder 1"/>
          <p:cNvSpPr>
            <a:spLocks noGrp="1"/>
          </p:cNvSpPr>
          <p:nvPr>
            <p:ph type="dt" sz="half" idx="10"/>
          </p:nvPr>
        </p:nvSpPr>
        <p:spPr/>
        <p:txBody>
          <a:bodyPr/>
          <a:lstStyle/>
          <a:p>
            <a:fld id="{832E7791-1335-4209-A3A6-5D484841CD27}" type="datetime1">
              <a:rPr lang="en-US" smtClean="0"/>
              <a:t>11/15/2016</a:t>
            </a:fld>
            <a:endParaRPr lang="sv-SE"/>
          </a:p>
        </p:txBody>
      </p:sp>
      <p:sp>
        <p:nvSpPr>
          <p:cNvPr id="3" name="Footer Placeholder 2"/>
          <p:cNvSpPr>
            <a:spLocks noGrp="1"/>
          </p:cNvSpPr>
          <p:nvPr>
            <p:ph type="ftr" sz="quarter" idx="11"/>
          </p:nvPr>
        </p:nvSpPr>
        <p:spPr/>
        <p:txBody>
          <a:bodyPr/>
          <a:lstStyle/>
          <a:p>
            <a:r>
              <a:rPr lang="sv-SE"/>
              <a:t>OpenIPSL Getting Started</a:t>
            </a:r>
            <a:endParaRPr lang="sv-SE" dirty="0"/>
          </a:p>
        </p:txBody>
      </p:sp>
      <p:sp>
        <p:nvSpPr>
          <p:cNvPr id="6" name="Slide Number Placeholder 5"/>
          <p:cNvSpPr>
            <a:spLocks noGrp="1"/>
          </p:cNvSpPr>
          <p:nvPr>
            <p:ph type="sldNum" sz="quarter" idx="12"/>
          </p:nvPr>
        </p:nvSpPr>
        <p:spPr/>
        <p:txBody>
          <a:bodyPr/>
          <a:lstStyle/>
          <a:p>
            <a:fld id="{227F0B53-9592-4779-891F-997228E46E01}" type="slidenum">
              <a:rPr lang="sv-SE" smtClean="0"/>
              <a:t>81</a:t>
            </a:fld>
            <a:endParaRPr lang="sv-SE"/>
          </a:p>
        </p:txBody>
      </p:sp>
    </p:spTree>
    <p:extLst>
      <p:ext uri="{BB962C8B-B14F-4D97-AF65-F5344CB8AC3E}">
        <p14:creationId xmlns:p14="http://schemas.microsoft.com/office/powerpoint/2010/main" val="2178307095"/>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Download OpenIPSL!</a:t>
            </a:r>
            <a:endParaRPr lang="en-US" dirty="0"/>
          </a:p>
        </p:txBody>
      </p:sp>
      <p:sp>
        <p:nvSpPr>
          <p:cNvPr id="3" name="Content Placeholder 2"/>
          <p:cNvSpPr>
            <a:spLocks noGrp="1"/>
          </p:cNvSpPr>
          <p:nvPr>
            <p:ph idx="1"/>
          </p:nvPr>
        </p:nvSpPr>
        <p:spPr/>
        <p:txBody>
          <a:bodyPr>
            <a:normAutofit lnSpcReduction="10000"/>
          </a:bodyPr>
          <a:lstStyle/>
          <a:p>
            <a:r>
              <a:rPr lang="en-US" dirty="0"/>
              <a:t>Go to our </a:t>
            </a:r>
            <a:r>
              <a:rPr lang="en-US" dirty="0" err="1"/>
              <a:t>Github</a:t>
            </a:r>
            <a:r>
              <a:rPr lang="en-US" dirty="0"/>
              <a:t> repo:</a:t>
            </a:r>
          </a:p>
          <a:p>
            <a:r>
              <a:rPr lang="en-US" sz="1800" dirty="0">
                <a:hlinkClick r:id="rId2"/>
              </a:rPr>
              <a:t>https://github.com/SmarTS-Lab/OpenIPSL/releases/tag/Tuto_PTI_Brazil_17</a:t>
            </a:r>
            <a:endParaRPr lang="en-US" sz="1800" dirty="0"/>
          </a:p>
          <a:p>
            <a:endParaRPr lang="en-US" sz="1800" dirty="0"/>
          </a:p>
          <a:p>
            <a:endParaRPr lang="en-US" sz="1800" dirty="0"/>
          </a:p>
          <a:p>
            <a:endParaRPr lang="en-US" sz="1800" dirty="0"/>
          </a:p>
          <a:p>
            <a:endParaRPr lang="en-US" sz="1800" dirty="0"/>
          </a:p>
          <a:p>
            <a:endParaRPr lang="en-US" sz="1800" dirty="0"/>
          </a:p>
          <a:p>
            <a:endParaRPr lang="en-US" sz="1800" dirty="0"/>
          </a:p>
          <a:p>
            <a:endParaRPr lang="en-US" sz="1800" dirty="0"/>
          </a:p>
          <a:p>
            <a:endParaRPr lang="en-US" sz="1800" dirty="0"/>
          </a:p>
          <a:p>
            <a:r>
              <a:rPr lang="en-US" sz="1800" dirty="0"/>
              <a:t>Note: A dedicated package will be prepared for the tutorial and uploaded soon. We will request you to download that package on the day of the tutorial so everybody has the same files.</a:t>
            </a:r>
            <a:br>
              <a:rPr lang="en-US" sz="1800" dirty="0"/>
            </a:br>
            <a:r>
              <a:rPr lang="en-US" sz="1800" dirty="0"/>
              <a:t>The dedicated package will also be available on a </a:t>
            </a:r>
            <a:r>
              <a:rPr lang="en-US" sz="1800" dirty="0" err="1"/>
              <a:t>usb</a:t>
            </a:r>
            <a:r>
              <a:rPr lang="en-US" sz="1800" dirty="0"/>
              <a:t> stick that we can circulate on the day of the tutorial. </a:t>
            </a:r>
          </a:p>
          <a:p>
            <a:endParaRPr lang="en-US" dirty="0"/>
          </a:p>
        </p:txBody>
      </p:sp>
      <p:sp>
        <p:nvSpPr>
          <p:cNvPr id="6" name="Date Placeholder 5"/>
          <p:cNvSpPr>
            <a:spLocks noGrp="1"/>
          </p:cNvSpPr>
          <p:nvPr>
            <p:ph type="dt" sz="half" idx="10"/>
          </p:nvPr>
        </p:nvSpPr>
        <p:spPr/>
        <p:txBody>
          <a:bodyPr/>
          <a:lstStyle/>
          <a:p>
            <a:fld id="{BF3F8861-4EEE-4EF4-ADE3-2EE6705C26D8}" type="datetime1">
              <a:rPr lang="en-US" smtClean="0"/>
              <a:t>11/15/2016</a:t>
            </a:fld>
            <a:endParaRPr lang="sv-SE"/>
          </a:p>
        </p:txBody>
      </p:sp>
      <p:sp>
        <p:nvSpPr>
          <p:cNvPr id="9" name="Footer Placeholder 8"/>
          <p:cNvSpPr>
            <a:spLocks noGrp="1"/>
          </p:cNvSpPr>
          <p:nvPr>
            <p:ph type="ftr" sz="quarter" idx="11"/>
          </p:nvPr>
        </p:nvSpPr>
        <p:spPr/>
        <p:txBody>
          <a:bodyPr/>
          <a:lstStyle/>
          <a:p>
            <a:r>
              <a:rPr lang="sv-SE"/>
              <a:t>OpenIPSL Getting Started</a:t>
            </a:r>
            <a:endParaRPr lang="sv-SE" dirty="0"/>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2132578">
            <a:off x="7819260" y="260778"/>
            <a:ext cx="1066228" cy="1066228"/>
          </a:xfrm>
          <a:prstGeom prst="rect">
            <a:avLst/>
          </a:prstGeom>
        </p:spPr>
      </p:pic>
      <p:grpSp>
        <p:nvGrpSpPr>
          <p:cNvPr id="16" name="Group 15"/>
          <p:cNvGrpSpPr/>
          <p:nvPr/>
        </p:nvGrpSpPr>
        <p:grpSpPr>
          <a:xfrm>
            <a:off x="1835696" y="2132856"/>
            <a:ext cx="5124614" cy="2095897"/>
            <a:chOff x="1634180" y="2485231"/>
            <a:chExt cx="5124614" cy="2095897"/>
          </a:xfrm>
        </p:grpSpPr>
        <p:pic>
          <p:nvPicPr>
            <p:cNvPr id="15" name="Picture 14"/>
            <p:cNvPicPr>
              <a:picLocks noChangeAspect="1"/>
            </p:cNvPicPr>
            <p:nvPr/>
          </p:nvPicPr>
          <p:blipFill>
            <a:blip r:embed="rId4"/>
            <a:stretch>
              <a:fillRect/>
            </a:stretch>
          </p:blipFill>
          <p:spPr>
            <a:xfrm>
              <a:off x="1634180" y="2485231"/>
              <a:ext cx="3810722" cy="2095897"/>
            </a:xfrm>
            <a:prstGeom prst="rect">
              <a:avLst/>
            </a:prstGeom>
          </p:spPr>
        </p:pic>
        <p:sp>
          <p:nvSpPr>
            <p:cNvPr id="7" name="Rounded Rectangle 6"/>
            <p:cNvSpPr/>
            <p:nvPr/>
          </p:nvSpPr>
          <p:spPr>
            <a:xfrm>
              <a:off x="2843808" y="3789040"/>
              <a:ext cx="1152128" cy="332814"/>
            </a:xfrm>
            <a:prstGeom prst="roundRect">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 name="Rounded Rectangle 7"/>
            <p:cNvSpPr/>
            <p:nvPr/>
          </p:nvSpPr>
          <p:spPr>
            <a:xfrm>
              <a:off x="4131010" y="3796473"/>
              <a:ext cx="2627784" cy="288032"/>
            </a:xfrm>
            <a:prstGeom prst="round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Click Here!</a:t>
              </a:r>
            </a:p>
          </p:txBody>
        </p:sp>
      </p:grpSp>
      <p:sp>
        <p:nvSpPr>
          <p:cNvPr id="10" name="Slide Number Placeholder 9"/>
          <p:cNvSpPr>
            <a:spLocks noGrp="1"/>
          </p:cNvSpPr>
          <p:nvPr>
            <p:ph type="sldNum" sz="quarter" idx="12"/>
          </p:nvPr>
        </p:nvSpPr>
        <p:spPr/>
        <p:txBody>
          <a:bodyPr/>
          <a:lstStyle/>
          <a:p>
            <a:fld id="{227F0B53-9592-4779-891F-997228E46E01}" type="slidenum">
              <a:rPr lang="sv-SE" smtClean="0"/>
              <a:t>82</a:t>
            </a:fld>
            <a:endParaRPr lang="sv-SE"/>
          </a:p>
        </p:txBody>
      </p:sp>
    </p:spTree>
    <p:extLst>
      <p:ext uri="{BB962C8B-B14F-4D97-AF65-F5344CB8AC3E}">
        <p14:creationId xmlns:p14="http://schemas.microsoft.com/office/powerpoint/2010/main" val="147005612"/>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oad the </a:t>
            </a:r>
            <a:r>
              <a:rPr lang="en-US" dirty="0" err="1"/>
              <a:t>OpenIPSL</a:t>
            </a:r>
            <a:r>
              <a:rPr lang="en-US" dirty="0"/>
              <a:t> to </a:t>
            </a:r>
            <a:r>
              <a:rPr lang="en-US" dirty="0" err="1"/>
              <a:t>OMEdit</a:t>
            </a:r>
            <a:endParaRPr lang="en-US" dirty="0"/>
          </a:p>
        </p:txBody>
      </p:sp>
      <p:sp>
        <p:nvSpPr>
          <p:cNvPr id="3" name="Content Placeholder 2"/>
          <p:cNvSpPr>
            <a:spLocks noGrp="1"/>
          </p:cNvSpPr>
          <p:nvPr>
            <p:ph idx="1"/>
          </p:nvPr>
        </p:nvSpPr>
        <p:spPr/>
        <p:txBody>
          <a:bodyPr/>
          <a:lstStyle/>
          <a:p>
            <a:r>
              <a:rPr lang="en-US" dirty="0"/>
              <a:t>External libraries, e.g. </a:t>
            </a:r>
            <a:r>
              <a:rPr lang="en-US" dirty="0" err="1"/>
              <a:t>OpenIPSL</a:t>
            </a:r>
            <a:r>
              <a:rPr lang="en-US" dirty="0"/>
              <a:t>, must be loaded in </a:t>
            </a:r>
            <a:r>
              <a:rPr lang="en-US" dirty="0" err="1"/>
              <a:t>OMEdit</a:t>
            </a:r>
            <a:r>
              <a:rPr lang="en-US" dirty="0"/>
              <a:t> to be used:</a:t>
            </a:r>
          </a:p>
          <a:p>
            <a:pPr marL="342900" indent="-342900">
              <a:buFont typeface="Arial" panose="020B0604020202020204" pitchFamily="34" charset="0"/>
              <a:buChar char="•"/>
            </a:pPr>
            <a:r>
              <a:rPr lang="en-US" dirty="0"/>
              <a:t>Unzip the package downloaded at the previous step</a:t>
            </a:r>
          </a:p>
          <a:p>
            <a:pPr marL="342900" indent="-342900">
              <a:buFont typeface="Arial" panose="020B0604020202020204" pitchFamily="34" charset="0"/>
              <a:buChar char="•"/>
            </a:pPr>
            <a:r>
              <a:rPr lang="en-US" dirty="0"/>
              <a:t>Open </a:t>
            </a:r>
            <a:r>
              <a:rPr lang="en-US" dirty="0" err="1"/>
              <a:t>OpenModelica</a:t>
            </a:r>
            <a:r>
              <a:rPr lang="en-US" dirty="0"/>
              <a:t> Connection Editor (</a:t>
            </a:r>
            <a:r>
              <a:rPr lang="en-US" dirty="0" err="1"/>
              <a:t>OMEdit</a:t>
            </a:r>
            <a:r>
              <a:rPr lang="en-US" dirty="0"/>
              <a:t>) </a:t>
            </a:r>
          </a:p>
          <a:p>
            <a:pPr marL="342900" indent="-342900">
              <a:buFont typeface="Arial" panose="020B0604020202020204" pitchFamily="34" charset="0"/>
              <a:buChar char="•"/>
            </a:pPr>
            <a:r>
              <a:rPr lang="en-US" dirty="0"/>
              <a:t>Browse Windows Explorer to the location of the unzipped folder </a:t>
            </a:r>
          </a:p>
          <a:p>
            <a:pPr marL="342900" indent="-342900">
              <a:buFont typeface="Arial" panose="020B0604020202020204" pitchFamily="34" charset="0"/>
              <a:buChar char="•"/>
            </a:pPr>
            <a:r>
              <a:rPr lang="en-US" dirty="0"/>
              <a:t>Open  the </a:t>
            </a:r>
            <a:r>
              <a:rPr lang="en-US" b="1" dirty="0"/>
              <a:t>/</a:t>
            </a:r>
            <a:r>
              <a:rPr lang="en-US" b="1" dirty="0" err="1"/>
              <a:t>OpenIPSL</a:t>
            </a:r>
            <a:r>
              <a:rPr lang="en-US" b="1" dirty="0"/>
              <a:t> </a:t>
            </a:r>
            <a:r>
              <a:rPr lang="en-US" dirty="0"/>
              <a:t>folder</a:t>
            </a:r>
          </a:p>
          <a:p>
            <a:pPr marL="342900" indent="-342900">
              <a:buFont typeface="Arial" panose="020B0604020202020204" pitchFamily="34" charset="0"/>
              <a:buChar char="•"/>
            </a:pPr>
            <a:r>
              <a:rPr lang="en-US" dirty="0"/>
              <a:t>Drag &amp; drop the </a:t>
            </a:r>
            <a:r>
              <a:rPr lang="en-US" b="1" dirty="0"/>
              <a:t>package.mo</a:t>
            </a:r>
            <a:r>
              <a:rPr lang="en-US" dirty="0"/>
              <a:t> file to the </a:t>
            </a:r>
            <a:r>
              <a:rPr lang="en-US" b="1" dirty="0"/>
              <a:t>Library Browser</a:t>
            </a:r>
            <a:r>
              <a:rPr lang="en-US" dirty="0"/>
              <a:t> in </a:t>
            </a:r>
            <a:r>
              <a:rPr lang="en-US" dirty="0" err="1"/>
              <a:t>OMEdit</a:t>
            </a:r>
            <a:r>
              <a:rPr lang="en-US" dirty="0"/>
              <a:t>.</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a:p>
        </p:txBody>
      </p:sp>
      <p:sp>
        <p:nvSpPr>
          <p:cNvPr id="5" name="Date Placeholder 4"/>
          <p:cNvSpPr>
            <a:spLocks noGrp="1"/>
          </p:cNvSpPr>
          <p:nvPr>
            <p:ph type="dt" sz="half" idx="10"/>
          </p:nvPr>
        </p:nvSpPr>
        <p:spPr/>
        <p:txBody>
          <a:bodyPr/>
          <a:lstStyle/>
          <a:p>
            <a:fld id="{2D0D4632-EF83-4EF9-809F-6B1D15991D5B}" type="datetime1">
              <a:rPr lang="en-US" smtClean="0"/>
              <a:t>11/15/2016</a:t>
            </a:fld>
            <a:endParaRPr lang="sv-SE"/>
          </a:p>
        </p:txBody>
      </p:sp>
      <p:sp>
        <p:nvSpPr>
          <p:cNvPr id="8" name="Footer Placeholder 7"/>
          <p:cNvSpPr>
            <a:spLocks noGrp="1"/>
          </p:cNvSpPr>
          <p:nvPr>
            <p:ph type="ftr" sz="quarter" idx="11"/>
          </p:nvPr>
        </p:nvSpPr>
        <p:spPr/>
        <p:txBody>
          <a:bodyPr/>
          <a:lstStyle/>
          <a:p>
            <a:r>
              <a:rPr lang="sv-SE"/>
              <a:t>OpenIPSL Getting Started</a:t>
            </a:r>
            <a:endParaRPr lang="sv-SE" dirty="0"/>
          </a:p>
        </p:txBody>
      </p:sp>
      <p:sp>
        <p:nvSpPr>
          <p:cNvPr id="9" name="Content Placeholder 2"/>
          <p:cNvSpPr txBox="1">
            <a:spLocks/>
          </p:cNvSpPr>
          <p:nvPr/>
        </p:nvSpPr>
        <p:spPr>
          <a:xfrm>
            <a:off x="467544" y="1650798"/>
            <a:ext cx="8076875" cy="3993206"/>
          </a:xfrm>
          <a:prstGeom prst="rect">
            <a:avLst/>
          </a:prstGeom>
        </p:spPr>
        <p:txBody>
          <a:bodyPr vert="horz" lIns="0" tIns="0" rIns="0" bIns="0" rtlCol="0">
            <a:normAutofit/>
          </a:bodyPr>
          <a:lstStyle>
            <a:lvl1pPr marL="0" indent="0" algn="l" defTabSz="912931" rtl="0" eaLnBrk="1" latinLnBrk="0" hangingPunct="1">
              <a:lnSpc>
                <a:spcPct val="100000"/>
              </a:lnSpc>
              <a:spcBef>
                <a:spcPct val="20000"/>
              </a:spcBef>
              <a:buFont typeface="Arial" pitchFamily="34" charset="0"/>
              <a:buNone/>
              <a:defRPr sz="2000" kern="1200">
                <a:solidFill>
                  <a:schemeClr val="tx1"/>
                </a:solidFill>
                <a:latin typeface="+mn-lt"/>
                <a:ea typeface="+mn-ea"/>
                <a:cs typeface="+mn-cs"/>
              </a:defRPr>
            </a:lvl1pPr>
            <a:lvl2pPr marL="355028" indent="-355028" algn="l" defTabSz="912931"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2pPr>
            <a:lvl3pPr marL="722737" indent="-367708" algn="l" defTabSz="912931"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3pPr>
            <a:lvl4pPr marL="1074596" indent="-351863" algn="l" defTabSz="912931"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4pPr>
            <a:lvl5pPr marL="1532646" indent="-456463" algn="l" defTabSz="912931"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5pPr>
            <a:lvl6pPr marL="2510560" indent="-228230" algn="l" defTabSz="91293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7027" indent="-228230" algn="l" defTabSz="91293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3492" indent="-228230" algn="l" defTabSz="91293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79959" indent="-228230" algn="l" defTabSz="912931"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2931" rtl="0" eaLnBrk="1" fontAlgn="auto" latinLnBrk="0" hangingPunct="1">
              <a:lnSpc>
                <a:spcPct val="100000"/>
              </a:lnSpc>
              <a:spcBef>
                <a:spcPct val="20000"/>
              </a:spcBef>
              <a:spcAft>
                <a:spcPts val="0"/>
              </a:spcAft>
              <a:buClrTx/>
              <a:buSzTx/>
              <a:buFont typeface="Arial" pitchFamily="34" charset="0"/>
              <a:buNone/>
              <a:tabLst/>
              <a:defRPr/>
            </a:pPr>
            <a:endParaRPr kumimoji="0" lang="en-US" sz="20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2931" rtl="0" eaLnBrk="1" fontAlgn="auto" latinLnBrk="0" hangingPunct="1">
              <a:lnSpc>
                <a:spcPct val="100000"/>
              </a:lnSpc>
              <a:spcBef>
                <a:spcPct val="20000"/>
              </a:spcBef>
              <a:spcAft>
                <a:spcPts val="0"/>
              </a:spcAft>
              <a:buClrTx/>
              <a:buSzTx/>
              <a:buFont typeface="Arial" pitchFamily="34" charset="0"/>
              <a:buNone/>
              <a:tabLst/>
              <a:defRPr/>
            </a:pPr>
            <a:endParaRPr kumimoji="0" lang="en-US" sz="20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2931" rtl="0" eaLnBrk="1" fontAlgn="auto" latinLnBrk="0" hangingPunct="1">
              <a:lnSpc>
                <a:spcPct val="100000"/>
              </a:lnSpc>
              <a:spcBef>
                <a:spcPct val="20000"/>
              </a:spcBef>
              <a:spcAft>
                <a:spcPts val="0"/>
              </a:spcAft>
              <a:buClrTx/>
              <a:buSzTx/>
              <a:buFont typeface="Arial" pitchFamily="34" charset="0"/>
              <a:buNone/>
              <a:tabLst/>
              <a:defRPr/>
            </a:pPr>
            <a:endParaRPr kumimoji="0" lang="en-US" sz="20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2931" rtl="0" eaLnBrk="1" fontAlgn="auto" latinLnBrk="0" hangingPunct="1">
              <a:lnSpc>
                <a:spcPct val="100000"/>
              </a:lnSpc>
              <a:spcBef>
                <a:spcPct val="20000"/>
              </a:spcBef>
              <a:spcAft>
                <a:spcPts val="0"/>
              </a:spcAft>
              <a:buClrTx/>
              <a:buSzTx/>
              <a:buFont typeface="Arial" pitchFamily="34" charset="0"/>
              <a:buNone/>
              <a:tabLst/>
              <a:defRPr/>
            </a:pPr>
            <a:endParaRPr kumimoji="0" lang="en-US" sz="20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2931" rtl="0" eaLnBrk="1" fontAlgn="auto" latinLnBrk="0" hangingPunct="1">
              <a:lnSpc>
                <a:spcPct val="100000"/>
              </a:lnSpc>
              <a:spcBef>
                <a:spcPct val="20000"/>
              </a:spcBef>
              <a:spcAft>
                <a:spcPts val="0"/>
              </a:spcAft>
              <a:buClrTx/>
              <a:buSzTx/>
              <a:buFont typeface="Arial" pitchFamily="34" charset="0"/>
              <a:buNone/>
              <a:tabLst/>
              <a:defRPr/>
            </a:pPr>
            <a:endParaRPr kumimoji="0" lang="en-US" sz="2000" b="0" i="0" u="none" strike="noStrike" kern="1200" cap="none" spc="0" normalizeH="0" baseline="0" noProof="0" dirty="0">
              <a:ln>
                <a:noFill/>
              </a:ln>
              <a:solidFill>
                <a:schemeClr val="tx1"/>
              </a:solidFill>
              <a:effectLst/>
              <a:uLnTx/>
              <a:uFillTx/>
              <a:latin typeface="+mn-lt"/>
              <a:ea typeface="+mn-ea"/>
              <a:cs typeface="+mn-cs"/>
            </a:endParaRPr>
          </a:p>
        </p:txBody>
      </p:sp>
      <p:grpSp>
        <p:nvGrpSpPr>
          <p:cNvPr id="10" name="Group 9"/>
          <p:cNvGrpSpPr/>
          <p:nvPr/>
        </p:nvGrpSpPr>
        <p:grpSpPr>
          <a:xfrm>
            <a:off x="925053" y="3632459"/>
            <a:ext cx="7319355" cy="2676861"/>
            <a:chOff x="925053" y="4064507"/>
            <a:chExt cx="7319355" cy="2676861"/>
          </a:xfrm>
        </p:grpSpPr>
        <p:pic>
          <p:nvPicPr>
            <p:cNvPr id="6" name="Picture 5"/>
            <p:cNvPicPr>
              <a:picLocks noChangeAspect="1"/>
            </p:cNvPicPr>
            <p:nvPr/>
          </p:nvPicPr>
          <p:blipFill>
            <a:blip r:embed="rId2"/>
            <a:stretch>
              <a:fillRect/>
            </a:stretch>
          </p:blipFill>
          <p:spPr>
            <a:xfrm>
              <a:off x="6678800" y="4064507"/>
              <a:ext cx="1565608" cy="2676861"/>
            </a:xfrm>
            <a:prstGeom prst="rect">
              <a:avLst/>
            </a:prstGeom>
          </p:spPr>
        </p:pic>
        <p:pic>
          <p:nvPicPr>
            <p:cNvPr id="7" name="Picture 6"/>
            <p:cNvPicPr>
              <a:picLocks noChangeAspect="1"/>
            </p:cNvPicPr>
            <p:nvPr/>
          </p:nvPicPr>
          <p:blipFill>
            <a:blip r:embed="rId3"/>
            <a:stretch>
              <a:fillRect/>
            </a:stretch>
          </p:blipFill>
          <p:spPr>
            <a:xfrm>
              <a:off x="925053" y="4108824"/>
              <a:ext cx="4883110" cy="2183836"/>
            </a:xfrm>
            <a:prstGeom prst="rect">
              <a:avLst/>
            </a:prstGeom>
          </p:spPr>
        </p:pic>
        <p:cxnSp>
          <p:nvCxnSpPr>
            <p:cNvPr id="12" name="Straight Arrow Connector 11"/>
            <p:cNvCxnSpPr/>
            <p:nvPr/>
          </p:nvCxnSpPr>
          <p:spPr>
            <a:xfrm flipV="1">
              <a:off x="2699792" y="5661037"/>
              <a:ext cx="4104456" cy="146367"/>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sp>
        <p:nvSpPr>
          <p:cNvPr id="11" name="Slide Number Placeholder 10"/>
          <p:cNvSpPr>
            <a:spLocks noGrp="1"/>
          </p:cNvSpPr>
          <p:nvPr>
            <p:ph type="sldNum" sz="quarter" idx="12"/>
          </p:nvPr>
        </p:nvSpPr>
        <p:spPr/>
        <p:txBody>
          <a:bodyPr/>
          <a:lstStyle/>
          <a:p>
            <a:fld id="{227F0B53-9592-4779-891F-997228E46E01}" type="slidenum">
              <a:rPr lang="sv-SE" smtClean="0"/>
              <a:t>83</a:t>
            </a:fld>
            <a:endParaRPr lang="sv-SE"/>
          </a:p>
        </p:txBody>
      </p:sp>
    </p:spTree>
    <p:extLst>
      <p:ext uri="{BB962C8B-B14F-4D97-AF65-F5344CB8AC3E}">
        <p14:creationId xmlns:p14="http://schemas.microsoft.com/office/powerpoint/2010/main" val="284041218"/>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oad an Application Example to </a:t>
            </a:r>
            <a:r>
              <a:rPr lang="en-US" dirty="0" err="1"/>
              <a:t>OMEdit</a:t>
            </a:r>
            <a:endParaRPr lang="en-US" dirty="0"/>
          </a:p>
        </p:txBody>
      </p:sp>
      <p:sp>
        <p:nvSpPr>
          <p:cNvPr id="3" name="Content Placeholder 2"/>
          <p:cNvSpPr>
            <a:spLocks noGrp="1"/>
          </p:cNvSpPr>
          <p:nvPr>
            <p:ph idx="1"/>
          </p:nvPr>
        </p:nvSpPr>
        <p:spPr/>
        <p:txBody>
          <a:bodyPr/>
          <a:lstStyle/>
          <a:p>
            <a:r>
              <a:rPr lang="en-US" b="1" dirty="0"/>
              <a:t>Once the </a:t>
            </a:r>
            <a:r>
              <a:rPr lang="en-US" b="1" dirty="0" err="1"/>
              <a:t>OpenIPSL</a:t>
            </a:r>
            <a:r>
              <a:rPr lang="en-US" b="1" dirty="0"/>
              <a:t> is loaded </a:t>
            </a:r>
            <a:r>
              <a:rPr lang="en-US" dirty="0"/>
              <a:t>(see previous slide) in </a:t>
            </a:r>
            <a:r>
              <a:rPr lang="en-US" dirty="0" err="1"/>
              <a:t>OMEdit</a:t>
            </a:r>
            <a:r>
              <a:rPr lang="en-US" dirty="0"/>
              <a:t>, you can load an Example:</a:t>
            </a:r>
          </a:p>
          <a:p>
            <a:pPr marL="342900" indent="-342900">
              <a:buFont typeface="Arial" panose="020B0604020202020204" pitchFamily="34" charset="0"/>
              <a:buChar char="•"/>
            </a:pPr>
            <a:r>
              <a:rPr lang="en-US" dirty="0"/>
              <a:t>Browse Windows Explorer to the location of the unzipped folder </a:t>
            </a:r>
          </a:p>
          <a:p>
            <a:pPr marL="342900" indent="-342900">
              <a:buFont typeface="Arial" panose="020B0604020202020204" pitchFamily="34" charset="0"/>
              <a:buChar char="•"/>
            </a:pPr>
            <a:r>
              <a:rPr lang="en-US" dirty="0"/>
              <a:t>Open  the </a:t>
            </a:r>
            <a:r>
              <a:rPr lang="en-US" b="1" dirty="0"/>
              <a:t>/Application Examples/</a:t>
            </a:r>
            <a:r>
              <a:rPr lang="en-US" b="1" dirty="0" err="1"/>
              <a:t>KundurSMIB</a:t>
            </a:r>
            <a:r>
              <a:rPr lang="en-US" dirty="0"/>
              <a:t> folder</a:t>
            </a:r>
          </a:p>
          <a:p>
            <a:pPr marL="342900" indent="-342900">
              <a:buFont typeface="Arial" panose="020B0604020202020204" pitchFamily="34" charset="0"/>
              <a:buChar char="•"/>
            </a:pPr>
            <a:r>
              <a:rPr lang="en-US" dirty="0"/>
              <a:t>Drag &amp; drop the </a:t>
            </a:r>
            <a:r>
              <a:rPr lang="en-US" b="1" dirty="0"/>
              <a:t>package.mo</a:t>
            </a:r>
            <a:r>
              <a:rPr lang="en-US" dirty="0"/>
              <a:t> file to the </a:t>
            </a:r>
            <a:r>
              <a:rPr lang="en-US" b="1" dirty="0"/>
              <a:t>Library Browser</a:t>
            </a:r>
            <a:r>
              <a:rPr lang="en-US" dirty="0"/>
              <a:t> in </a:t>
            </a:r>
            <a:r>
              <a:rPr lang="en-US" dirty="0" err="1"/>
              <a:t>OMEdit</a:t>
            </a:r>
            <a:r>
              <a:rPr lang="en-US" dirty="0"/>
              <a:t>.</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a:p>
        </p:txBody>
      </p:sp>
      <p:sp>
        <p:nvSpPr>
          <p:cNvPr id="6" name="Date Placeholder 5"/>
          <p:cNvSpPr>
            <a:spLocks noGrp="1"/>
          </p:cNvSpPr>
          <p:nvPr>
            <p:ph type="dt" sz="half" idx="10"/>
          </p:nvPr>
        </p:nvSpPr>
        <p:spPr/>
        <p:txBody>
          <a:bodyPr/>
          <a:lstStyle/>
          <a:p>
            <a:fld id="{B2E4F070-7805-40E4-B7BB-FF4B511E1BBC}" type="datetime1">
              <a:rPr lang="en-US" smtClean="0"/>
              <a:t>11/15/2016</a:t>
            </a:fld>
            <a:endParaRPr lang="sv-SE"/>
          </a:p>
        </p:txBody>
      </p:sp>
      <p:sp>
        <p:nvSpPr>
          <p:cNvPr id="7" name="Footer Placeholder 6"/>
          <p:cNvSpPr>
            <a:spLocks noGrp="1"/>
          </p:cNvSpPr>
          <p:nvPr>
            <p:ph type="ftr" sz="quarter" idx="11"/>
          </p:nvPr>
        </p:nvSpPr>
        <p:spPr/>
        <p:txBody>
          <a:bodyPr/>
          <a:lstStyle/>
          <a:p>
            <a:r>
              <a:rPr lang="sv-SE"/>
              <a:t>OpenIPSL Getting Started</a:t>
            </a:r>
            <a:endParaRPr lang="sv-SE" dirty="0"/>
          </a:p>
        </p:txBody>
      </p:sp>
      <p:sp>
        <p:nvSpPr>
          <p:cNvPr id="9" name="Content Placeholder 2"/>
          <p:cNvSpPr txBox="1">
            <a:spLocks/>
          </p:cNvSpPr>
          <p:nvPr/>
        </p:nvSpPr>
        <p:spPr>
          <a:xfrm>
            <a:off x="467544" y="1650798"/>
            <a:ext cx="8076875" cy="3993206"/>
          </a:xfrm>
          <a:prstGeom prst="rect">
            <a:avLst/>
          </a:prstGeom>
        </p:spPr>
        <p:txBody>
          <a:bodyPr vert="horz" lIns="0" tIns="0" rIns="0" bIns="0" rtlCol="0">
            <a:normAutofit/>
          </a:bodyPr>
          <a:lstStyle>
            <a:lvl1pPr marL="0" indent="0" algn="l" defTabSz="912931" rtl="0" eaLnBrk="1" latinLnBrk="0" hangingPunct="1">
              <a:lnSpc>
                <a:spcPct val="100000"/>
              </a:lnSpc>
              <a:spcBef>
                <a:spcPct val="20000"/>
              </a:spcBef>
              <a:buFont typeface="Arial" pitchFamily="34" charset="0"/>
              <a:buNone/>
              <a:defRPr sz="2000" kern="1200">
                <a:solidFill>
                  <a:schemeClr val="tx1"/>
                </a:solidFill>
                <a:latin typeface="+mn-lt"/>
                <a:ea typeface="+mn-ea"/>
                <a:cs typeface="+mn-cs"/>
              </a:defRPr>
            </a:lvl1pPr>
            <a:lvl2pPr marL="355028" indent="-355028" algn="l" defTabSz="912931"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2pPr>
            <a:lvl3pPr marL="722737" indent="-367708" algn="l" defTabSz="912931"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3pPr>
            <a:lvl4pPr marL="1074596" indent="-351863" algn="l" defTabSz="912931"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4pPr>
            <a:lvl5pPr marL="1532646" indent="-456463" algn="l" defTabSz="912931"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5pPr>
            <a:lvl6pPr marL="2510560" indent="-228230" algn="l" defTabSz="91293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7027" indent="-228230" algn="l" defTabSz="91293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3492" indent="-228230" algn="l" defTabSz="91293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79959" indent="-228230" algn="l" defTabSz="912931"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2931" rtl="0" eaLnBrk="1" fontAlgn="auto" latinLnBrk="0" hangingPunct="1">
              <a:lnSpc>
                <a:spcPct val="100000"/>
              </a:lnSpc>
              <a:spcBef>
                <a:spcPct val="20000"/>
              </a:spcBef>
              <a:spcAft>
                <a:spcPts val="0"/>
              </a:spcAft>
              <a:buClrTx/>
              <a:buSzTx/>
              <a:buFont typeface="Arial" pitchFamily="34" charset="0"/>
              <a:buNone/>
              <a:tabLst/>
              <a:defRPr/>
            </a:pPr>
            <a:endParaRPr kumimoji="0" lang="en-US" sz="20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2931" rtl="0" eaLnBrk="1" fontAlgn="auto" latinLnBrk="0" hangingPunct="1">
              <a:lnSpc>
                <a:spcPct val="100000"/>
              </a:lnSpc>
              <a:spcBef>
                <a:spcPct val="20000"/>
              </a:spcBef>
              <a:spcAft>
                <a:spcPts val="0"/>
              </a:spcAft>
              <a:buClrTx/>
              <a:buSzTx/>
              <a:buFont typeface="Arial" pitchFamily="34" charset="0"/>
              <a:buNone/>
              <a:tabLst/>
              <a:defRPr/>
            </a:pPr>
            <a:endParaRPr kumimoji="0" lang="en-US" sz="20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2931" rtl="0" eaLnBrk="1" fontAlgn="auto" latinLnBrk="0" hangingPunct="1">
              <a:lnSpc>
                <a:spcPct val="100000"/>
              </a:lnSpc>
              <a:spcBef>
                <a:spcPct val="20000"/>
              </a:spcBef>
              <a:spcAft>
                <a:spcPts val="0"/>
              </a:spcAft>
              <a:buClrTx/>
              <a:buSzTx/>
              <a:buFont typeface="Arial" pitchFamily="34" charset="0"/>
              <a:buNone/>
              <a:tabLst/>
              <a:defRPr/>
            </a:pPr>
            <a:endParaRPr kumimoji="0" lang="en-US" sz="20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2931" rtl="0" eaLnBrk="1" fontAlgn="auto" latinLnBrk="0" hangingPunct="1">
              <a:lnSpc>
                <a:spcPct val="100000"/>
              </a:lnSpc>
              <a:spcBef>
                <a:spcPct val="20000"/>
              </a:spcBef>
              <a:spcAft>
                <a:spcPts val="0"/>
              </a:spcAft>
              <a:buClrTx/>
              <a:buSzTx/>
              <a:buFont typeface="Arial" pitchFamily="34" charset="0"/>
              <a:buNone/>
              <a:tabLst/>
              <a:defRPr/>
            </a:pPr>
            <a:endParaRPr kumimoji="0" lang="en-US" sz="20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2931" rtl="0" eaLnBrk="1" fontAlgn="auto" latinLnBrk="0" hangingPunct="1">
              <a:lnSpc>
                <a:spcPct val="100000"/>
              </a:lnSpc>
              <a:spcBef>
                <a:spcPct val="20000"/>
              </a:spcBef>
              <a:spcAft>
                <a:spcPts val="0"/>
              </a:spcAft>
              <a:buClrTx/>
              <a:buSzTx/>
              <a:buFont typeface="Arial" pitchFamily="34" charset="0"/>
              <a:buNone/>
              <a:tabLst/>
              <a:defRPr/>
            </a:pPr>
            <a:endParaRPr kumimoji="0" lang="en-US" sz="2000" b="0" i="0" u="none" strike="noStrike" kern="1200" cap="none" spc="0" normalizeH="0" baseline="0" noProof="0" dirty="0">
              <a:ln>
                <a:noFill/>
              </a:ln>
              <a:solidFill>
                <a:schemeClr val="tx1"/>
              </a:solidFill>
              <a:effectLst/>
              <a:uLnTx/>
              <a:uFillTx/>
              <a:latin typeface="+mn-lt"/>
              <a:ea typeface="+mn-ea"/>
              <a:cs typeface="+mn-cs"/>
            </a:endParaRPr>
          </a:p>
        </p:txBody>
      </p:sp>
      <p:grpSp>
        <p:nvGrpSpPr>
          <p:cNvPr id="10" name="Group 9"/>
          <p:cNvGrpSpPr/>
          <p:nvPr/>
        </p:nvGrpSpPr>
        <p:grpSpPr>
          <a:xfrm>
            <a:off x="633241" y="3167571"/>
            <a:ext cx="7668621" cy="3174481"/>
            <a:chOff x="633241" y="3167571"/>
            <a:chExt cx="7668621" cy="3174481"/>
          </a:xfrm>
        </p:grpSpPr>
        <p:pic>
          <p:nvPicPr>
            <p:cNvPr id="5" name="Picture 4"/>
            <p:cNvPicPr>
              <a:picLocks noChangeAspect="1"/>
            </p:cNvPicPr>
            <p:nvPr/>
          </p:nvPicPr>
          <p:blipFill>
            <a:blip r:embed="rId2"/>
            <a:stretch>
              <a:fillRect/>
            </a:stretch>
          </p:blipFill>
          <p:spPr>
            <a:xfrm>
              <a:off x="633241" y="3772089"/>
              <a:ext cx="5227396" cy="2105183"/>
            </a:xfrm>
            <a:prstGeom prst="rect">
              <a:avLst/>
            </a:prstGeom>
          </p:spPr>
        </p:pic>
        <p:pic>
          <p:nvPicPr>
            <p:cNvPr id="8" name="Picture 7"/>
            <p:cNvPicPr>
              <a:picLocks noChangeAspect="1"/>
            </p:cNvPicPr>
            <p:nvPr/>
          </p:nvPicPr>
          <p:blipFill>
            <a:blip r:embed="rId3"/>
            <a:stretch>
              <a:fillRect/>
            </a:stretch>
          </p:blipFill>
          <p:spPr>
            <a:xfrm>
              <a:off x="6516216" y="3167571"/>
              <a:ext cx="1785646" cy="3174481"/>
            </a:xfrm>
            <a:prstGeom prst="rect">
              <a:avLst/>
            </a:prstGeom>
          </p:spPr>
        </p:pic>
        <p:cxnSp>
          <p:nvCxnSpPr>
            <p:cNvPr id="12" name="Straight Arrow Connector 11"/>
            <p:cNvCxnSpPr/>
            <p:nvPr/>
          </p:nvCxnSpPr>
          <p:spPr>
            <a:xfrm>
              <a:off x="2123728" y="4754811"/>
              <a:ext cx="4500362" cy="474390"/>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sp>
        <p:nvSpPr>
          <p:cNvPr id="11" name="Slide Number Placeholder 10"/>
          <p:cNvSpPr>
            <a:spLocks noGrp="1"/>
          </p:cNvSpPr>
          <p:nvPr>
            <p:ph type="sldNum" sz="quarter" idx="12"/>
          </p:nvPr>
        </p:nvSpPr>
        <p:spPr/>
        <p:txBody>
          <a:bodyPr/>
          <a:lstStyle/>
          <a:p>
            <a:fld id="{227F0B53-9592-4779-891F-997228E46E01}" type="slidenum">
              <a:rPr lang="sv-SE" smtClean="0"/>
              <a:t>84</a:t>
            </a:fld>
            <a:endParaRPr lang="sv-SE"/>
          </a:p>
        </p:txBody>
      </p:sp>
    </p:spTree>
    <p:extLst>
      <p:ext uri="{BB962C8B-B14F-4D97-AF65-F5344CB8AC3E}">
        <p14:creationId xmlns:p14="http://schemas.microsoft.com/office/powerpoint/2010/main" val="700087875"/>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heck that it simulates</a:t>
            </a:r>
          </a:p>
        </p:txBody>
      </p:sp>
      <p:sp>
        <p:nvSpPr>
          <p:cNvPr id="8" name="Content Placeholder 7"/>
          <p:cNvSpPr>
            <a:spLocks noGrp="1"/>
          </p:cNvSpPr>
          <p:nvPr>
            <p:ph idx="1"/>
          </p:nvPr>
        </p:nvSpPr>
        <p:spPr/>
        <p:txBody>
          <a:bodyPr/>
          <a:lstStyle/>
          <a:p>
            <a:r>
              <a:rPr lang="en-US" dirty="0"/>
              <a:t>Click on “SMIB”, “Simulation Setup” and “Simulate”</a:t>
            </a:r>
          </a:p>
          <a:p>
            <a:endParaRPr lang="en-US" dirty="0"/>
          </a:p>
        </p:txBody>
      </p:sp>
      <p:sp>
        <p:nvSpPr>
          <p:cNvPr id="6" name="Date Placeholder 5"/>
          <p:cNvSpPr>
            <a:spLocks noGrp="1"/>
          </p:cNvSpPr>
          <p:nvPr>
            <p:ph type="dt" sz="half" idx="10"/>
          </p:nvPr>
        </p:nvSpPr>
        <p:spPr/>
        <p:txBody>
          <a:bodyPr/>
          <a:lstStyle/>
          <a:p>
            <a:fld id="{F9E8AE17-D2C0-456D-8DCC-7C7933CA2F6D}" type="datetime1">
              <a:rPr lang="en-US" smtClean="0"/>
              <a:t>11/15/2016</a:t>
            </a:fld>
            <a:endParaRPr lang="sv-SE"/>
          </a:p>
        </p:txBody>
      </p:sp>
      <p:sp>
        <p:nvSpPr>
          <p:cNvPr id="4" name="Slide Number Placeholder 3"/>
          <p:cNvSpPr>
            <a:spLocks noGrp="1"/>
          </p:cNvSpPr>
          <p:nvPr>
            <p:ph type="sldNum"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27F0B53-9592-4779-891F-997228E46E01}" type="slidenum">
              <a:rPr kumimoji="0" lang="sv-SE"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5</a:t>
            </a:fld>
            <a:endParaRPr kumimoji="0" lang="sv-SE" sz="1800" b="0" i="0" u="none" strike="noStrike" kern="0" cap="none" spc="0" normalizeH="0" baseline="0" noProof="0">
              <a:ln>
                <a:noFill/>
              </a:ln>
              <a:solidFill>
                <a:sysClr val="windowText" lastClr="000000"/>
              </a:solidFill>
              <a:effectLst/>
              <a:uLnTx/>
              <a:uFillTx/>
            </a:endParaRPr>
          </a:p>
        </p:txBody>
      </p:sp>
      <p:sp>
        <p:nvSpPr>
          <p:cNvPr id="7" name="Footer Placeholder 6"/>
          <p:cNvSpPr>
            <a:spLocks noGrp="1"/>
          </p:cNvSpPr>
          <p:nvPr>
            <p:ph type="ftr" sz="quarter" idx="11"/>
          </p:nvPr>
        </p:nvSpPr>
        <p:spPr/>
        <p:txBody>
          <a:bodyPr/>
          <a:lstStyle/>
          <a:p>
            <a:r>
              <a:rPr lang="sv-SE"/>
              <a:t>OpenIPSL Getting Started</a:t>
            </a:r>
            <a:endParaRPr lang="sv-SE" dirty="0"/>
          </a:p>
        </p:txBody>
      </p:sp>
      <p:grpSp>
        <p:nvGrpSpPr>
          <p:cNvPr id="12" name="Group 11"/>
          <p:cNvGrpSpPr/>
          <p:nvPr/>
        </p:nvGrpSpPr>
        <p:grpSpPr>
          <a:xfrm>
            <a:off x="251520" y="1656289"/>
            <a:ext cx="8833758" cy="5152422"/>
            <a:chOff x="251520" y="1656289"/>
            <a:chExt cx="8833758" cy="5152422"/>
          </a:xfrm>
        </p:grpSpPr>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51520" y="2285288"/>
              <a:ext cx="7020272" cy="4206012"/>
            </a:xfrm>
            <a:prstGeom prst="rect">
              <a:avLst/>
            </a:prstGeom>
          </p:spPr>
        </p:pic>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55573" y="1656289"/>
              <a:ext cx="2829705" cy="5062985"/>
            </a:xfrm>
            <a:prstGeom prst="rect">
              <a:avLst/>
            </a:prstGeom>
          </p:spPr>
        </p:pic>
        <p:sp>
          <p:nvSpPr>
            <p:cNvPr id="10" name="Rounded Rectangle 9"/>
            <p:cNvSpPr/>
            <p:nvPr/>
          </p:nvSpPr>
          <p:spPr>
            <a:xfrm>
              <a:off x="5354964" y="2279796"/>
              <a:ext cx="359750" cy="476830"/>
            </a:xfrm>
            <a:prstGeom prst="roundRect">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 name="Rounded Rectangle 10"/>
            <p:cNvSpPr/>
            <p:nvPr/>
          </p:nvSpPr>
          <p:spPr>
            <a:xfrm>
              <a:off x="3510926" y="2815917"/>
              <a:ext cx="2627784" cy="288032"/>
            </a:xfrm>
            <a:prstGeom prst="round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Click Here!</a:t>
              </a:r>
            </a:p>
          </p:txBody>
        </p:sp>
        <p:sp>
          <p:nvSpPr>
            <p:cNvPr id="13" name="Rounded Rectangle 12"/>
            <p:cNvSpPr/>
            <p:nvPr/>
          </p:nvSpPr>
          <p:spPr>
            <a:xfrm>
              <a:off x="8099611" y="6331881"/>
              <a:ext cx="359750" cy="476830"/>
            </a:xfrm>
            <a:prstGeom prst="roundRect">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 name="Rounded Rectangle 13"/>
            <p:cNvSpPr/>
            <p:nvPr/>
          </p:nvSpPr>
          <p:spPr>
            <a:xfrm>
              <a:off x="6255573" y="5850170"/>
              <a:ext cx="2627784" cy="288032"/>
            </a:xfrm>
            <a:prstGeom prst="round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Click Here!</a:t>
              </a:r>
            </a:p>
          </p:txBody>
        </p:sp>
      </p:grpSp>
    </p:spTree>
    <p:extLst>
      <p:ext uri="{BB962C8B-B14F-4D97-AF65-F5344CB8AC3E}">
        <p14:creationId xmlns:p14="http://schemas.microsoft.com/office/powerpoint/2010/main" val="2967056526"/>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lot the results</a:t>
            </a:r>
          </a:p>
        </p:txBody>
      </p:sp>
      <p:sp>
        <p:nvSpPr>
          <p:cNvPr id="7" name="Content Placeholder 6"/>
          <p:cNvSpPr>
            <a:spLocks noGrp="1"/>
          </p:cNvSpPr>
          <p:nvPr>
            <p:ph idx="1"/>
          </p:nvPr>
        </p:nvSpPr>
        <p:spPr/>
        <p:txBody>
          <a:bodyPr/>
          <a:lstStyle/>
          <a:p>
            <a:r>
              <a:rPr lang="en-US" dirty="0"/>
              <a:t>Click on “Plotting”, scroll to “B1” and select “V”</a:t>
            </a:r>
          </a:p>
          <a:p>
            <a:endParaRPr lang="en-US" dirty="0"/>
          </a:p>
        </p:txBody>
      </p:sp>
      <p:sp>
        <p:nvSpPr>
          <p:cNvPr id="3" name="Date Placeholder 2"/>
          <p:cNvSpPr>
            <a:spLocks noGrp="1"/>
          </p:cNvSpPr>
          <p:nvPr>
            <p:ph type="dt" sz="half" idx="10"/>
          </p:nvPr>
        </p:nvSpPr>
        <p:spPr/>
        <p:txBody>
          <a:bodyPr/>
          <a:lstStyle/>
          <a:p>
            <a:fld id="{7FE488E6-667D-46D1-AF6D-3DA2BD48936B}" type="datetime1">
              <a:rPr lang="en-US" smtClean="0"/>
              <a:t>11/15/2016</a:t>
            </a:fld>
            <a:endParaRPr lang="sv-SE"/>
          </a:p>
        </p:txBody>
      </p:sp>
      <p:sp>
        <p:nvSpPr>
          <p:cNvPr id="5" name="Footer Placeholder 4"/>
          <p:cNvSpPr>
            <a:spLocks noGrp="1"/>
          </p:cNvSpPr>
          <p:nvPr>
            <p:ph type="ftr" sz="quarter" idx="11"/>
          </p:nvPr>
        </p:nvSpPr>
        <p:spPr/>
        <p:txBody>
          <a:bodyPr/>
          <a:lstStyle/>
          <a:p>
            <a:r>
              <a:rPr lang="sv-SE"/>
              <a:t>OpenIPSL Getting Started</a:t>
            </a:r>
            <a:endParaRPr lang="sv-SE" dirty="0"/>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43608" y="1645547"/>
            <a:ext cx="7236296" cy="4303733"/>
          </a:xfrm>
          <a:prstGeom prst="rect">
            <a:avLst/>
          </a:prstGeom>
        </p:spPr>
      </p:pic>
      <p:sp>
        <p:nvSpPr>
          <p:cNvPr id="8" name="Slide Number Placeholder 7"/>
          <p:cNvSpPr>
            <a:spLocks noGrp="1"/>
          </p:cNvSpPr>
          <p:nvPr>
            <p:ph type="sldNum" sz="quarter" idx="12"/>
          </p:nvPr>
        </p:nvSpPr>
        <p:spPr/>
        <p:txBody>
          <a:bodyPr/>
          <a:lstStyle/>
          <a:p>
            <a:fld id="{227F0B53-9592-4779-891F-997228E46E01}" type="slidenum">
              <a:rPr lang="sv-SE" smtClean="0"/>
              <a:t>86</a:t>
            </a:fld>
            <a:endParaRPr lang="sv-SE"/>
          </a:p>
        </p:txBody>
      </p:sp>
    </p:spTree>
    <p:extLst>
      <p:ext uri="{BB962C8B-B14F-4D97-AF65-F5344CB8AC3E}">
        <p14:creationId xmlns:p14="http://schemas.microsoft.com/office/powerpoint/2010/main" val="120230548"/>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inally, take a look a our documentation!</a:t>
            </a:r>
          </a:p>
        </p:txBody>
      </p:sp>
      <p:sp>
        <p:nvSpPr>
          <p:cNvPr id="3" name="Content Placeholder 2"/>
          <p:cNvSpPr>
            <a:spLocks noGrp="1"/>
          </p:cNvSpPr>
          <p:nvPr>
            <p:ph idx="1"/>
          </p:nvPr>
        </p:nvSpPr>
        <p:spPr/>
        <p:txBody>
          <a:bodyPr/>
          <a:lstStyle/>
          <a:p>
            <a:r>
              <a:rPr lang="en-US" dirty="0"/>
              <a:t>Go to: </a:t>
            </a:r>
            <a:r>
              <a:rPr lang="en-US" dirty="0">
                <a:hlinkClick r:id="rId2"/>
              </a:rPr>
              <a:t>http://openipsl.readthedocs.io/en/latest/index.html</a:t>
            </a:r>
            <a:endParaRPr lang="en-US" dirty="0"/>
          </a:p>
          <a:p>
            <a:endParaRPr lang="en-US" dirty="0"/>
          </a:p>
        </p:txBody>
      </p:sp>
      <p:sp>
        <p:nvSpPr>
          <p:cNvPr id="6" name="Date Placeholder 5"/>
          <p:cNvSpPr>
            <a:spLocks noGrp="1"/>
          </p:cNvSpPr>
          <p:nvPr>
            <p:ph type="dt" sz="half" idx="10"/>
          </p:nvPr>
        </p:nvSpPr>
        <p:spPr/>
        <p:txBody>
          <a:bodyPr/>
          <a:lstStyle/>
          <a:p>
            <a:fld id="{8049ED3E-DBDE-46C0-A3F5-8FACFD106D40}" type="datetime1">
              <a:rPr lang="en-US" smtClean="0"/>
              <a:t>11/15/2016</a:t>
            </a:fld>
            <a:endParaRPr lang="sv-SE"/>
          </a:p>
        </p:txBody>
      </p:sp>
      <p:sp>
        <p:nvSpPr>
          <p:cNvPr id="7" name="Footer Placeholder 6"/>
          <p:cNvSpPr>
            <a:spLocks noGrp="1"/>
          </p:cNvSpPr>
          <p:nvPr>
            <p:ph type="ftr" sz="quarter" idx="11"/>
          </p:nvPr>
        </p:nvSpPr>
        <p:spPr/>
        <p:txBody>
          <a:bodyPr/>
          <a:lstStyle/>
          <a:p>
            <a:r>
              <a:rPr lang="sv-SE"/>
              <a:t>OpenIPSL Getting Started</a:t>
            </a:r>
            <a:endParaRPr lang="sv-SE" dirty="0"/>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979711" y="2132856"/>
            <a:ext cx="5184577" cy="3704119"/>
          </a:xfrm>
          <a:prstGeom prst="rect">
            <a:avLst/>
          </a:prstGeom>
        </p:spPr>
      </p:pic>
      <p:sp>
        <p:nvSpPr>
          <p:cNvPr id="8" name="Slide Number Placeholder 7"/>
          <p:cNvSpPr>
            <a:spLocks noGrp="1"/>
          </p:cNvSpPr>
          <p:nvPr>
            <p:ph type="sldNum" sz="quarter" idx="12"/>
          </p:nvPr>
        </p:nvSpPr>
        <p:spPr/>
        <p:txBody>
          <a:bodyPr/>
          <a:lstStyle/>
          <a:p>
            <a:fld id="{227F0B53-9592-4779-891F-997228E46E01}" type="slidenum">
              <a:rPr lang="sv-SE" smtClean="0"/>
              <a:t>87</a:t>
            </a:fld>
            <a:endParaRPr lang="sv-SE"/>
          </a:p>
        </p:txBody>
      </p:sp>
    </p:spTree>
    <p:extLst>
      <p:ext uri="{BB962C8B-B14F-4D97-AF65-F5344CB8AC3E}">
        <p14:creationId xmlns:p14="http://schemas.microsoft.com/office/powerpoint/2010/main" val="3223374007"/>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le 1"/>
          <p:cNvSpPr>
            <a:spLocks noGrp="1"/>
          </p:cNvSpPr>
          <p:nvPr>
            <p:ph type="title"/>
          </p:nvPr>
        </p:nvSpPr>
        <p:spPr>
          <a:xfrm>
            <a:off x="2699792" y="896892"/>
            <a:ext cx="4680520" cy="956370"/>
          </a:xfrm>
        </p:spPr>
        <p:txBody>
          <a:bodyPr/>
          <a:lstStyle/>
          <a:p>
            <a:r>
              <a:rPr lang="en-GB" sz="3600" dirty="0"/>
              <a:t>You are ready!</a:t>
            </a:r>
            <a:br>
              <a:rPr lang="en-GB" sz="3600" dirty="0"/>
            </a:br>
            <a:r>
              <a:rPr lang="en-GB" sz="2800" b="0" dirty="0">
                <a:solidFill>
                  <a:schemeClr val="bg1">
                    <a:lumMod val="50000"/>
                  </a:schemeClr>
                </a:solidFill>
              </a:rPr>
              <a:t>See you for the workshop</a:t>
            </a:r>
          </a:p>
        </p:txBody>
      </p:sp>
      <p:pic>
        <p:nvPicPr>
          <p:cNvPr id="2" name="Picture 1"/>
          <p:cNvPicPr>
            <a:picLocks noChangeAspect="1"/>
          </p:cNvPicPr>
          <p:nvPr/>
        </p:nvPicPr>
        <p:blipFill>
          <a:blip r:embed="rId2"/>
          <a:stretch>
            <a:fillRect/>
          </a:stretch>
        </p:blipFill>
        <p:spPr>
          <a:xfrm>
            <a:off x="2843808" y="1844824"/>
            <a:ext cx="3528392" cy="3528392"/>
          </a:xfrm>
          <a:prstGeom prst="rect">
            <a:avLst/>
          </a:prstGeom>
        </p:spPr>
      </p:pic>
      <p:sp>
        <p:nvSpPr>
          <p:cNvPr id="3" name="Date Placeholder 2"/>
          <p:cNvSpPr>
            <a:spLocks noGrp="1"/>
          </p:cNvSpPr>
          <p:nvPr>
            <p:ph type="dt" sz="half" idx="10"/>
          </p:nvPr>
        </p:nvSpPr>
        <p:spPr/>
        <p:txBody>
          <a:bodyPr/>
          <a:lstStyle/>
          <a:p>
            <a:fld id="{F426A0F2-B3A4-4DC0-954F-FF537244EDC4}" type="datetime1">
              <a:rPr lang="en-US" smtClean="0"/>
              <a:t>11/15/2016</a:t>
            </a:fld>
            <a:endParaRPr lang="sv-SE"/>
          </a:p>
        </p:txBody>
      </p:sp>
      <p:sp>
        <p:nvSpPr>
          <p:cNvPr id="5" name="Footer Placeholder 4"/>
          <p:cNvSpPr>
            <a:spLocks noGrp="1"/>
          </p:cNvSpPr>
          <p:nvPr>
            <p:ph type="ftr" sz="quarter" idx="11"/>
          </p:nvPr>
        </p:nvSpPr>
        <p:spPr/>
        <p:txBody>
          <a:bodyPr/>
          <a:lstStyle/>
          <a:p>
            <a:r>
              <a:rPr lang="sv-SE"/>
              <a:t>OpenIPSL Getting Started</a:t>
            </a:r>
            <a:endParaRPr lang="sv-SE" dirty="0"/>
          </a:p>
        </p:txBody>
      </p:sp>
      <p:sp>
        <p:nvSpPr>
          <p:cNvPr id="6" name="Slide Number Placeholder 5"/>
          <p:cNvSpPr>
            <a:spLocks noGrp="1"/>
          </p:cNvSpPr>
          <p:nvPr>
            <p:ph type="sldNum" sz="quarter" idx="12"/>
          </p:nvPr>
        </p:nvSpPr>
        <p:spPr/>
        <p:txBody>
          <a:bodyPr/>
          <a:lstStyle/>
          <a:p>
            <a:fld id="{227F0B53-9592-4779-891F-997228E46E01}" type="slidenum">
              <a:rPr lang="sv-SE" smtClean="0"/>
              <a:t>88</a:t>
            </a:fld>
            <a:endParaRPr lang="sv-SE"/>
          </a:p>
        </p:txBody>
      </p:sp>
    </p:spTree>
    <p:extLst>
      <p:ext uri="{BB962C8B-B14F-4D97-AF65-F5344CB8AC3E}">
        <p14:creationId xmlns:p14="http://schemas.microsoft.com/office/powerpoint/2010/main" val="40991342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ibrary introduction</a:t>
            </a:r>
          </a:p>
        </p:txBody>
      </p:sp>
      <p:sp>
        <p:nvSpPr>
          <p:cNvPr id="18" name="Footer Placeholder 17"/>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fld id="{440EDFD1-B7BF-467C-97A6-8BB3B0D76BCB}" type="slidenum">
              <a:rPr lang="en-US" smtClean="0"/>
              <a:pPr/>
              <a:t>9</a:t>
            </a:fld>
            <a:endParaRPr lang="en-US" dirty="0"/>
          </a:p>
        </p:txBody>
      </p:sp>
      <p:sp>
        <p:nvSpPr>
          <p:cNvPr id="17" name="Date Placeholder 16"/>
          <p:cNvSpPr>
            <a:spLocks noGrp="1"/>
          </p:cNvSpPr>
          <p:nvPr>
            <p:ph type="dt" sz="half" idx="12"/>
          </p:nvPr>
        </p:nvSpPr>
        <p:spPr/>
        <p:txBody>
          <a:bodyPr/>
          <a:lstStyle/>
          <a:p>
            <a:r>
              <a:rPr lang="sv-SE"/>
              <a:t>2016-11-20</a:t>
            </a:r>
          </a:p>
        </p:txBody>
      </p:sp>
      <p:sp>
        <p:nvSpPr>
          <p:cNvPr id="6" name="Content Placeholder 5"/>
          <p:cNvSpPr>
            <a:spLocks noGrp="1"/>
          </p:cNvSpPr>
          <p:nvPr>
            <p:ph idx="1"/>
          </p:nvPr>
        </p:nvSpPr>
        <p:spPr>
          <a:xfrm>
            <a:off x="338964" y="1582739"/>
            <a:ext cx="6133051" cy="4078286"/>
          </a:xfrm>
        </p:spPr>
        <p:txBody>
          <a:bodyPr/>
          <a:lstStyle/>
          <a:p>
            <a:r>
              <a:rPr lang="en-US" b="1" dirty="0"/>
              <a:t>Examples</a:t>
            </a:r>
          </a:p>
          <a:p>
            <a:pPr marL="285750" indent="-285750">
              <a:spcBef>
                <a:spcPts val="600"/>
              </a:spcBef>
              <a:spcAft>
                <a:spcPts val="1200"/>
              </a:spcAft>
              <a:buFont typeface="Arial" charset="0"/>
              <a:buChar char="•"/>
            </a:pPr>
            <a:r>
              <a:rPr lang="en-US" dirty="0"/>
              <a:t>In this workshop, the </a:t>
            </a:r>
            <a:r>
              <a:rPr lang="en-US" i="1" dirty="0"/>
              <a:t>Tutorial </a:t>
            </a:r>
            <a:r>
              <a:rPr lang="en-US" dirty="0"/>
              <a:t>package will be used to showcase the possibilities of the library</a:t>
            </a:r>
          </a:p>
          <a:p>
            <a:pPr marL="285750" indent="-285750">
              <a:spcBef>
                <a:spcPts val="600"/>
              </a:spcBef>
              <a:spcAft>
                <a:spcPts val="1200"/>
              </a:spcAft>
              <a:buFont typeface="Arial" charset="0"/>
              <a:buChar char="•"/>
            </a:pPr>
            <a:r>
              <a:rPr lang="en-US" dirty="0"/>
              <a:t>In the packages </a:t>
            </a:r>
            <a:r>
              <a:rPr lang="en-US" i="1" dirty="0"/>
              <a:t>Example_1, Example_2 </a:t>
            </a:r>
            <a:r>
              <a:rPr lang="en-US" dirty="0"/>
              <a:t>and </a:t>
            </a:r>
            <a:r>
              <a:rPr lang="en-US" i="1" dirty="0"/>
              <a:t>Example_3</a:t>
            </a:r>
            <a:r>
              <a:rPr lang="en-US" dirty="0"/>
              <a:t> prepared use cases can be found where steps to build the models are described</a:t>
            </a:r>
          </a:p>
          <a:p>
            <a:pPr marL="285750" indent="-285750">
              <a:spcBef>
                <a:spcPts val="600"/>
              </a:spcBef>
              <a:spcAft>
                <a:spcPts val="1200"/>
              </a:spcAft>
              <a:buFont typeface="Arial" charset="0"/>
              <a:buChar char="•"/>
            </a:pPr>
            <a:r>
              <a:rPr lang="en-US" dirty="0"/>
              <a:t>Package </a:t>
            </a:r>
            <a:r>
              <a:rPr lang="en-US" i="1" dirty="0" err="1"/>
              <a:t>Working_Examples</a:t>
            </a:r>
            <a:r>
              <a:rPr lang="en-US" dirty="0"/>
              <a:t> and corresponding sub-packages will be used by attendees of the workshop to create use cases on their own </a:t>
            </a:r>
          </a:p>
          <a:p>
            <a:endParaRPr lang="en-US" dirty="0"/>
          </a:p>
        </p:txBody>
      </p:sp>
      <p:pic>
        <p:nvPicPr>
          <p:cNvPr id="3" name="Picture 2"/>
          <p:cNvPicPr>
            <a:picLocks noChangeAspect="1"/>
          </p:cNvPicPr>
          <p:nvPr/>
        </p:nvPicPr>
        <p:blipFill>
          <a:blip r:embed="rId3"/>
          <a:stretch>
            <a:fillRect/>
          </a:stretch>
        </p:blipFill>
        <p:spPr>
          <a:xfrm>
            <a:off x="6472015" y="1786970"/>
            <a:ext cx="2232248" cy="2641493"/>
          </a:xfrm>
          <a:prstGeom prst="rect">
            <a:avLst/>
          </a:prstGeom>
        </p:spPr>
      </p:pic>
    </p:spTree>
    <p:extLst>
      <p:ext uri="{BB962C8B-B14F-4D97-AF65-F5344CB8AC3E}">
        <p14:creationId xmlns:p14="http://schemas.microsoft.com/office/powerpoint/2010/main" val="152732625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KTH Blue">
  <a:themeElements>
    <a:clrScheme name="KTH">
      <a:dk1>
        <a:sysClr val="windowText" lastClr="000000"/>
      </a:dk1>
      <a:lt1>
        <a:sysClr val="window" lastClr="FFFFFF"/>
      </a:lt1>
      <a:dk2>
        <a:srgbClr val="1954A6"/>
      </a:dk2>
      <a:lt2>
        <a:srgbClr val="E3E5E3"/>
      </a:lt2>
      <a:accent1>
        <a:srgbClr val="1954A6"/>
      </a:accent1>
      <a:accent2>
        <a:srgbClr val="24A0D8"/>
      </a:accent2>
      <a:accent3>
        <a:srgbClr val="B0C92B"/>
      </a:accent3>
      <a:accent4>
        <a:srgbClr val="D85497"/>
      </a:accent4>
      <a:accent5>
        <a:srgbClr val="E4363E"/>
      </a:accent5>
      <a:accent6>
        <a:srgbClr val="FAB919"/>
      </a:accent6>
      <a:hlink>
        <a:srgbClr val="0000FF"/>
      </a:hlink>
      <a:folHlink>
        <a:srgbClr val="800080"/>
      </a:folHlink>
    </a:clrScheme>
    <a:fontScheme name="Anpassat 25">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85000"/>
          </a:schemeClr>
        </a:solidFill>
        <a:ln>
          <a:no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KTH Blue" id="{1FC71DFB-152F-4114-9C4E-7F8DF11469D0}" vid="{0AF9820A-DE4F-41C9-89AF-3E3050E1832C}"/>
    </a:ext>
  </a:extLst>
</a:theme>
</file>

<file path=ppt/theme/theme2.xml><?xml version="1.0" encoding="utf-8"?>
<a:theme xmlns:a="http://schemas.openxmlformats.org/drawingml/2006/main" name="Template_KTH_with colours and grafs">
  <a:themeElements>
    <a:clrScheme name="Anpassat 94">
      <a:dk1>
        <a:sysClr val="windowText" lastClr="000000"/>
      </a:dk1>
      <a:lt1>
        <a:sysClr val="window" lastClr="FFFFFF"/>
      </a:lt1>
      <a:dk2>
        <a:srgbClr val="1F497D"/>
      </a:dk2>
      <a:lt2>
        <a:srgbClr val="EEECE1"/>
      </a:lt2>
      <a:accent1>
        <a:srgbClr val="1954A6"/>
      </a:accent1>
      <a:accent2>
        <a:srgbClr val="5893E5"/>
      </a:accent2>
      <a:accent3>
        <a:srgbClr val="62922E"/>
      </a:accent3>
      <a:accent4>
        <a:srgbClr val="A1D16D"/>
      </a:accent4>
      <a:accent5>
        <a:srgbClr val="9D102D"/>
      </a:accent5>
      <a:accent6>
        <a:srgbClr val="EC4769"/>
      </a:accent6>
      <a:hlink>
        <a:srgbClr val="C2C2C4"/>
      </a:hlink>
      <a:folHlink>
        <a:srgbClr val="800080"/>
      </a:folHlink>
    </a:clrScheme>
    <a:fontScheme name="Anpassat 25">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85000"/>
          </a:schemeClr>
        </a:solidFill>
        <a:ln>
          <a:no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KTH_PPT template blue</Template>
  <TotalTime>4554</TotalTime>
  <Words>3463</Words>
  <Application>Microsoft Office PowerPoint</Application>
  <PresentationFormat>On-screen Show (4:3)</PresentationFormat>
  <Paragraphs>970</Paragraphs>
  <Slides>88</Slides>
  <Notes>63</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88</vt:i4>
      </vt:variant>
    </vt:vector>
  </HeadingPairs>
  <TitlesOfParts>
    <vt:vector size="97" baseType="lpstr">
      <vt:lpstr>Arial</vt:lpstr>
      <vt:lpstr>Calibri</vt:lpstr>
      <vt:lpstr>Cambria Math</vt:lpstr>
      <vt:lpstr>Cordia New</vt:lpstr>
      <vt:lpstr>Courier</vt:lpstr>
      <vt:lpstr>Geneva</vt:lpstr>
      <vt:lpstr>KTH Blue</vt:lpstr>
      <vt:lpstr>Template_KTH_with colours and grafs</vt:lpstr>
      <vt:lpstr>think-cell Slide</vt:lpstr>
      <vt:lpstr>OpenIPSL Tutorial A Modelica Library for Power Systems Simulation</vt:lpstr>
      <vt:lpstr>Workshop Agenda</vt:lpstr>
      <vt:lpstr>Download OpenIPSL!</vt:lpstr>
      <vt:lpstr>Load the OpenIPSL to OMEdit</vt:lpstr>
      <vt:lpstr>Load an Application Example to OMEdit</vt:lpstr>
      <vt:lpstr>Library introduction</vt:lpstr>
      <vt:lpstr>Library introduction</vt:lpstr>
      <vt:lpstr>Library introduction</vt:lpstr>
      <vt:lpstr>Library introduction</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2</vt:lpstr>
      <vt:lpstr>Example 2</vt:lpstr>
      <vt:lpstr>Example 2</vt:lpstr>
      <vt:lpstr>Example 2</vt:lpstr>
      <vt:lpstr>Example 2</vt:lpstr>
      <vt:lpstr>Example 2</vt:lpstr>
      <vt:lpstr>Example 2</vt:lpstr>
      <vt:lpstr>Example 2</vt:lpstr>
      <vt:lpstr>Example 2</vt:lpstr>
      <vt:lpstr>Example 1</vt:lpstr>
      <vt:lpstr>Example 2</vt:lpstr>
      <vt:lpstr>Example 2</vt:lpstr>
      <vt:lpstr>Example 3</vt:lpstr>
      <vt:lpstr>Example 3</vt:lpstr>
      <vt:lpstr>Example 3</vt:lpstr>
      <vt:lpstr>Example 3</vt:lpstr>
      <vt:lpstr>Example 3</vt:lpstr>
      <vt:lpstr>Bonus: KRK 2-Area model</vt:lpstr>
      <vt:lpstr>Demo of Modelica and Other Tools </vt:lpstr>
      <vt:lpstr>Demo of Modelica and Other Tools </vt:lpstr>
      <vt:lpstr>Questions?</vt:lpstr>
      <vt:lpstr>OpenIPSL Tutorial A Modelica Library for Power Systems Simulation</vt:lpstr>
      <vt:lpstr>Requirements</vt:lpstr>
      <vt:lpstr>Getting Started with OpenModelica and OpenIPSL</vt:lpstr>
      <vt:lpstr>PowerPoint Presentation</vt:lpstr>
      <vt:lpstr>Installation of</vt:lpstr>
      <vt:lpstr>Check of OpenModelica</vt:lpstr>
      <vt:lpstr>Check of OpenModelica – Step 1</vt:lpstr>
      <vt:lpstr>Check of OpenModelica – Step 2</vt:lpstr>
      <vt:lpstr>Check of OpenModelica – Step 3</vt:lpstr>
      <vt:lpstr>Check of OpenModelica – Step 4a</vt:lpstr>
      <vt:lpstr>Check of OpenModelica – Step 4b</vt:lpstr>
      <vt:lpstr>Check of OpenModelica – Final Result</vt:lpstr>
      <vt:lpstr>PowerPoint Presentation</vt:lpstr>
      <vt:lpstr>Download OpenIPSL!</vt:lpstr>
      <vt:lpstr>Load the OpenIPSL to OMEdit</vt:lpstr>
      <vt:lpstr>Load an Application Example to OMEdit</vt:lpstr>
      <vt:lpstr>Check that it simulates</vt:lpstr>
      <vt:lpstr>Plot the results</vt:lpstr>
      <vt:lpstr>Finally, take a look a our documentation!</vt:lpstr>
      <vt:lpstr>You are ready! See you for the workshop</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utorial OpenIPSL</dc:title>
  <dc:creator>Maxime Baudette</dc:creator>
  <cp:lastModifiedBy>Maxime Baudette</cp:lastModifiedBy>
  <cp:revision>404</cp:revision>
  <dcterms:created xsi:type="dcterms:W3CDTF">2014-11-18T14:50:55Z</dcterms:created>
  <dcterms:modified xsi:type="dcterms:W3CDTF">2016-11-15T19:37:18Z</dcterms:modified>
</cp:coreProperties>
</file>